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4.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5.xml" ContentType="application/vnd.openxmlformats-officedocument.them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6.xml" ContentType="application/vnd.openxmlformats-officedocument.them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7.xml" ContentType="application/vnd.openxmlformats-officedocument.them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53.xml" ContentType="application/vnd.openxmlformats-officedocument.presentationml.tags+xml"/>
  <Override PartName="/ppt/notesSlides/notesSlide8.xml" ContentType="application/vnd.openxmlformats-officedocument.presentationml.notesSlide+xml"/>
  <Override PartName="/ppt/tags/tag25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5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media/image86.bin" ContentType="image/unknown"/>
  <Override PartName="/ppt/notesSlides/notesSlide17.xml" ContentType="application/vnd.openxmlformats-officedocument.presentationml.notesSlide+xml"/>
  <Override PartName="/ppt/tags/tag25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7"/>
    <p:sldMasterId id="2147483722" r:id="rId8"/>
    <p:sldMasterId id="2147483796" r:id="rId9"/>
    <p:sldMasterId id="2147483857" r:id="rId10"/>
    <p:sldMasterId id="2147483919" r:id="rId11"/>
    <p:sldMasterId id="2147483997" r:id="rId12"/>
    <p:sldMasterId id="2147484059" r:id="rId13"/>
  </p:sldMasterIdLst>
  <p:notesMasterIdLst>
    <p:notesMasterId r:id="rId48"/>
  </p:notesMasterIdLst>
  <p:sldIdLst>
    <p:sldId id="282" r:id="rId14"/>
    <p:sldId id="540" r:id="rId15"/>
    <p:sldId id="305" r:id="rId16"/>
    <p:sldId id="550" r:id="rId17"/>
    <p:sldId id="529" r:id="rId18"/>
    <p:sldId id="504" r:id="rId19"/>
    <p:sldId id="548" r:id="rId20"/>
    <p:sldId id="552" r:id="rId21"/>
    <p:sldId id="554" r:id="rId22"/>
    <p:sldId id="315" r:id="rId23"/>
    <p:sldId id="526" r:id="rId24"/>
    <p:sldId id="328" r:id="rId25"/>
    <p:sldId id="310" r:id="rId26"/>
    <p:sldId id="555" r:id="rId27"/>
    <p:sldId id="327" r:id="rId28"/>
    <p:sldId id="484" r:id="rId29"/>
    <p:sldId id="551" r:id="rId30"/>
    <p:sldId id="556" r:id="rId31"/>
    <p:sldId id="353" r:id="rId32"/>
    <p:sldId id="542" r:id="rId33"/>
    <p:sldId id="354" r:id="rId34"/>
    <p:sldId id="358" r:id="rId35"/>
    <p:sldId id="543" r:id="rId36"/>
    <p:sldId id="362" r:id="rId37"/>
    <p:sldId id="545" r:id="rId38"/>
    <p:sldId id="546" r:id="rId39"/>
    <p:sldId id="557" r:id="rId40"/>
    <p:sldId id="272" r:id="rId41"/>
    <p:sldId id="322" r:id="rId42"/>
    <p:sldId id="319" r:id="rId43"/>
    <p:sldId id="320" r:id="rId44"/>
    <p:sldId id="321" r:id="rId45"/>
    <p:sldId id="572" r:id="rId46"/>
    <p:sldId id="571" r:id="rId47"/>
  </p:sldIdLst>
  <p:sldSz cx="12192000" cy="6858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202020"/>
        </a:solidFill>
        <a:effectLst/>
        <a:uFillTx/>
        <a:latin typeface="+mn-lt"/>
        <a:ea typeface="+mn-ea"/>
        <a:cs typeface="+mn-cs"/>
        <a:sym typeface="Arial"/>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202020"/>
        </a:solidFill>
        <a:effectLst/>
        <a:uFillTx/>
        <a:latin typeface="+mn-lt"/>
        <a:ea typeface="+mn-ea"/>
        <a:cs typeface="+mn-cs"/>
        <a:sym typeface="Arial"/>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202020"/>
        </a:solidFill>
        <a:effectLst/>
        <a:uFillTx/>
        <a:latin typeface="+mn-lt"/>
        <a:ea typeface="+mn-ea"/>
        <a:cs typeface="+mn-cs"/>
        <a:sym typeface="Arial"/>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202020"/>
        </a:solidFill>
        <a:effectLst/>
        <a:uFillTx/>
        <a:latin typeface="+mn-lt"/>
        <a:ea typeface="+mn-ea"/>
        <a:cs typeface="+mn-cs"/>
        <a:sym typeface="Arial"/>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202020"/>
        </a:solidFill>
        <a:effectLst/>
        <a:uFillTx/>
        <a:latin typeface="+mn-lt"/>
        <a:ea typeface="+mn-ea"/>
        <a:cs typeface="+mn-cs"/>
        <a:sym typeface="Arial"/>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202020"/>
        </a:solidFill>
        <a:effectLst/>
        <a:uFillTx/>
        <a:latin typeface="+mn-lt"/>
        <a:ea typeface="+mn-ea"/>
        <a:cs typeface="+mn-cs"/>
        <a:sym typeface="Arial"/>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202020"/>
        </a:solidFill>
        <a:effectLst/>
        <a:uFillTx/>
        <a:latin typeface="+mn-lt"/>
        <a:ea typeface="+mn-ea"/>
        <a:cs typeface="+mn-cs"/>
        <a:sym typeface="Arial"/>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202020"/>
        </a:solidFill>
        <a:effectLst/>
        <a:uFillTx/>
        <a:latin typeface="+mn-lt"/>
        <a:ea typeface="+mn-ea"/>
        <a:cs typeface="+mn-cs"/>
        <a:sym typeface="Arial"/>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202020"/>
        </a:solidFill>
        <a:effectLst/>
        <a:uFillTx/>
        <a:latin typeface="+mn-lt"/>
        <a:ea typeface="+mn-ea"/>
        <a:cs typeface="+mn-cs"/>
        <a:sym typeface="Arial"/>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 los Santos, Melchor" initials="dlSM" lastIdx="15" clrIdx="0">
    <p:extLst>
      <p:ext uri="{19B8F6BF-5375-455C-9EA6-DF929625EA0E}">
        <p15:presenceInfo xmlns:p15="http://schemas.microsoft.com/office/powerpoint/2012/main" userId="de los Santos, Melcho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FFFF"/>
    <a:srgbClr val="56AD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1E3841B-713E-4008-82B9-CB253750754A}" v="81" dt="2023-09-13T03:18:11.234"/>
  </p1510:revLst>
</p1510:revInfo>
</file>

<file path=ppt/tableStyles.xml><?xml version="1.0" encoding="utf-8"?>
<a:tblStyleLst xmlns:a="http://schemas.openxmlformats.org/drawingml/2006/main" def="{5940675A-B579-460E-94D1-54222C63F5DA}">
  <a:tblStyle styleId="{8F44A2F1-9E1F-4B54-A3A2-5F16C0AD49E2}" styleName="">
    <a:tblBg/>
    <a:wholeTbl>
      <a:tcTxStyle b="off" i="off">
        <a:fontRef idx="minor">
          <a:srgbClr val="202020"/>
        </a:fontRef>
        <a:srgbClr val="20202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BD5"/>
          </a:solidFill>
        </a:fill>
      </a:tcStyle>
    </a:wholeTbl>
    <a:band2H>
      <a:tcTxStyle/>
      <a:tcStyle>
        <a:tcBdr/>
        <a:fill>
          <a:solidFill>
            <a:srgbClr val="E6E7EB"/>
          </a:solidFill>
        </a:fill>
      </a:tcStyle>
    </a:band2H>
    <a:firstCol>
      <a:tcTxStyle b="on" i="off">
        <a:fontRef idx="minor">
          <a:srgbClr val="FFFFFF"/>
        </a:fontRef>
        <a:srgbClr val="FFFFFF"/>
      </a:tcTxStyle>
      <a:tcStyle>
        <a:tcBdr>
          <a:left>
            <a:ln w="12700" cap="flat">
              <a:solidFill>
                <a:srgbClr val="FFFFFF"/>
              </a:solidFill>
              <a:prstDash val="solid"/>
              <a:round/>
            </a:ln>
          </a:left>
          <a:right>
            <a:ln w="381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2C77"/>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2C77"/>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2C77"/>
          </a:solidFill>
        </a:fill>
      </a:tcStyle>
    </a:firstRow>
  </a:tblStyle>
  <a:tblStyle styleId="{C7B018BB-80A7-4F77-B60F-C8B233D01FF8}" styleName="">
    <a:tblBg/>
    <a:wholeTbl>
      <a:tcTxStyle>
        <a:font>
          <a:latin typeface="Helvetica Light"/>
          <a:ea typeface="Helvetica Light"/>
          <a:cs typeface="Helvetica Light"/>
        </a:font>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n">
        <a:font>
          <a:latin typeface="Helvetica"/>
          <a:ea typeface="Helvetica"/>
          <a:cs typeface="Helvetica"/>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5AC831"/>
          </a:solidFill>
        </a:fill>
      </a:tcStyle>
    </a:firstCol>
    <a:lastRow>
      <a:tcTxStyle>
        <a:font>
          <a:latin typeface="Helvetica Light"/>
          <a:ea typeface="Helvetica Light"/>
          <a:cs typeface="Helvetica Light"/>
        </a:font>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lastRow>
    <a:firstRow>
      <a:tcTxStyle b="on">
        <a:font>
          <a:latin typeface="Helvetica"/>
          <a:ea typeface="Helvetica"/>
          <a:cs typeface="Helvetica"/>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2"/>
          </a:solidFill>
        </a:fill>
      </a:tcStyle>
    </a:firstRow>
  </a:tblStyle>
  <a:tblStyle styleId="{EEE7283C-3CF3-47DC-8721-378D4A62B228}" styleName="">
    <a:tblBg/>
    <a:wholeTbl>
      <a:tcTxStyle>
        <a:font>
          <a:latin typeface="Helvetica Light"/>
          <a:ea typeface="Helvetica Light"/>
          <a:cs typeface="Helvetica Light"/>
        </a:font>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E6E3D7"/>
          </a:solidFill>
        </a:fill>
      </a:tcStyle>
    </a:wholeTbl>
    <a:band2H>
      <a:tcTxStyle/>
      <a:tcStyle>
        <a:tcBdr/>
        <a:fill>
          <a:solidFill>
            <a:srgbClr val="C3C2C2"/>
          </a:solidFill>
        </a:fill>
      </a:tcStyle>
    </a:band2H>
    <a:firstCol>
      <a:tcTxStyle b="on">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09C99"/>
          </a:solidFill>
        </a:fill>
      </a:tcStyle>
    </a:firstCol>
    <a:lastRow>
      <a:tcTxStyle b="on">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lastRow>
    <a:firstRow>
      <a:tcTxStyle b="on">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firstRow>
  </a:tblStyle>
  <a:tblStyle styleId="{CF821DB8-F4EB-4A41-A1BA-3FCAFE7338EE}" styleName="">
    <a:tblBg/>
    <a:wholeTbl>
      <a:tcTxStyle>
        <a:font>
          <a:latin typeface="Helvetica Light"/>
          <a:ea typeface="Helvetica Light"/>
          <a:cs typeface="Helvetica Light"/>
        </a:font>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EBEBEB"/>
          </a:solidFill>
        </a:fill>
      </a:tcStyle>
    </a:wholeTbl>
    <a:band2H>
      <a:tcTxStyle/>
      <a:tcStyle>
        <a:tcBdr/>
        <a:fill>
          <a:solidFill>
            <a:srgbClr val="DCE5E6"/>
          </a:solidFill>
        </a:fill>
      </a:tcStyle>
    </a:band2H>
    <a:firstCol>
      <a:tcTxStyle b="on">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Col>
    <a:lastRow>
      <a:tcTxStyle b="on">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lastRow>
    <a:firstRow>
      <a:tcTxStyle b="on">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Row>
  </a:tblStyle>
  <a:tblStyle styleId="{33BA23B1-9221-436E-865A-0063620EA4FD}" styleName="">
    <a:tblBg/>
    <a:wholeTbl>
      <a:tcTxStyle>
        <a:font>
          <a:latin typeface="Helvetica Light"/>
          <a:ea typeface="Helvetica Light"/>
          <a:cs typeface="Helvetica Light"/>
        </a:font>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D0D1D2"/>
          </a:solidFill>
        </a:fill>
      </a:tcStyle>
    </a:wholeTbl>
    <a:band2H>
      <a:tcTxStyle/>
      <a:tcStyle>
        <a:tcBdr/>
        <a:fill>
          <a:solidFill>
            <a:srgbClr val="DEDEDF"/>
          </a:solidFill>
        </a:fill>
      </a:tcStyle>
    </a:band2H>
    <a:firstCol>
      <a:tcTxStyle b="on">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761"/>
          </a:solidFill>
        </a:fill>
      </a:tcStyle>
    </a:firstCol>
    <a:lastRow>
      <a:tcTxStyle b="on">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909398"/>
          </a:solidFill>
        </a:fill>
      </a:tcStyle>
    </a:lastRow>
    <a:firstRow>
      <a:tcTxStyle b="on">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67C85"/>
          </a:solidFill>
        </a:fill>
      </a:tcStyle>
    </a:firstRow>
  </a:tblStyle>
  <a:tblStyle styleId="{2708684C-4D16-4618-839F-0558EEFCDFE6}" styleName="">
    <a:tblBg/>
    <a:wholeTbl>
      <a:tcTxStyle>
        <a:font>
          <a:latin typeface="Helvetica Light"/>
          <a:ea typeface="Helvetica Light"/>
          <a:cs typeface="Helvetica Light"/>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a:font>
          <a:latin typeface="Helvetica"/>
          <a:ea typeface="Helvetica"/>
          <a:cs typeface="Helvetica"/>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a:font>
          <a:latin typeface="Helvetica"/>
          <a:ea typeface="Helvetica"/>
          <a:cs typeface="Helvetica"/>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a:font>
          <a:latin typeface="Helvetica"/>
          <a:ea typeface="Helvetica"/>
          <a:cs typeface="Helvetica"/>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 styleId="{4C3C2611-4C71-4FC5-86AE-919BDF0F9419}" styleName="">
    <a:tblBg/>
    <a:wholeTbl>
      <a:tcTxStyle>
        <a:font>
          <a:latin typeface="Helvetica Light"/>
          <a:ea typeface="Helvetica Light"/>
          <a:cs typeface="Helvetica Light"/>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398CCE"/>
          </a:solidFill>
        </a:fill>
      </a:tcStyle>
    </a:firstCol>
    <a:lastRow>
      <a:tcTxStyle>
        <a:font>
          <a:latin typeface="Helvetica Light"/>
          <a:ea typeface="Helvetica Light"/>
          <a:cs typeface="Helvetica Light"/>
        </a:font>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1"/>
    <p:restoredTop sz="66714" autoAdjust="0"/>
  </p:normalViewPr>
  <p:slideViewPr>
    <p:cSldViewPr snapToGrid="0" snapToObjects="1">
      <p:cViewPr varScale="1">
        <p:scale>
          <a:sx n="67" d="100"/>
          <a:sy n="67" d="100"/>
        </p:scale>
        <p:origin x="620" y="44"/>
      </p:cViewPr>
      <p:guideLst>
        <p:guide orient="horz" pos="2160"/>
        <p:guide pos="3840"/>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7.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presProps" Target="presProps.xml"/><Relationship Id="rId55" Type="http://schemas.microsoft.com/office/2015/10/relationships/revisionInfo" Target="revisionInfo.xml"/><Relationship Id="rId7" Type="http://schemas.openxmlformats.org/officeDocument/2006/relationships/slideMaster" Target="slideMasters/slideMaster1.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5.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tableStyles" Target="tableStyles.xml"/><Relationship Id="rId5" Type="http://schemas.openxmlformats.org/officeDocument/2006/relationships/customXml" Target="../customXml/item5.xml"/><Relationship Id="rId10" Type="http://schemas.openxmlformats.org/officeDocument/2006/relationships/slideMaster" Target="slideMasters/slideMaster4.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notesMaster" Target="notesMasters/notesMaster1.xml"/><Relationship Id="rId8" Type="http://schemas.openxmlformats.org/officeDocument/2006/relationships/slideMaster" Target="slideMasters/slideMaster2.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6.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20" Type="http://schemas.openxmlformats.org/officeDocument/2006/relationships/slide" Target="slides/slide7.xml"/><Relationship Id="rId41" Type="http://schemas.openxmlformats.org/officeDocument/2006/relationships/slide" Target="slides/slide28.xml"/><Relationship Id="rId54"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talano, Andrea Alejandra" userId="06d9d64d-5676-4ea5-a1fb-b4e7a5041ea9" providerId="ADAL" clId="{1E033357-B19F-418D-BE34-A0A2B292E378}"/>
    <pc:docChg chg="modSld sldOrd">
      <pc:chgData name="Catalano, Andrea Alejandra" userId="06d9d64d-5676-4ea5-a1fb-b4e7a5041ea9" providerId="ADAL" clId="{1E033357-B19F-418D-BE34-A0A2B292E378}" dt="2023-02-24T12:36:49.794" v="1"/>
      <pc:docMkLst>
        <pc:docMk/>
      </pc:docMkLst>
      <pc:sldChg chg="ord">
        <pc:chgData name="Catalano, Andrea Alejandra" userId="06d9d64d-5676-4ea5-a1fb-b4e7a5041ea9" providerId="ADAL" clId="{1E033357-B19F-418D-BE34-A0A2B292E378}" dt="2023-02-24T12:36:49.794" v="1"/>
        <pc:sldMkLst>
          <pc:docMk/>
          <pc:sldMk cId="1944289207" sldId="526"/>
        </pc:sldMkLst>
      </pc:sldChg>
    </pc:docChg>
  </pc:docChgLst>
  <pc:docChgLst>
    <pc:chgData name="Catalano, Andrea Alejandra" userId="06d9d64d-5676-4ea5-a1fb-b4e7a5041ea9" providerId="ADAL" clId="{FB9DAE5B-94DC-4B13-A103-59D74FEB1464}"/>
    <pc:docChg chg="undo custSel addSld delSld modSld sldOrd delMainMaster">
      <pc:chgData name="Catalano, Andrea Alejandra" userId="06d9d64d-5676-4ea5-a1fb-b4e7a5041ea9" providerId="ADAL" clId="{FB9DAE5B-94DC-4B13-A103-59D74FEB1464}" dt="2023-06-09T15:42:50.515" v="1346" actId="2696"/>
      <pc:docMkLst>
        <pc:docMk/>
      </pc:docMkLst>
      <pc:sldChg chg="delSp modSp mod">
        <pc:chgData name="Catalano, Andrea Alejandra" userId="06d9d64d-5676-4ea5-a1fb-b4e7a5041ea9" providerId="ADAL" clId="{FB9DAE5B-94DC-4B13-A103-59D74FEB1464}" dt="2023-05-31T23:17:57.132" v="1341" actId="14100"/>
        <pc:sldMkLst>
          <pc:docMk/>
          <pc:sldMk cId="2263284498" sldId="282"/>
        </pc:sldMkLst>
        <pc:spChg chg="mod">
          <ac:chgData name="Catalano, Andrea Alejandra" userId="06d9d64d-5676-4ea5-a1fb-b4e7a5041ea9" providerId="ADAL" clId="{FB9DAE5B-94DC-4B13-A103-59D74FEB1464}" dt="2023-05-31T23:17:57.132" v="1341" actId="14100"/>
          <ac:spMkLst>
            <pc:docMk/>
            <pc:sldMk cId="2263284498" sldId="282"/>
            <ac:spMk id="977" creationId="{00000000-0000-0000-0000-000000000000}"/>
          </ac:spMkLst>
        </pc:spChg>
        <pc:spChg chg="mod">
          <ac:chgData name="Catalano, Andrea Alejandra" userId="06d9d64d-5676-4ea5-a1fb-b4e7a5041ea9" providerId="ADAL" clId="{FB9DAE5B-94DC-4B13-A103-59D74FEB1464}" dt="2023-05-22T14:33:32.798" v="3" actId="20577"/>
          <ac:spMkLst>
            <pc:docMk/>
            <pc:sldMk cId="2263284498" sldId="282"/>
            <ac:spMk id="979" creationId="{00000000-0000-0000-0000-000000000000}"/>
          </ac:spMkLst>
        </pc:spChg>
        <pc:picChg chg="del">
          <ac:chgData name="Catalano, Andrea Alejandra" userId="06d9d64d-5676-4ea5-a1fb-b4e7a5041ea9" providerId="ADAL" clId="{FB9DAE5B-94DC-4B13-A103-59D74FEB1464}" dt="2023-05-22T14:33:21.333" v="0" actId="478"/>
          <ac:picMkLst>
            <pc:docMk/>
            <pc:sldMk cId="2263284498" sldId="282"/>
            <ac:picMk id="315394" creationId="{00000000-0000-0000-0000-000000000000}"/>
          </ac:picMkLst>
        </pc:picChg>
      </pc:sldChg>
      <pc:sldChg chg="del">
        <pc:chgData name="Catalano, Andrea Alejandra" userId="06d9d64d-5676-4ea5-a1fb-b4e7a5041ea9" providerId="ADAL" clId="{FB9DAE5B-94DC-4B13-A103-59D74FEB1464}" dt="2023-05-29T00:39:44.922" v="617" actId="2696"/>
        <pc:sldMkLst>
          <pc:docMk/>
          <pc:sldMk cId="3762869848" sldId="287"/>
        </pc:sldMkLst>
      </pc:sldChg>
      <pc:sldChg chg="del">
        <pc:chgData name="Catalano, Andrea Alejandra" userId="06d9d64d-5676-4ea5-a1fb-b4e7a5041ea9" providerId="ADAL" clId="{FB9DAE5B-94DC-4B13-A103-59D74FEB1464}" dt="2023-05-29T00:39:44.922" v="617" actId="2696"/>
        <pc:sldMkLst>
          <pc:docMk/>
          <pc:sldMk cId="4258076807" sldId="288"/>
        </pc:sldMkLst>
      </pc:sldChg>
      <pc:sldChg chg="del">
        <pc:chgData name="Catalano, Andrea Alejandra" userId="06d9d64d-5676-4ea5-a1fb-b4e7a5041ea9" providerId="ADAL" clId="{FB9DAE5B-94DC-4B13-A103-59D74FEB1464}" dt="2023-05-29T00:39:44.922" v="617" actId="2696"/>
        <pc:sldMkLst>
          <pc:docMk/>
          <pc:sldMk cId="478722082" sldId="290"/>
        </pc:sldMkLst>
      </pc:sldChg>
      <pc:sldChg chg="del">
        <pc:chgData name="Catalano, Andrea Alejandra" userId="06d9d64d-5676-4ea5-a1fb-b4e7a5041ea9" providerId="ADAL" clId="{FB9DAE5B-94DC-4B13-A103-59D74FEB1464}" dt="2023-05-29T00:39:44.922" v="617" actId="2696"/>
        <pc:sldMkLst>
          <pc:docMk/>
          <pc:sldMk cId="2632709315" sldId="291"/>
        </pc:sldMkLst>
      </pc:sldChg>
      <pc:sldChg chg="delSp modSp add del mod ord">
        <pc:chgData name="Catalano, Andrea Alejandra" userId="06d9d64d-5676-4ea5-a1fb-b4e7a5041ea9" providerId="ADAL" clId="{FB9DAE5B-94DC-4B13-A103-59D74FEB1464}" dt="2023-06-09T15:42:50.515" v="1346" actId="2696"/>
        <pc:sldMkLst>
          <pc:docMk/>
          <pc:sldMk cId="3149124695" sldId="295"/>
        </pc:sldMkLst>
        <pc:spChg chg="mod">
          <ac:chgData name="Catalano, Andrea Alejandra" userId="06d9d64d-5676-4ea5-a1fb-b4e7a5041ea9" providerId="ADAL" clId="{FB9DAE5B-94DC-4B13-A103-59D74FEB1464}" dt="2023-05-31T23:16:35.415" v="1338" actId="255"/>
          <ac:spMkLst>
            <pc:docMk/>
            <pc:sldMk cId="3149124695" sldId="295"/>
            <ac:spMk id="30" creationId="{00000000-0000-0000-0000-000000000000}"/>
          </ac:spMkLst>
        </pc:spChg>
        <pc:grpChg chg="del">
          <ac:chgData name="Catalano, Andrea Alejandra" userId="06d9d64d-5676-4ea5-a1fb-b4e7a5041ea9" providerId="ADAL" clId="{FB9DAE5B-94DC-4B13-A103-59D74FEB1464}" dt="2023-05-31T15:52:30.464" v="825" actId="478"/>
          <ac:grpSpMkLst>
            <pc:docMk/>
            <pc:sldMk cId="3149124695" sldId="295"/>
            <ac:grpSpMk id="31" creationId="{00000000-0000-0000-0000-000000000000}"/>
          </ac:grpSpMkLst>
        </pc:grpChg>
        <pc:picChg chg="mod">
          <ac:chgData name="Catalano, Andrea Alejandra" userId="06d9d64d-5676-4ea5-a1fb-b4e7a5041ea9" providerId="ADAL" clId="{FB9DAE5B-94DC-4B13-A103-59D74FEB1464}" dt="2023-05-31T15:52:45.991" v="845" actId="1076"/>
          <ac:picMkLst>
            <pc:docMk/>
            <pc:sldMk cId="3149124695" sldId="295"/>
            <ac:picMk id="19" creationId="{00000000-0000-0000-0000-000000000000}"/>
          </ac:picMkLst>
        </pc:picChg>
        <pc:picChg chg="del">
          <ac:chgData name="Catalano, Andrea Alejandra" userId="06d9d64d-5676-4ea5-a1fb-b4e7a5041ea9" providerId="ADAL" clId="{FB9DAE5B-94DC-4B13-A103-59D74FEB1464}" dt="2023-05-31T15:52:27.819" v="824" actId="478"/>
          <ac:picMkLst>
            <pc:docMk/>
            <pc:sldMk cId="3149124695" sldId="295"/>
            <ac:picMk id="29" creationId="{00000000-0000-0000-0000-000000000000}"/>
          </ac:picMkLst>
        </pc:picChg>
      </pc:sldChg>
      <pc:sldChg chg="addSp delSp modSp del mod">
        <pc:chgData name="Catalano, Andrea Alejandra" userId="06d9d64d-5676-4ea5-a1fb-b4e7a5041ea9" providerId="ADAL" clId="{FB9DAE5B-94DC-4B13-A103-59D74FEB1464}" dt="2023-05-31T23:02:20.883" v="1066" actId="2696"/>
        <pc:sldMkLst>
          <pc:docMk/>
          <pc:sldMk cId="812224545" sldId="310"/>
        </pc:sldMkLst>
        <pc:spChg chg="add del mod">
          <ac:chgData name="Catalano, Andrea Alejandra" userId="06d9d64d-5676-4ea5-a1fb-b4e7a5041ea9" providerId="ADAL" clId="{FB9DAE5B-94DC-4B13-A103-59D74FEB1464}" dt="2023-05-31T15:54:17.577" v="875" actId="478"/>
          <ac:spMkLst>
            <pc:docMk/>
            <pc:sldMk cId="812224545" sldId="310"/>
            <ac:spMk id="3" creationId="{EF19FF61-0931-4114-8A18-E8DFBB89EC2B}"/>
          </ac:spMkLst>
        </pc:spChg>
        <pc:spChg chg="add mod">
          <ac:chgData name="Catalano, Andrea Alejandra" userId="06d9d64d-5676-4ea5-a1fb-b4e7a5041ea9" providerId="ADAL" clId="{FB9DAE5B-94DC-4B13-A103-59D74FEB1464}" dt="2023-05-31T22:56:05.492" v="951" actId="255"/>
          <ac:spMkLst>
            <pc:docMk/>
            <pc:sldMk cId="812224545" sldId="310"/>
            <ac:spMk id="5" creationId="{44F49CDF-D061-4D80-8130-F1AE4DE01B85}"/>
          </ac:spMkLst>
        </pc:spChg>
        <pc:spChg chg="add mod">
          <ac:chgData name="Catalano, Andrea Alejandra" userId="06d9d64d-5676-4ea5-a1fb-b4e7a5041ea9" providerId="ADAL" clId="{FB9DAE5B-94DC-4B13-A103-59D74FEB1464}" dt="2023-05-31T23:00:55.251" v="1048" actId="1076"/>
          <ac:spMkLst>
            <pc:docMk/>
            <pc:sldMk cId="812224545" sldId="310"/>
            <ac:spMk id="6" creationId="{E19AD1E0-0B6D-4843-8CF6-35FDB18A04DE}"/>
          </ac:spMkLst>
        </pc:spChg>
        <pc:spChg chg="del">
          <ac:chgData name="Catalano, Andrea Alejandra" userId="06d9d64d-5676-4ea5-a1fb-b4e7a5041ea9" providerId="ADAL" clId="{FB9DAE5B-94DC-4B13-A103-59D74FEB1464}" dt="2023-05-31T15:54:24" v="878" actId="478"/>
          <ac:spMkLst>
            <pc:docMk/>
            <pc:sldMk cId="812224545" sldId="310"/>
            <ac:spMk id="42" creationId="{00000000-0000-0000-0000-000000000000}"/>
          </ac:spMkLst>
        </pc:spChg>
        <pc:spChg chg="del">
          <ac:chgData name="Catalano, Andrea Alejandra" userId="06d9d64d-5676-4ea5-a1fb-b4e7a5041ea9" providerId="ADAL" clId="{FB9DAE5B-94DC-4B13-A103-59D74FEB1464}" dt="2023-05-31T15:54:25.297" v="879" actId="478"/>
          <ac:spMkLst>
            <pc:docMk/>
            <pc:sldMk cId="812224545" sldId="310"/>
            <ac:spMk id="43" creationId="{00000000-0000-0000-0000-000000000000}"/>
          </ac:spMkLst>
        </pc:spChg>
        <pc:spChg chg="del">
          <ac:chgData name="Catalano, Andrea Alejandra" userId="06d9d64d-5676-4ea5-a1fb-b4e7a5041ea9" providerId="ADAL" clId="{FB9DAE5B-94DC-4B13-A103-59D74FEB1464}" dt="2023-05-31T15:54:26.272" v="880" actId="478"/>
          <ac:spMkLst>
            <pc:docMk/>
            <pc:sldMk cId="812224545" sldId="310"/>
            <ac:spMk id="45" creationId="{00000000-0000-0000-0000-000000000000}"/>
          </ac:spMkLst>
        </pc:spChg>
        <pc:spChg chg="del">
          <ac:chgData name="Catalano, Andrea Alejandra" userId="06d9d64d-5676-4ea5-a1fb-b4e7a5041ea9" providerId="ADAL" clId="{FB9DAE5B-94DC-4B13-A103-59D74FEB1464}" dt="2023-05-31T15:54:19.409" v="876" actId="478"/>
          <ac:spMkLst>
            <pc:docMk/>
            <pc:sldMk cId="812224545" sldId="310"/>
            <ac:spMk id="72" creationId="{00000000-0000-0000-0000-000000000000}"/>
          </ac:spMkLst>
        </pc:spChg>
        <pc:spChg chg="del">
          <ac:chgData name="Catalano, Andrea Alejandra" userId="06d9d64d-5676-4ea5-a1fb-b4e7a5041ea9" providerId="ADAL" clId="{FB9DAE5B-94DC-4B13-A103-59D74FEB1464}" dt="2023-05-31T15:54:21.746" v="877" actId="478"/>
          <ac:spMkLst>
            <pc:docMk/>
            <pc:sldMk cId="812224545" sldId="310"/>
            <ac:spMk id="79" creationId="{00000000-0000-0000-0000-000000000000}"/>
          </ac:spMkLst>
        </pc:spChg>
        <pc:grpChg chg="del">
          <ac:chgData name="Catalano, Andrea Alejandra" userId="06d9d64d-5676-4ea5-a1fb-b4e7a5041ea9" providerId="ADAL" clId="{FB9DAE5B-94DC-4B13-A103-59D74FEB1464}" dt="2023-05-31T15:54:31.618" v="886" actId="478"/>
          <ac:grpSpMkLst>
            <pc:docMk/>
            <pc:sldMk cId="812224545" sldId="310"/>
            <ac:grpSpMk id="32" creationId="{00000000-0000-0000-0000-000000000000}"/>
          </ac:grpSpMkLst>
        </pc:grpChg>
        <pc:grpChg chg="del">
          <ac:chgData name="Catalano, Andrea Alejandra" userId="06d9d64d-5676-4ea5-a1fb-b4e7a5041ea9" providerId="ADAL" clId="{FB9DAE5B-94DC-4B13-A103-59D74FEB1464}" dt="2023-05-31T15:54:30.832" v="885" actId="478"/>
          <ac:grpSpMkLst>
            <pc:docMk/>
            <pc:sldMk cId="812224545" sldId="310"/>
            <ac:grpSpMk id="44" creationId="{00000000-0000-0000-0000-000000000000}"/>
          </ac:grpSpMkLst>
        </pc:grpChg>
        <pc:grpChg chg="del">
          <ac:chgData name="Catalano, Andrea Alejandra" userId="06d9d64d-5676-4ea5-a1fb-b4e7a5041ea9" providerId="ADAL" clId="{FB9DAE5B-94DC-4B13-A103-59D74FEB1464}" dt="2023-05-31T15:54:30.271" v="884" actId="478"/>
          <ac:grpSpMkLst>
            <pc:docMk/>
            <pc:sldMk cId="812224545" sldId="310"/>
            <ac:grpSpMk id="48" creationId="{00000000-0000-0000-0000-000000000000}"/>
          </ac:grpSpMkLst>
        </pc:grpChg>
        <pc:grpChg chg="del">
          <ac:chgData name="Catalano, Andrea Alejandra" userId="06d9d64d-5676-4ea5-a1fb-b4e7a5041ea9" providerId="ADAL" clId="{FB9DAE5B-94DC-4B13-A103-59D74FEB1464}" dt="2023-05-31T15:54:29.487" v="883" actId="478"/>
          <ac:grpSpMkLst>
            <pc:docMk/>
            <pc:sldMk cId="812224545" sldId="310"/>
            <ac:grpSpMk id="52" creationId="{00000000-0000-0000-0000-000000000000}"/>
          </ac:grpSpMkLst>
        </pc:grpChg>
        <pc:grpChg chg="del">
          <ac:chgData name="Catalano, Andrea Alejandra" userId="06d9d64d-5676-4ea5-a1fb-b4e7a5041ea9" providerId="ADAL" clId="{FB9DAE5B-94DC-4B13-A103-59D74FEB1464}" dt="2023-05-31T15:54:28.779" v="882" actId="478"/>
          <ac:grpSpMkLst>
            <pc:docMk/>
            <pc:sldMk cId="812224545" sldId="310"/>
            <ac:grpSpMk id="55" creationId="{00000000-0000-0000-0000-000000000000}"/>
          </ac:grpSpMkLst>
        </pc:grpChg>
        <pc:grpChg chg="del">
          <ac:chgData name="Catalano, Andrea Alejandra" userId="06d9d64d-5676-4ea5-a1fb-b4e7a5041ea9" providerId="ADAL" clId="{FB9DAE5B-94DC-4B13-A103-59D74FEB1464}" dt="2023-05-31T15:54:27.585" v="881" actId="478"/>
          <ac:grpSpMkLst>
            <pc:docMk/>
            <pc:sldMk cId="812224545" sldId="310"/>
            <ac:grpSpMk id="58" creationId="{00000000-0000-0000-0000-000000000000}"/>
          </ac:grpSpMkLst>
        </pc:grpChg>
        <pc:graphicFrameChg chg="del">
          <ac:chgData name="Catalano, Andrea Alejandra" userId="06d9d64d-5676-4ea5-a1fb-b4e7a5041ea9" providerId="ADAL" clId="{FB9DAE5B-94DC-4B13-A103-59D74FEB1464}" dt="2023-05-31T15:54:12.907" v="874" actId="478"/>
          <ac:graphicFrameMkLst>
            <pc:docMk/>
            <pc:sldMk cId="812224545" sldId="310"/>
            <ac:graphicFrameMk id="35" creationId="{00000000-0000-0000-0000-000000000000}"/>
          </ac:graphicFrameMkLst>
        </pc:graphicFrameChg>
        <pc:picChg chg="add mod">
          <ac:chgData name="Catalano, Andrea Alejandra" userId="06d9d64d-5676-4ea5-a1fb-b4e7a5041ea9" providerId="ADAL" clId="{FB9DAE5B-94DC-4B13-A103-59D74FEB1464}" dt="2023-05-31T22:55:19.787" v="949" actId="14100"/>
          <ac:picMkLst>
            <pc:docMk/>
            <pc:sldMk cId="812224545" sldId="310"/>
            <ac:picMk id="3" creationId="{7F8D2040-9D9B-4892-8E9B-15FA8F62ACDD}"/>
          </ac:picMkLst>
        </pc:picChg>
      </pc:sldChg>
      <pc:sldChg chg="modSp add mod">
        <pc:chgData name="Catalano, Andrea Alejandra" userId="06d9d64d-5676-4ea5-a1fb-b4e7a5041ea9" providerId="ADAL" clId="{FB9DAE5B-94DC-4B13-A103-59D74FEB1464}" dt="2023-05-31T23:16:51.548" v="1339" actId="255"/>
        <pc:sldMkLst>
          <pc:docMk/>
          <pc:sldMk cId="885355067" sldId="310"/>
        </pc:sldMkLst>
        <pc:spChg chg="mod">
          <ac:chgData name="Catalano, Andrea Alejandra" userId="06d9d64d-5676-4ea5-a1fb-b4e7a5041ea9" providerId="ADAL" clId="{FB9DAE5B-94DC-4B13-A103-59D74FEB1464}" dt="2023-05-31T23:16:51.548" v="1339" actId="255"/>
          <ac:spMkLst>
            <pc:docMk/>
            <pc:sldMk cId="885355067" sldId="310"/>
            <ac:spMk id="5" creationId="{44F49CDF-D061-4D80-8130-F1AE4DE01B85}"/>
          </ac:spMkLst>
        </pc:spChg>
        <pc:spChg chg="mod">
          <ac:chgData name="Catalano, Andrea Alejandra" userId="06d9d64d-5676-4ea5-a1fb-b4e7a5041ea9" providerId="ADAL" clId="{FB9DAE5B-94DC-4B13-A103-59D74FEB1464}" dt="2023-05-31T23:07:10.726" v="1216" actId="1076"/>
          <ac:spMkLst>
            <pc:docMk/>
            <pc:sldMk cId="885355067" sldId="310"/>
            <ac:spMk id="6" creationId="{E19AD1E0-0B6D-4843-8CF6-35FDB18A04DE}"/>
          </ac:spMkLst>
        </pc:spChg>
      </pc:sldChg>
      <pc:sldChg chg="modSp mod ord">
        <pc:chgData name="Catalano, Andrea Alejandra" userId="06d9d64d-5676-4ea5-a1fb-b4e7a5041ea9" providerId="ADAL" clId="{FB9DAE5B-94DC-4B13-A103-59D74FEB1464}" dt="2023-05-31T23:03:34.313" v="1119"/>
        <pc:sldMkLst>
          <pc:docMk/>
          <pc:sldMk cId="75747396" sldId="315"/>
        </pc:sldMkLst>
        <pc:spChg chg="mod">
          <ac:chgData name="Catalano, Andrea Alejandra" userId="06d9d64d-5676-4ea5-a1fb-b4e7a5041ea9" providerId="ADAL" clId="{FB9DAE5B-94DC-4B13-A103-59D74FEB1464}" dt="2023-05-31T22:51:16.966" v="946" actId="255"/>
          <ac:spMkLst>
            <pc:docMk/>
            <pc:sldMk cId="75747396" sldId="315"/>
            <ac:spMk id="112" creationId="{00000000-0000-0000-0000-000000000000}"/>
          </ac:spMkLst>
        </pc:spChg>
      </pc:sldChg>
      <pc:sldChg chg="del ord">
        <pc:chgData name="Catalano, Andrea Alejandra" userId="06d9d64d-5676-4ea5-a1fb-b4e7a5041ea9" providerId="ADAL" clId="{FB9DAE5B-94DC-4B13-A103-59D74FEB1464}" dt="2023-05-29T00:48:12.089" v="674" actId="2696"/>
        <pc:sldMkLst>
          <pc:docMk/>
          <pc:sldMk cId="2472631962" sldId="318"/>
        </pc:sldMkLst>
      </pc:sldChg>
      <pc:sldChg chg="del">
        <pc:chgData name="Catalano, Andrea Alejandra" userId="06d9d64d-5676-4ea5-a1fb-b4e7a5041ea9" providerId="ADAL" clId="{FB9DAE5B-94DC-4B13-A103-59D74FEB1464}" dt="2023-05-29T00:39:44.922" v="617" actId="2696"/>
        <pc:sldMkLst>
          <pc:docMk/>
          <pc:sldMk cId="2279714410" sldId="319"/>
        </pc:sldMkLst>
      </pc:sldChg>
      <pc:sldChg chg="del">
        <pc:chgData name="Catalano, Andrea Alejandra" userId="06d9d64d-5676-4ea5-a1fb-b4e7a5041ea9" providerId="ADAL" clId="{FB9DAE5B-94DC-4B13-A103-59D74FEB1464}" dt="2023-05-29T00:39:44.922" v="617" actId="2696"/>
        <pc:sldMkLst>
          <pc:docMk/>
          <pc:sldMk cId="1017065585" sldId="320"/>
        </pc:sldMkLst>
      </pc:sldChg>
      <pc:sldChg chg="del">
        <pc:chgData name="Catalano, Andrea Alejandra" userId="06d9d64d-5676-4ea5-a1fb-b4e7a5041ea9" providerId="ADAL" clId="{FB9DAE5B-94DC-4B13-A103-59D74FEB1464}" dt="2023-05-29T00:39:44.922" v="617" actId="2696"/>
        <pc:sldMkLst>
          <pc:docMk/>
          <pc:sldMk cId="2757740528" sldId="321"/>
        </pc:sldMkLst>
      </pc:sldChg>
      <pc:sldChg chg="del">
        <pc:chgData name="Catalano, Andrea Alejandra" userId="06d9d64d-5676-4ea5-a1fb-b4e7a5041ea9" providerId="ADAL" clId="{FB9DAE5B-94DC-4B13-A103-59D74FEB1464}" dt="2023-05-29T00:39:44.922" v="617" actId="2696"/>
        <pc:sldMkLst>
          <pc:docMk/>
          <pc:sldMk cId="4251380649" sldId="322"/>
        </pc:sldMkLst>
      </pc:sldChg>
      <pc:sldChg chg="del">
        <pc:chgData name="Catalano, Andrea Alejandra" userId="06d9d64d-5676-4ea5-a1fb-b4e7a5041ea9" providerId="ADAL" clId="{FB9DAE5B-94DC-4B13-A103-59D74FEB1464}" dt="2023-05-29T00:35:28.468" v="538" actId="2696"/>
        <pc:sldMkLst>
          <pc:docMk/>
          <pc:sldMk cId="3225200694" sldId="326"/>
        </pc:sldMkLst>
      </pc:sldChg>
      <pc:sldChg chg="modSp mod ord">
        <pc:chgData name="Catalano, Andrea Alejandra" userId="06d9d64d-5676-4ea5-a1fb-b4e7a5041ea9" providerId="ADAL" clId="{FB9DAE5B-94DC-4B13-A103-59D74FEB1464}" dt="2023-05-31T23:14:28.775" v="1328" actId="255"/>
        <pc:sldMkLst>
          <pc:docMk/>
          <pc:sldMk cId="998264117" sldId="327"/>
        </pc:sldMkLst>
        <pc:spChg chg="mod">
          <ac:chgData name="Catalano, Andrea Alejandra" userId="06d9d64d-5676-4ea5-a1fb-b4e7a5041ea9" providerId="ADAL" clId="{FB9DAE5B-94DC-4B13-A103-59D74FEB1464}" dt="2023-05-31T23:14:28.775" v="1328" actId="255"/>
          <ac:spMkLst>
            <pc:docMk/>
            <pc:sldMk cId="998264117" sldId="327"/>
            <ac:spMk id="2" creationId="{00000000-0000-0000-0000-000000000000}"/>
          </ac:spMkLst>
        </pc:spChg>
      </pc:sldChg>
      <pc:sldChg chg="modSp del mod">
        <pc:chgData name="Catalano, Andrea Alejandra" userId="06d9d64d-5676-4ea5-a1fb-b4e7a5041ea9" providerId="ADAL" clId="{FB9DAE5B-94DC-4B13-A103-59D74FEB1464}" dt="2023-05-31T23:02:20.883" v="1066" actId="2696"/>
        <pc:sldMkLst>
          <pc:docMk/>
          <pc:sldMk cId="210643096" sldId="328"/>
        </pc:sldMkLst>
        <pc:spChg chg="mod">
          <ac:chgData name="Catalano, Andrea Alejandra" userId="06d9d64d-5676-4ea5-a1fb-b4e7a5041ea9" providerId="ADAL" clId="{FB9DAE5B-94DC-4B13-A103-59D74FEB1464}" dt="2023-05-31T15:56:22.410" v="900" actId="20577"/>
          <ac:spMkLst>
            <pc:docMk/>
            <pc:sldMk cId="210643096" sldId="328"/>
            <ac:spMk id="2" creationId="{00000000-0000-0000-0000-000000000000}"/>
          </ac:spMkLst>
        </pc:spChg>
      </pc:sldChg>
      <pc:sldChg chg="modSp add mod modTransition">
        <pc:chgData name="Catalano, Andrea Alejandra" userId="06d9d64d-5676-4ea5-a1fb-b4e7a5041ea9" providerId="ADAL" clId="{FB9DAE5B-94DC-4B13-A103-59D74FEB1464}" dt="2023-05-31T23:14:09.608" v="1326" actId="255"/>
        <pc:sldMkLst>
          <pc:docMk/>
          <pc:sldMk cId="3904011703" sldId="328"/>
        </pc:sldMkLst>
        <pc:spChg chg="mod">
          <ac:chgData name="Catalano, Andrea Alejandra" userId="06d9d64d-5676-4ea5-a1fb-b4e7a5041ea9" providerId="ADAL" clId="{FB9DAE5B-94DC-4B13-A103-59D74FEB1464}" dt="2023-05-31T23:14:09.608" v="1326" actId="255"/>
          <ac:spMkLst>
            <pc:docMk/>
            <pc:sldMk cId="3904011703" sldId="328"/>
            <ac:spMk id="2" creationId="{00000000-0000-0000-0000-000000000000}"/>
          </ac:spMkLst>
        </pc:spChg>
      </pc:sldChg>
      <pc:sldChg chg="del">
        <pc:chgData name="Catalano, Andrea Alejandra" userId="06d9d64d-5676-4ea5-a1fb-b4e7a5041ea9" providerId="ADAL" clId="{FB9DAE5B-94DC-4B13-A103-59D74FEB1464}" dt="2023-05-29T00:48:12.089" v="674" actId="2696"/>
        <pc:sldMkLst>
          <pc:docMk/>
          <pc:sldMk cId="1153639891" sldId="353"/>
        </pc:sldMkLst>
      </pc:sldChg>
      <pc:sldChg chg="del">
        <pc:chgData name="Catalano, Andrea Alejandra" userId="06d9d64d-5676-4ea5-a1fb-b4e7a5041ea9" providerId="ADAL" clId="{FB9DAE5B-94DC-4B13-A103-59D74FEB1464}" dt="2023-05-29T00:48:12.089" v="674" actId="2696"/>
        <pc:sldMkLst>
          <pc:docMk/>
          <pc:sldMk cId="4270124400" sldId="354"/>
        </pc:sldMkLst>
      </pc:sldChg>
      <pc:sldChg chg="del">
        <pc:chgData name="Catalano, Andrea Alejandra" userId="06d9d64d-5676-4ea5-a1fb-b4e7a5041ea9" providerId="ADAL" clId="{FB9DAE5B-94DC-4B13-A103-59D74FEB1464}" dt="2023-05-29T00:48:12.089" v="674" actId="2696"/>
        <pc:sldMkLst>
          <pc:docMk/>
          <pc:sldMk cId="4052291045" sldId="355"/>
        </pc:sldMkLst>
      </pc:sldChg>
      <pc:sldChg chg="del">
        <pc:chgData name="Catalano, Andrea Alejandra" userId="06d9d64d-5676-4ea5-a1fb-b4e7a5041ea9" providerId="ADAL" clId="{FB9DAE5B-94DC-4B13-A103-59D74FEB1464}" dt="2023-05-29T00:48:12.089" v="674" actId="2696"/>
        <pc:sldMkLst>
          <pc:docMk/>
          <pc:sldMk cId="3521002515" sldId="356"/>
        </pc:sldMkLst>
      </pc:sldChg>
      <pc:sldChg chg="del">
        <pc:chgData name="Catalano, Andrea Alejandra" userId="06d9d64d-5676-4ea5-a1fb-b4e7a5041ea9" providerId="ADAL" clId="{FB9DAE5B-94DC-4B13-A103-59D74FEB1464}" dt="2023-05-29T00:48:12.089" v="674" actId="2696"/>
        <pc:sldMkLst>
          <pc:docMk/>
          <pc:sldMk cId="3695763337" sldId="357"/>
        </pc:sldMkLst>
      </pc:sldChg>
      <pc:sldChg chg="del">
        <pc:chgData name="Catalano, Andrea Alejandra" userId="06d9d64d-5676-4ea5-a1fb-b4e7a5041ea9" providerId="ADAL" clId="{FB9DAE5B-94DC-4B13-A103-59D74FEB1464}" dt="2023-05-29T00:48:12.089" v="674" actId="2696"/>
        <pc:sldMkLst>
          <pc:docMk/>
          <pc:sldMk cId="696158819" sldId="358"/>
        </pc:sldMkLst>
      </pc:sldChg>
      <pc:sldChg chg="del">
        <pc:chgData name="Catalano, Andrea Alejandra" userId="06d9d64d-5676-4ea5-a1fb-b4e7a5041ea9" providerId="ADAL" clId="{FB9DAE5B-94DC-4B13-A103-59D74FEB1464}" dt="2023-05-29T00:48:12.089" v="674" actId="2696"/>
        <pc:sldMkLst>
          <pc:docMk/>
          <pc:sldMk cId="425101204" sldId="359"/>
        </pc:sldMkLst>
      </pc:sldChg>
      <pc:sldChg chg="del">
        <pc:chgData name="Catalano, Andrea Alejandra" userId="06d9d64d-5676-4ea5-a1fb-b4e7a5041ea9" providerId="ADAL" clId="{FB9DAE5B-94DC-4B13-A103-59D74FEB1464}" dt="2023-05-29T00:48:12.089" v="674" actId="2696"/>
        <pc:sldMkLst>
          <pc:docMk/>
          <pc:sldMk cId="2607008627" sldId="362"/>
        </pc:sldMkLst>
      </pc:sldChg>
      <pc:sldChg chg="del">
        <pc:chgData name="Catalano, Andrea Alejandra" userId="06d9d64d-5676-4ea5-a1fb-b4e7a5041ea9" providerId="ADAL" clId="{FB9DAE5B-94DC-4B13-A103-59D74FEB1464}" dt="2023-05-29T00:39:44.922" v="617" actId="2696"/>
        <pc:sldMkLst>
          <pc:docMk/>
          <pc:sldMk cId="2189843672" sldId="364"/>
        </pc:sldMkLst>
      </pc:sldChg>
      <pc:sldChg chg="modSp del mod">
        <pc:chgData name="Catalano, Andrea Alejandra" userId="06d9d64d-5676-4ea5-a1fb-b4e7a5041ea9" providerId="ADAL" clId="{FB9DAE5B-94DC-4B13-A103-59D74FEB1464}" dt="2023-05-31T22:28:01.757" v="907" actId="2696"/>
        <pc:sldMkLst>
          <pc:docMk/>
          <pc:sldMk cId="1438982534" sldId="366"/>
        </pc:sldMkLst>
        <pc:spChg chg="mod">
          <ac:chgData name="Catalano, Andrea Alejandra" userId="06d9d64d-5676-4ea5-a1fb-b4e7a5041ea9" providerId="ADAL" clId="{FB9DAE5B-94DC-4B13-A103-59D74FEB1464}" dt="2023-05-29T00:39:03.579" v="616" actId="1076"/>
          <ac:spMkLst>
            <pc:docMk/>
            <pc:sldMk cId="1438982534" sldId="366"/>
            <ac:spMk id="49" creationId="{00000000-0000-0000-0000-000000000000}"/>
          </ac:spMkLst>
        </pc:spChg>
      </pc:sldChg>
      <pc:sldChg chg="del">
        <pc:chgData name="Catalano, Andrea Alejandra" userId="06d9d64d-5676-4ea5-a1fb-b4e7a5041ea9" providerId="ADAL" clId="{FB9DAE5B-94DC-4B13-A103-59D74FEB1464}" dt="2023-05-29T00:39:44.922" v="617" actId="2696"/>
        <pc:sldMkLst>
          <pc:docMk/>
          <pc:sldMk cId="4066432745" sldId="367"/>
        </pc:sldMkLst>
      </pc:sldChg>
      <pc:sldChg chg="modSp del mod ord">
        <pc:chgData name="Catalano, Andrea Alejandra" userId="06d9d64d-5676-4ea5-a1fb-b4e7a5041ea9" providerId="ADAL" clId="{FB9DAE5B-94DC-4B13-A103-59D74FEB1464}" dt="2023-05-31T23:01:54.744" v="1064" actId="2696"/>
        <pc:sldMkLst>
          <pc:docMk/>
          <pc:sldMk cId="457360588" sldId="484"/>
        </pc:sldMkLst>
        <pc:spChg chg="mod">
          <ac:chgData name="Catalano, Andrea Alejandra" userId="06d9d64d-5676-4ea5-a1fb-b4e7a5041ea9" providerId="ADAL" clId="{FB9DAE5B-94DC-4B13-A103-59D74FEB1464}" dt="2023-05-27T00:35:45.749" v="60" actId="20577"/>
          <ac:spMkLst>
            <pc:docMk/>
            <pc:sldMk cId="457360588" sldId="484"/>
            <ac:spMk id="8" creationId="{23AF1BB5-D948-8244-9944-03FD4BB912B5}"/>
          </ac:spMkLst>
        </pc:spChg>
      </pc:sldChg>
      <pc:sldChg chg="add">
        <pc:chgData name="Catalano, Andrea Alejandra" userId="06d9d64d-5676-4ea5-a1fb-b4e7a5041ea9" providerId="ADAL" clId="{FB9DAE5B-94DC-4B13-A103-59D74FEB1464}" dt="2023-05-31T23:02:06.013" v="1065"/>
        <pc:sldMkLst>
          <pc:docMk/>
          <pc:sldMk cId="3914890663" sldId="484"/>
        </pc:sldMkLst>
      </pc:sldChg>
      <pc:sldChg chg="ord">
        <pc:chgData name="Catalano, Andrea Alejandra" userId="06d9d64d-5676-4ea5-a1fb-b4e7a5041ea9" providerId="ADAL" clId="{FB9DAE5B-94DC-4B13-A103-59D74FEB1464}" dt="2023-05-29T00:58:00.879" v="678"/>
        <pc:sldMkLst>
          <pc:docMk/>
          <pc:sldMk cId="2851020510" sldId="504"/>
        </pc:sldMkLst>
      </pc:sldChg>
      <pc:sldChg chg="del">
        <pc:chgData name="Catalano, Andrea Alejandra" userId="06d9d64d-5676-4ea5-a1fb-b4e7a5041ea9" providerId="ADAL" clId="{FB9DAE5B-94DC-4B13-A103-59D74FEB1464}" dt="2023-05-31T15:34:42.230" v="796" actId="2696"/>
        <pc:sldMkLst>
          <pc:docMk/>
          <pc:sldMk cId="1482360242" sldId="522"/>
        </pc:sldMkLst>
      </pc:sldChg>
      <pc:sldChg chg="modSp mod ord">
        <pc:chgData name="Catalano, Andrea Alejandra" userId="06d9d64d-5676-4ea5-a1fb-b4e7a5041ea9" providerId="ADAL" clId="{FB9DAE5B-94DC-4B13-A103-59D74FEB1464}" dt="2023-05-31T15:33:48.542" v="795"/>
        <pc:sldMkLst>
          <pc:docMk/>
          <pc:sldMk cId="1944289207" sldId="526"/>
        </pc:sldMkLst>
        <pc:spChg chg="mod">
          <ac:chgData name="Catalano, Andrea Alejandra" userId="06d9d64d-5676-4ea5-a1fb-b4e7a5041ea9" providerId="ADAL" clId="{FB9DAE5B-94DC-4B13-A103-59D74FEB1464}" dt="2023-05-27T00:35:00.997" v="41" actId="20577"/>
          <ac:spMkLst>
            <pc:docMk/>
            <pc:sldMk cId="1944289207" sldId="526"/>
            <ac:spMk id="3" creationId="{5CC3EF53-BEBF-7B46-AF6D-8D54BAF6D64F}"/>
          </ac:spMkLst>
        </pc:spChg>
      </pc:sldChg>
      <pc:sldChg chg="modSp mod">
        <pc:chgData name="Catalano, Andrea Alejandra" userId="06d9d64d-5676-4ea5-a1fb-b4e7a5041ea9" providerId="ADAL" clId="{FB9DAE5B-94DC-4B13-A103-59D74FEB1464}" dt="2023-05-31T23:18:27.953" v="1344" actId="255"/>
        <pc:sldMkLst>
          <pc:docMk/>
          <pc:sldMk cId="1821979874" sldId="529"/>
        </pc:sldMkLst>
        <pc:spChg chg="mod">
          <ac:chgData name="Catalano, Andrea Alejandra" userId="06d9d64d-5676-4ea5-a1fb-b4e7a5041ea9" providerId="ADAL" clId="{FB9DAE5B-94DC-4B13-A103-59D74FEB1464}" dt="2023-05-31T23:18:27.953" v="1344" actId="255"/>
          <ac:spMkLst>
            <pc:docMk/>
            <pc:sldMk cId="1821979874" sldId="529"/>
            <ac:spMk id="4" creationId="{00000000-0000-0000-0000-000000000000}"/>
          </ac:spMkLst>
        </pc:spChg>
      </pc:sldChg>
      <pc:sldChg chg="del ord">
        <pc:chgData name="Catalano, Andrea Alejandra" userId="06d9d64d-5676-4ea5-a1fb-b4e7a5041ea9" providerId="ADAL" clId="{FB9DAE5B-94DC-4B13-A103-59D74FEB1464}" dt="2023-05-31T22:49:49.567" v="939" actId="2696"/>
        <pc:sldMkLst>
          <pc:docMk/>
          <pc:sldMk cId="2328126830" sldId="531"/>
        </pc:sldMkLst>
      </pc:sldChg>
      <pc:sldChg chg="del ord">
        <pc:chgData name="Catalano, Andrea Alejandra" userId="06d9d64d-5676-4ea5-a1fb-b4e7a5041ea9" providerId="ADAL" clId="{FB9DAE5B-94DC-4B13-A103-59D74FEB1464}" dt="2023-05-31T22:27:48.543" v="906" actId="2696"/>
        <pc:sldMkLst>
          <pc:docMk/>
          <pc:sldMk cId="1761389016" sldId="532"/>
        </pc:sldMkLst>
      </pc:sldChg>
      <pc:sldChg chg="del">
        <pc:chgData name="Catalano, Andrea Alejandra" userId="06d9d64d-5676-4ea5-a1fb-b4e7a5041ea9" providerId="ADAL" clId="{FB9DAE5B-94DC-4B13-A103-59D74FEB1464}" dt="2023-05-29T00:48:12.089" v="674" actId="2696"/>
        <pc:sldMkLst>
          <pc:docMk/>
          <pc:sldMk cId="2712585891" sldId="533"/>
        </pc:sldMkLst>
      </pc:sldChg>
      <pc:sldChg chg="modSp mod">
        <pc:chgData name="Catalano, Andrea Alejandra" userId="06d9d64d-5676-4ea5-a1fb-b4e7a5041ea9" providerId="ADAL" clId="{FB9DAE5B-94DC-4B13-A103-59D74FEB1464}" dt="2023-05-31T23:18:05.094" v="1343" actId="20577"/>
        <pc:sldMkLst>
          <pc:docMk/>
          <pc:sldMk cId="762514664" sldId="540"/>
        </pc:sldMkLst>
        <pc:spChg chg="mod">
          <ac:chgData name="Catalano, Andrea Alejandra" userId="06d9d64d-5676-4ea5-a1fb-b4e7a5041ea9" providerId="ADAL" clId="{FB9DAE5B-94DC-4B13-A103-59D74FEB1464}" dt="2023-05-31T23:18:05.094" v="1343" actId="20577"/>
          <ac:spMkLst>
            <pc:docMk/>
            <pc:sldMk cId="762514664" sldId="540"/>
            <ac:spMk id="2" creationId="{00000000-0000-0000-0000-000000000000}"/>
          </ac:spMkLst>
        </pc:spChg>
      </pc:sldChg>
      <pc:sldChg chg="del">
        <pc:chgData name="Catalano, Andrea Alejandra" userId="06d9d64d-5676-4ea5-a1fb-b4e7a5041ea9" providerId="ADAL" clId="{FB9DAE5B-94DC-4B13-A103-59D74FEB1464}" dt="2023-05-29T00:48:12.089" v="674" actId="2696"/>
        <pc:sldMkLst>
          <pc:docMk/>
          <pc:sldMk cId="2479915108" sldId="541"/>
        </pc:sldMkLst>
      </pc:sldChg>
      <pc:sldChg chg="del">
        <pc:chgData name="Catalano, Andrea Alejandra" userId="06d9d64d-5676-4ea5-a1fb-b4e7a5041ea9" providerId="ADAL" clId="{FB9DAE5B-94DC-4B13-A103-59D74FEB1464}" dt="2023-05-29T00:48:12.089" v="674" actId="2696"/>
        <pc:sldMkLst>
          <pc:docMk/>
          <pc:sldMk cId="3316300085" sldId="542"/>
        </pc:sldMkLst>
      </pc:sldChg>
      <pc:sldChg chg="del">
        <pc:chgData name="Catalano, Andrea Alejandra" userId="06d9d64d-5676-4ea5-a1fb-b4e7a5041ea9" providerId="ADAL" clId="{FB9DAE5B-94DC-4B13-A103-59D74FEB1464}" dt="2023-05-29T00:48:12.089" v="674" actId="2696"/>
        <pc:sldMkLst>
          <pc:docMk/>
          <pc:sldMk cId="4224476219" sldId="543"/>
        </pc:sldMkLst>
      </pc:sldChg>
      <pc:sldChg chg="del">
        <pc:chgData name="Catalano, Andrea Alejandra" userId="06d9d64d-5676-4ea5-a1fb-b4e7a5041ea9" providerId="ADAL" clId="{FB9DAE5B-94DC-4B13-A103-59D74FEB1464}" dt="2023-05-29T00:48:12.089" v="674" actId="2696"/>
        <pc:sldMkLst>
          <pc:docMk/>
          <pc:sldMk cId="3959293570" sldId="544"/>
        </pc:sldMkLst>
      </pc:sldChg>
      <pc:sldChg chg="del">
        <pc:chgData name="Catalano, Andrea Alejandra" userId="06d9d64d-5676-4ea5-a1fb-b4e7a5041ea9" providerId="ADAL" clId="{FB9DAE5B-94DC-4B13-A103-59D74FEB1464}" dt="2023-05-29T00:48:12.089" v="674" actId="2696"/>
        <pc:sldMkLst>
          <pc:docMk/>
          <pc:sldMk cId="1410113957" sldId="545"/>
        </pc:sldMkLst>
      </pc:sldChg>
      <pc:sldChg chg="del">
        <pc:chgData name="Catalano, Andrea Alejandra" userId="06d9d64d-5676-4ea5-a1fb-b4e7a5041ea9" providerId="ADAL" clId="{FB9DAE5B-94DC-4B13-A103-59D74FEB1464}" dt="2023-05-29T00:48:12.089" v="674" actId="2696"/>
        <pc:sldMkLst>
          <pc:docMk/>
          <pc:sldMk cId="1999642136" sldId="546"/>
        </pc:sldMkLst>
      </pc:sldChg>
      <pc:sldChg chg="del">
        <pc:chgData name="Catalano, Andrea Alejandra" userId="06d9d64d-5676-4ea5-a1fb-b4e7a5041ea9" providerId="ADAL" clId="{FB9DAE5B-94DC-4B13-A103-59D74FEB1464}" dt="2023-05-29T00:39:44.922" v="617" actId="2696"/>
        <pc:sldMkLst>
          <pc:docMk/>
          <pc:sldMk cId="1444221955" sldId="547"/>
        </pc:sldMkLst>
      </pc:sldChg>
      <pc:sldChg chg="addSp delSp modSp add mod">
        <pc:chgData name="Catalano, Andrea Alejandra" userId="06d9d64d-5676-4ea5-a1fb-b4e7a5041ea9" providerId="ADAL" clId="{FB9DAE5B-94DC-4B13-A103-59D74FEB1464}" dt="2023-05-31T23:15:38.802" v="1334" actId="2711"/>
        <pc:sldMkLst>
          <pc:docMk/>
          <pc:sldMk cId="482103000" sldId="548"/>
        </pc:sldMkLst>
        <pc:spChg chg="mod">
          <ac:chgData name="Catalano, Andrea Alejandra" userId="06d9d64d-5676-4ea5-a1fb-b4e7a5041ea9" providerId="ADAL" clId="{FB9DAE5B-94DC-4B13-A103-59D74FEB1464}" dt="2023-05-31T23:15:30.758" v="1333" actId="2711"/>
          <ac:spMkLst>
            <pc:docMk/>
            <pc:sldMk cId="482103000" sldId="548"/>
            <ac:spMk id="2" creationId="{00000000-0000-0000-0000-000000000000}"/>
          </ac:spMkLst>
        </pc:spChg>
        <pc:spChg chg="add del mod">
          <ac:chgData name="Catalano, Andrea Alejandra" userId="06d9d64d-5676-4ea5-a1fb-b4e7a5041ea9" providerId="ADAL" clId="{FB9DAE5B-94DC-4B13-A103-59D74FEB1464}" dt="2023-05-29T00:37:00.416" v="596" actId="478"/>
          <ac:spMkLst>
            <pc:docMk/>
            <pc:sldMk cId="482103000" sldId="548"/>
            <ac:spMk id="5" creationId="{6472FE3A-686A-4AB6-9F4D-A7CC7EF2FCCD}"/>
          </ac:spMkLst>
        </pc:spChg>
        <pc:spChg chg="add del mod">
          <ac:chgData name="Catalano, Andrea Alejandra" userId="06d9d64d-5676-4ea5-a1fb-b4e7a5041ea9" providerId="ADAL" clId="{FB9DAE5B-94DC-4B13-A103-59D74FEB1464}" dt="2023-05-27T00:37:26.142" v="65" actId="478"/>
          <ac:spMkLst>
            <pc:docMk/>
            <pc:sldMk cId="482103000" sldId="548"/>
            <ac:spMk id="6" creationId="{8F45752D-1D7E-498B-BF0F-2793390541A6}"/>
          </ac:spMkLst>
        </pc:spChg>
        <pc:spChg chg="add del mod">
          <ac:chgData name="Catalano, Andrea Alejandra" userId="06d9d64d-5676-4ea5-a1fb-b4e7a5041ea9" providerId="ADAL" clId="{FB9DAE5B-94DC-4B13-A103-59D74FEB1464}" dt="2023-05-28T23:27:24.712" v="114" actId="478"/>
          <ac:spMkLst>
            <pc:docMk/>
            <pc:sldMk cId="482103000" sldId="548"/>
            <ac:spMk id="7" creationId="{17241EE0-903A-420F-AAB7-14A354711215}"/>
          </ac:spMkLst>
        </pc:spChg>
        <pc:spChg chg="del">
          <ac:chgData name="Catalano, Andrea Alejandra" userId="06d9d64d-5676-4ea5-a1fb-b4e7a5041ea9" providerId="ADAL" clId="{FB9DAE5B-94DC-4B13-A103-59D74FEB1464}" dt="2023-05-28T23:28:55.119" v="214" actId="478"/>
          <ac:spMkLst>
            <pc:docMk/>
            <pc:sldMk cId="482103000" sldId="548"/>
            <ac:spMk id="10" creationId="{F8D24E3B-952E-3C9F-CF95-7658758DB58C}"/>
          </ac:spMkLst>
        </pc:spChg>
        <pc:spChg chg="del mod">
          <ac:chgData name="Catalano, Andrea Alejandra" userId="06d9d64d-5676-4ea5-a1fb-b4e7a5041ea9" providerId="ADAL" clId="{FB9DAE5B-94DC-4B13-A103-59D74FEB1464}" dt="2023-05-29T00:36:33.944" v="591" actId="478"/>
          <ac:spMkLst>
            <pc:docMk/>
            <pc:sldMk cId="482103000" sldId="548"/>
            <ac:spMk id="14" creationId="{00000000-0000-0000-0000-000000000000}"/>
          </ac:spMkLst>
        </pc:spChg>
        <pc:spChg chg="mod">
          <ac:chgData name="Catalano, Andrea Alejandra" userId="06d9d64d-5676-4ea5-a1fb-b4e7a5041ea9" providerId="ADAL" clId="{FB9DAE5B-94DC-4B13-A103-59D74FEB1464}" dt="2023-05-31T23:15:25.694" v="1332" actId="2711"/>
          <ac:spMkLst>
            <pc:docMk/>
            <pc:sldMk cId="482103000" sldId="548"/>
            <ac:spMk id="17" creationId="{00000000-0000-0000-0000-000000000000}"/>
          </ac:spMkLst>
        </pc:spChg>
        <pc:spChg chg="mod">
          <ac:chgData name="Catalano, Andrea Alejandra" userId="06d9d64d-5676-4ea5-a1fb-b4e7a5041ea9" providerId="ADAL" clId="{FB9DAE5B-94DC-4B13-A103-59D74FEB1464}" dt="2023-05-31T23:15:38.802" v="1334" actId="2711"/>
          <ac:spMkLst>
            <pc:docMk/>
            <pc:sldMk cId="482103000" sldId="548"/>
            <ac:spMk id="18" creationId="{00000000-0000-0000-0000-000000000000}"/>
          </ac:spMkLst>
        </pc:spChg>
        <pc:picChg chg="del">
          <ac:chgData name="Catalano, Andrea Alejandra" userId="06d9d64d-5676-4ea5-a1fb-b4e7a5041ea9" providerId="ADAL" clId="{FB9DAE5B-94DC-4B13-A103-59D74FEB1464}" dt="2023-05-27T00:37:09.241" v="62" actId="478"/>
          <ac:picMkLst>
            <pc:docMk/>
            <pc:sldMk cId="482103000" sldId="548"/>
            <ac:picMk id="3" creationId="{00000000-0000-0000-0000-000000000000}"/>
          </ac:picMkLst>
        </pc:picChg>
        <pc:picChg chg="add del mod ord">
          <ac:chgData name="Catalano, Andrea Alejandra" userId="06d9d64d-5676-4ea5-a1fb-b4e7a5041ea9" providerId="ADAL" clId="{FB9DAE5B-94DC-4B13-A103-59D74FEB1464}" dt="2023-05-29T00:36:43.503" v="593" actId="478"/>
          <ac:picMkLst>
            <pc:docMk/>
            <pc:sldMk cId="482103000" sldId="548"/>
            <ac:picMk id="4" creationId="{863B982A-B2CE-4F80-9A65-87CA3E6A511A}"/>
          </ac:picMkLst>
        </pc:picChg>
        <pc:picChg chg="add del mod">
          <ac:chgData name="Catalano, Andrea Alejandra" userId="06d9d64d-5676-4ea5-a1fb-b4e7a5041ea9" providerId="ADAL" clId="{FB9DAE5B-94DC-4B13-A103-59D74FEB1464}" dt="2023-05-28T23:27:08.087" v="108" actId="478"/>
          <ac:picMkLst>
            <pc:docMk/>
            <pc:sldMk cId="482103000" sldId="548"/>
            <ac:picMk id="5" creationId="{00000000-0000-0000-0000-000000000000}"/>
          </ac:picMkLst>
        </pc:picChg>
      </pc:sldChg>
      <pc:sldChg chg="add del">
        <pc:chgData name="Catalano, Andrea Alejandra" userId="06d9d64d-5676-4ea5-a1fb-b4e7a5041ea9" providerId="ADAL" clId="{FB9DAE5B-94DC-4B13-A103-59D74FEB1464}" dt="2023-05-28T23:36:00.061" v="255" actId="2696"/>
        <pc:sldMkLst>
          <pc:docMk/>
          <pc:sldMk cId="3360194837" sldId="549"/>
        </pc:sldMkLst>
      </pc:sldChg>
      <pc:sldChg chg="addSp delSp modSp add mod ord">
        <pc:chgData name="Catalano, Andrea Alejandra" userId="06d9d64d-5676-4ea5-a1fb-b4e7a5041ea9" providerId="ADAL" clId="{FB9DAE5B-94DC-4B13-A103-59D74FEB1464}" dt="2023-05-28T23:35:12.571" v="253" actId="478"/>
        <pc:sldMkLst>
          <pc:docMk/>
          <pc:sldMk cId="2886935482" sldId="550"/>
        </pc:sldMkLst>
        <pc:spChg chg="del">
          <ac:chgData name="Catalano, Andrea Alejandra" userId="06d9d64d-5676-4ea5-a1fb-b4e7a5041ea9" providerId="ADAL" clId="{FB9DAE5B-94DC-4B13-A103-59D74FEB1464}" dt="2023-05-28T23:34:30.217" v="247" actId="478"/>
          <ac:spMkLst>
            <pc:docMk/>
            <pc:sldMk cId="2886935482" sldId="550"/>
            <ac:spMk id="4" creationId="{00000000-0000-0000-0000-000000000000}"/>
          </ac:spMkLst>
        </pc:spChg>
        <pc:spChg chg="add del mod">
          <ac:chgData name="Catalano, Andrea Alejandra" userId="06d9d64d-5676-4ea5-a1fb-b4e7a5041ea9" providerId="ADAL" clId="{FB9DAE5B-94DC-4B13-A103-59D74FEB1464}" dt="2023-05-28T23:35:12.571" v="253" actId="478"/>
          <ac:spMkLst>
            <pc:docMk/>
            <pc:sldMk cId="2886935482" sldId="550"/>
            <ac:spMk id="7" creationId="{7886BC2B-A30C-430C-9BFF-3B8DA3CC60FD}"/>
          </ac:spMkLst>
        </pc:spChg>
        <pc:grpChg chg="del">
          <ac:chgData name="Catalano, Andrea Alejandra" userId="06d9d64d-5676-4ea5-a1fb-b4e7a5041ea9" providerId="ADAL" clId="{FB9DAE5B-94DC-4B13-A103-59D74FEB1464}" dt="2023-05-28T23:34:26.214" v="246" actId="478"/>
          <ac:grpSpMkLst>
            <pc:docMk/>
            <pc:sldMk cId="2886935482" sldId="550"/>
            <ac:grpSpMk id="2" creationId="{00000000-0000-0000-0000-000000000000}"/>
          </ac:grpSpMkLst>
        </pc:grpChg>
        <pc:picChg chg="add mod">
          <ac:chgData name="Catalano, Andrea Alejandra" userId="06d9d64d-5676-4ea5-a1fb-b4e7a5041ea9" providerId="ADAL" clId="{FB9DAE5B-94DC-4B13-A103-59D74FEB1464}" dt="2023-05-28T23:35:08.922" v="252" actId="1076"/>
          <ac:picMkLst>
            <pc:docMk/>
            <pc:sldMk cId="2886935482" sldId="550"/>
            <ac:picMk id="9" creationId="{ADEF86A6-C986-4F46-8A4D-1CF46C82FC44}"/>
          </ac:picMkLst>
        </pc:picChg>
      </pc:sldChg>
      <pc:sldChg chg="add">
        <pc:chgData name="Catalano, Andrea Alejandra" userId="06d9d64d-5676-4ea5-a1fb-b4e7a5041ea9" providerId="ADAL" clId="{FB9DAE5B-94DC-4B13-A103-59D74FEB1464}" dt="2023-05-31T23:01:16.539" v="1050"/>
        <pc:sldMkLst>
          <pc:docMk/>
          <pc:sldMk cId="1234453574" sldId="551"/>
        </pc:sldMkLst>
      </pc:sldChg>
      <pc:sldChg chg="addSp delSp modSp add del mod ord">
        <pc:chgData name="Catalano, Andrea Alejandra" userId="06d9d64d-5676-4ea5-a1fb-b4e7a5041ea9" providerId="ADAL" clId="{FB9DAE5B-94DC-4B13-A103-59D74FEB1464}" dt="2023-05-31T23:01:07.824" v="1049" actId="2696"/>
        <pc:sldMkLst>
          <pc:docMk/>
          <pc:sldMk cId="3605179560" sldId="551"/>
        </pc:sldMkLst>
        <pc:picChg chg="add mod">
          <ac:chgData name="Catalano, Andrea Alejandra" userId="06d9d64d-5676-4ea5-a1fb-b4e7a5041ea9" providerId="ADAL" clId="{FB9DAE5B-94DC-4B13-A103-59D74FEB1464}" dt="2023-05-31T22:50:46.989" v="944" actId="1076"/>
          <ac:picMkLst>
            <pc:docMk/>
            <pc:sldMk cId="3605179560" sldId="551"/>
            <ac:picMk id="4" creationId="{FD8F7AD1-1FB5-4C87-A5AA-0221557707BB}"/>
          </ac:picMkLst>
        </pc:picChg>
        <pc:picChg chg="del">
          <ac:chgData name="Catalano, Andrea Alejandra" userId="06d9d64d-5676-4ea5-a1fb-b4e7a5041ea9" providerId="ADAL" clId="{FB9DAE5B-94DC-4B13-A103-59D74FEB1464}" dt="2023-05-28T23:36:23.768" v="257" actId="478"/>
          <ac:picMkLst>
            <pc:docMk/>
            <pc:sldMk cId="3605179560" sldId="551"/>
            <ac:picMk id="9" creationId="{ADEF86A6-C986-4F46-8A4D-1CF46C82FC44}"/>
          </ac:picMkLst>
        </pc:picChg>
      </pc:sldChg>
      <pc:sldChg chg="addSp delSp modSp add mod">
        <pc:chgData name="Catalano, Andrea Alejandra" userId="06d9d64d-5676-4ea5-a1fb-b4e7a5041ea9" providerId="ADAL" clId="{FB9DAE5B-94DC-4B13-A103-59D74FEB1464}" dt="2023-05-29T00:18:10.338" v="528" actId="1076"/>
        <pc:sldMkLst>
          <pc:docMk/>
          <pc:sldMk cId="1462870964" sldId="552"/>
        </pc:sldMkLst>
        <pc:spChg chg="del">
          <ac:chgData name="Catalano, Andrea Alejandra" userId="06d9d64d-5676-4ea5-a1fb-b4e7a5041ea9" providerId="ADAL" clId="{FB9DAE5B-94DC-4B13-A103-59D74FEB1464}" dt="2023-05-29T00:14:14.582" v="505" actId="478"/>
          <ac:spMkLst>
            <pc:docMk/>
            <pc:sldMk cId="1462870964" sldId="552"/>
            <ac:spMk id="2" creationId="{00000000-0000-0000-0000-000000000000}"/>
          </ac:spMkLst>
        </pc:spChg>
        <pc:spChg chg="add del mod">
          <ac:chgData name="Catalano, Andrea Alejandra" userId="06d9d64d-5676-4ea5-a1fb-b4e7a5041ea9" providerId="ADAL" clId="{FB9DAE5B-94DC-4B13-A103-59D74FEB1464}" dt="2023-05-28T23:40:44.643" v="276" actId="478"/>
          <ac:spMkLst>
            <pc:docMk/>
            <pc:sldMk cId="1462870964" sldId="552"/>
            <ac:spMk id="10" creationId="{05674AA2-1B79-46BC-BD8C-2BFAFCDD24C2}"/>
          </ac:spMkLst>
        </pc:spChg>
        <pc:spChg chg="add del mod">
          <ac:chgData name="Catalano, Andrea Alejandra" userId="06d9d64d-5676-4ea5-a1fb-b4e7a5041ea9" providerId="ADAL" clId="{FB9DAE5B-94DC-4B13-A103-59D74FEB1464}" dt="2023-05-28T23:51:35.637" v="418" actId="478"/>
          <ac:spMkLst>
            <pc:docMk/>
            <pc:sldMk cId="1462870964" sldId="552"/>
            <ac:spMk id="14" creationId="{00000000-0000-0000-0000-000000000000}"/>
          </ac:spMkLst>
        </pc:spChg>
        <pc:spChg chg="del">
          <ac:chgData name="Catalano, Andrea Alejandra" userId="06d9d64d-5676-4ea5-a1fb-b4e7a5041ea9" providerId="ADAL" clId="{FB9DAE5B-94DC-4B13-A103-59D74FEB1464}" dt="2023-05-29T00:14:11.569" v="504" actId="478"/>
          <ac:spMkLst>
            <pc:docMk/>
            <pc:sldMk cId="1462870964" sldId="552"/>
            <ac:spMk id="17" creationId="{00000000-0000-0000-0000-000000000000}"/>
          </ac:spMkLst>
        </pc:spChg>
        <pc:spChg chg="del mod">
          <ac:chgData name="Catalano, Andrea Alejandra" userId="06d9d64d-5676-4ea5-a1fb-b4e7a5041ea9" providerId="ADAL" clId="{FB9DAE5B-94DC-4B13-A103-59D74FEB1464}" dt="2023-05-28T23:40:52.392" v="277" actId="478"/>
          <ac:spMkLst>
            <pc:docMk/>
            <pc:sldMk cId="1462870964" sldId="552"/>
            <ac:spMk id="18" creationId="{00000000-0000-0000-0000-000000000000}"/>
          </ac:spMkLst>
        </pc:spChg>
        <pc:spChg chg="add del mod">
          <ac:chgData name="Catalano, Andrea Alejandra" userId="06d9d64d-5676-4ea5-a1fb-b4e7a5041ea9" providerId="ADAL" clId="{FB9DAE5B-94DC-4B13-A103-59D74FEB1464}" dt="2023-05-28T23:51:40.184" v="419" actId="478"/>
          <ac:spMkLst>
            <pc:docMk/>
            <pc:sldMk cId="1462870964" sldId="552"/>
            <ac:spMk id="19" creationId="{491D96D7-EB31-4DB0-951D-9C56C07F41A6}"/>
          </ac:spMkLst>
        </pc:spChg>
        <pc:spChg chg="add del mod">
          <ac:chgData name="Catalano, Andrea Alejandra" userId="06d9d64d-5676-4ea5-a1fb-b4e7a5041ea9" providerId="ADAL" clId="{FB9DAE5B-94DC-4B13-A103-59D74FEB1464}" dt="2023-05-29T00:14:22.014" v="506" actId="478"/>
          <ac:spMkLst>
            <pc:docMk/>
            <pc:sldMk cId="1462870964" sldId="552"/>
            <ac:spMk id="23" creationId="{6F13EA95-8677-45AB-A149-8892ECDB3A45}"/>
          </ac:spMkLst>
        </pc:spChg>
        <pc:picChg chg="add del">
          <ac:chgData name="Catalano, Andrea Alejandra" userId="06d9d64d-5676-4ea5-a1fb-b4e7a5041ea9" providerId="ADAL" clId="{FB9DAE5B-94DC-4B13-A103-59D74FEB1464}" dt="2023-05-28T23:39:08.999" v="264" actId="478"/>
          <ac:picMkLst>
            <pc:docMk/>
            <pc:sldMk cId="1462870964" sldId="552"/>
            <ac:picMk id="4" creationId="{863B982A-B2CE-4F80-9A65-87CA3E6A511A}"/>
          </ac:picMkLst>
        </pc:picChg>
        <pc:picChg chg="add del mod">
          <ac:chgData name="Catalano, Andrea Alejandra" userId="06d9d64d-5676-4ea5-a1fb-b4e7a5041ea9" providerId="ADAL" clId="{FB9DAE5B-94DC-4B13-A103-59D74FEB1464}" dt="2023-05-28T23:39:24.399" v="268" actId="478"/>
          <ac:picMkLst>
            <pc:docMk/>
            <pc:sldMk cId="1462870964" sldId="552"/>
            <ac:picMk id="5" creationId="{623E7F21-DD44-4DFC-9C84-FF23CFC51B90}"/>
          </ac:picMkLst>
        </pc:picChg>
        <pc:picChg chg="add del mod">
          <ac:chgData name="Catalano, Andrea Alejandra" userId="06d9d64d-5676-4ea5-a1fb-b4e7a5041ea9" providerId="ADAL" clId="{FB9DAE5B-94DC-4B13-A103-59D74FEB1464}" dt="2023-05-28T23:47:19.438" v="411" actId="478"/>
          <ac:picMkLst>
            <pc:docMk/>
            <pc:sldMk cId="1462870964" sldId="552"/>
            <ac:picMk id="7" creationId="{D59DDFF8-1BEE-4A12-B2E2-F5BAD9B7871C}"/>
          </ac:picMkLst>
        </pc:picChg>
        <pc:picChg chg="add mod">
          <ac:chgData name="Catalano, Andrea Alejandra" userId="06d9d64d-5676-4ea5-a1fb-b4e7a5041ea9" providerId="ADAL" clId="{FB9DAE5B-94DC-4B13-A103-59D74FEB1464}" dt="2023-05-29T00:18:10.338" v="528" actId="1076"/>
          <ac:picMkLst>
            <pc:docMk/>
            <pc:sldMk cId="1462870964" sldId="552"/>
            <ac:picMk id="12" creationId="{E0C589B6-9A35-4663-B21C-9B142B58490A}"/>
          </ac:picMkLst>
        </pc:picChg>
        <pc:picChg chg="add mod">
          <ac:chgData name="Catalano, Andrea Alejandra" userId="06d9d64d-5676-4ea5-a1fb-b4e7a5041ea9" providerId="ADAL" clId="{FB9DAE5B-94DC-4B13-A103-59D74FEB1464}" dt="2023-05-29T00:18:02.147" v="526" actId="1076"/>
          <ac:picMkLst>
            <pc:docMk/>
            <pc:sldMk cId="1462870964" sldId="552"/>
            <ac:picMk id="15" creationId="{CBA6BF3D-FF09-4DDF-A1F2-5444FC724F15}"/>
          </ac:picMkLst>
        </pc:picChg>
        <pc:picChg chg="add mod ord">
          <ac:chgData name="Catalano, Andrea Alejandra" userId="06d9d64d-5676-4ea5-a1fb-b4e7a5041ea9" providerId="ADAL" clId="{FB9DAE5B-94DC-4B13-A103-59D74FEB1464}" dt="2023-05-29T00:14:37.561" v="510" actId="14100"/>
          <ac:picMkLst>
            <pc:docMk/>
            <pc:sldMk cId="1462870964" sldId="552"/>
            <ac:picMk id="21" creationId="{723B3602-F418-4348-8CAA-32982A92B1DD}"/>
          </ac:picMkLst>
        </pc:picChg>
        <pc:picChg chg="add mod">
          <ac:chgData name="Catalano, Andrea Alejandra" userId="06d9d64d-5676-4ea5-a1fb-b4e7a5041ea9" providerId="ADAL" clId="{FB9DAE5B-94DC-4B13-A103-59D74FEB1464}" dt="2023-05-29T00:17:48.924" v="524" actId="1076"/>
          <ac:picMkLst>
            <pc:docMk/>
            <pc:sldMk cId="1462870964" sldId="552"/>
            <ac:picMk id="25" creationId="{B1A986AD-C2ED-44B0-A933-65AC2232E3FD}"/>
          </ac:picMkLst>
        </pc:picChg>
        <pc:picChg chg="add mod">
          <ac:chgData name="Catalano, Andrea Alejandra" userId="06d9d64d-5676-4ea5-a1fb-b4e7a5041ea9" providerId="ADAL" clId="{FB9DAE5B-94DC-4B13-A103-59D74FEB1464}" dt="2023-05-29T00:18:08.080" v="527" actId="1076"/>
          <ac:picMkLst>
            <pc:docMk/>
            <pc:sldMk cId="1462870964" sldId="552"/>
            <ac:picMk id="27" creationId="{A4E28770-048D-44E8-8D10-A02A639EB282}"/>
          </ac:picMkLst>
        </pc:picChg>
      </pc:sldChg>
      <pc:sldChg chg="addSp delSp modSp add del mod ord">
        <pc:chgData name="Catalano, Andrea Alejandra" userId="06d9d64d-5676-4ea5-a1fb-b4e7a5041ea9" providerId="ADAL" clId="{FB9DAE5B-94DC-4B13-A103-59D74FEB1464}" dt="2023-05-31T22:27:25.460" v="905" actId="2696"/>
        <pc:sldMkLst>
          <pc:docMk/>
          <pc:sldMk cId="1943254382" sldId="553"/>
        </pc:sldMkLst>
        <pc:spChg chg="add mod">
          <ac:chgData name="Catalano, Andrea Alejandra" userId="06d9d64d-5676-4ea5-a1fb-b4e7a5041ea9" providerId="ADAL" clId="{FB9DAE5B-94DC-4B13-A103-59D74FEB1464}" dt="2023-05-29T01:01:23.082" v="738" actId="20577"/>
          <ac:spMkLst>
            <pc:docMk/>
            <pc:sldMk cId="1943254382" sldId="553"/>
            <ac:spMk id="7" creationId="{4C734530-D15D-4DC8-ADFF-A14AADD7B1FB}"/>
          </ac:spMkLst>
        </pc:spChg>
        <pc:picChg chg="del mod">
          <ac:chgData name="Catalano, Andrea Alejandra" userId="06d9d64d-5676-4ea5-a1fb-b4e7a5041ea9" providerId="ADAL" clId="{FB9DAE5B-94DC-4B13-A103-59D74FEB1464}" dt="2023-05-29T01:00:48.953" v="681" actId="478"/>
          <ac:picMkLst>
            <pc:docMk/>
            <pc:sldMk cId="1943254382" sldId="553"/>
            <ac:picMk id="4" creationId="{FD8F7AD1-1FB5-4C87-A5AA-0221557707BB}"/>
          </ac:picMkLst>
        </pc:picChg>
        <pc:picChg chg="add mod">
          <ac:chgData name="Catalano, Andrea Alejandra" userId="06d9d64d-5676-4ea5-a1fb-b4e7a5041ea9" providerId="ADAL" clId="{FB9DAE5B-94DC-4B13-A103-59D74FEB1464}" dt="2023-05-29T01:15:08.807" v="745" actId="14100"/>
          <ac:picMkLst>
            <pc:docMk/>
            <pc:sldMk cId="1943254382" sldId="553"/>
            <ac:picMk id="5" creationId="{3C90433C-97F4-4B3B-99E5-84051B4DB6C1}"/>
          </ac:picMkLst>
        </pc:picChg>
      </pc:sldChg>
      <pc:sldChg chg="modSp add mod ord modTransition">
        <pc:chgData name="Catalano, Andrea Alejandra" userId="06d9d64d-5676-4ea5-a1fb-b4e7a5041ea9" providerId="ADAL" clId="{FB9DAE5B-94DC-4B13-A103-59D74FEB1464}" dt="2023-05-31T23:14:20.150" v="1327" actId="255"/>
        <pc:sldMkLst>
          <pc:docMk/>
          <pc:sldMk cId="3304719642" sldId="554"/>
        </pc:sldMkLst>
        <pc:spChg chg="mod">
          <ac:chgData name="Catalano, Andrea Alejandra" userId="06d9d64d-5676-4ea5-a1fb-b4e7a5041ea9" providerId="ADAL" clId="{FB9DAE5B-94DC-4B13-A103-59D74FEB1464}" dt="2023-05-31T23:14:20.150" v="1327" actId="255"/>
          <ac:spMkLst>
            <pc:docMk/>
            <pc:sldMk cId="3304719642" sldId="554"/>
            <ac:spMk id="2" creationId="{00000000-0000-0000-0000-000000000000}"/>
          </ac:spMkLst>
        </pc:spChg>
      </pc:sldChg>
      <pc:sldChg chg="addSp delSp modSp add del mod">
        <pc:chgData name="Catalano, Andrea Alejandra" userId="06d9d64d-5676-4ea5-a1fb-b4e7a5041ea9" providerId="ADAL" clId="{FB9DAE5B-94DC-4B13-A103-59D74FEB1464}" dt="2023-05-31T23:02:20.883" v="1066" actId="2696"/>
        <pc:sldMkLst>
          <pc:docMk/>
          <pc:sldMk cId="127576909" sldId="555"/>
        </pc:sldMkLst>
        <pc:picChg chg="del">
          <ac:chgData name="Catalano, Andrea Alejandra" userId="06d9d64d-5676-4ea5-a1fb-b4e7a5041ea9" providerId="ADAL" clId="{FB9DAE5B-94DC-4B13-A103-59D74FEB1464}" dt="2023-05-31T22:56:59.495" v="953" actId="478"/>
          <ac:picMkLst>
            <pc:docMk/>
            <pc:sldMk cId="127576909" sldId="555"/>
            <ac:picMk id="3" creationId="{7F8D2040-9D9B-4892-8E9B-15FA8F62ACDD}"/>
          </ac:picMkLst>
        </pc:picChg>
        <pc:picChg chg="add del mod">
          <ac:chgData name="Catalano, Andrea Alejandra" userId="06d9d64d-5676-4ea5-a1fb-b4e7a5041ea9" providerId="ADAL" clId="{FB9DAE5B-94DC-4B13-A103-59D74FEB1464}" dt="2023-05-31T22:58:26.569" v="961" actId="478"/>
          <ac:picMkLst>
            <pc:docMk/>
            <pc:sldMk cId="127576909" sldId="555"/>
            <ac:picMk id="4" creationId="{9D446EA6-5C83-4921-9DD9-BCE254483172}"/>
          </ac:picMkLst>
        </pc:picChg>
        <pc:picChg chg="add mod">
          <ac:chgData name="Catalano, Andrea Alejandra" userId="06d9d64d-5676-4ea5-a1fb-b4e7a5041ea9" providerId="ADAL" clId="{FB9DAE5B-94DC-4B13-A103-59D74FEB1464}" dt="2023-05-31T22:58:40.581" v="966" actId="1076"/>
          <ac:picMkLst>
            <pc:docMk/>
            <pc:sldMk cId="127576909" sldId="555"/>
            <ac:picMk id="7" creationId="{673F039B-B43E-4490-A90E-0453AC5824C9}"/>
          </ac:picMkLst>
        </pc:picChg>
      </pc:sldChg>
      <pc:sldChg chg="addSp delSp modSp add mod">
        <pc:chgData name="Catalano, Andrea Alejandra" userId="06d9d64d-5676-4ea5-a1fb-b4e7a5041ea9" providerId="ADAL" clId="{FB9DAE5B-94DC-4B13-A103-59D74FEB1464}" dt="2023-05-31T23:19:24.876" v="1345" actId="1076"/>
        <pc:sldMkLst>
          <pc:docMk/>
          <pc:sldMk cId="466320634" sldId="555"/>
        </pc:sldMkLst>
        <pc:spChg chg="mod">
          <ac:chgData name="Catalano, Andrea Alejandra" userId="06d9d64d-5676-4ea5-a1fb-b4e7a5041ea9" providerId="ADAL" clId="{FB9DAE5B-94DC-4B13-A103-59D74FEB1464}" dt="2023-05-31T23:19:24.876" v="1345" actId="1076"/>
          <ac:spMkLst>
            <pc:docMk/>
            <pc:sldMk cId="466320634" sldId="555"/>
            <ac:spMk id="5" creationId="{44F49CDF-D061-4D80-8130-F1AE4DE01B85}"/>
          </ac:spMkLst>
        </pc:spChg>
        <pc:spChg chg="add mod">
          <ac:chgData name="Catalano, Andrea Alejandra" userId="06d9d64d-5676-4ea5-a1fb-b4e7a5041ea9" providerId="ADAL" clId="{FB9DAE5B-94DC-4B13-A103-59D74FEB1464}" dt="2023-05-31T23:08:44.302" v="1322" actId="20577"/>
          <ac:spMkLst>
            <pc:docMk/>
            <pc:sldMk cId="466320634" sldId="555"/>
            <ac:spMk id="8" creationId="{4BC55F6B-1409-4438-9958-EC3299380A33}"/>
          </ac:spMkLst>
        </pc:spChg>
        <pc:picChg chg="add mod">
          <ac:chgData name="Catalano, Andrea Alejandra" userId="06d9d64d-5676-4ea5-a1fb-b4e7a5041ea9" providerId="ADAL" clId="{FB9DAE5B-94DC-4B13-A103-59D74FEB1464}" dt="2023-05-31T23:07:34.077" v="1220" actId="1076"/>
          <ac:picMkLst>
            <pc:docMk/>
            <pc:sldMk cId="466320634" sldId="555"/>
            <ac:picMk id="3" creationId="{1747FB95-3C3B-49DE-8C4D-45118C09F6C2}"/>
          </ac:picMkLst>
        </pc:picChg>
        <pc:picChg chg="del">
          <ac:chgData name="Catalano, Andrea Alejandra" userId="06d9d64d-5676-4ea5-a1fb-b4e7a5041ea9" providerId="ADAL" clId="{FB9DAE5B-94DC-4B13-A103-59D74FEB1464}" dt="2023-05-31T23:05:41.870" v="1163" actId="478"/>
          <ac:picMkLst>
            <pc:docMk/>
            <pc:sldMk cId="466320634" sldId="555"/>
            <ac:picMk id="7" creationId="{673F039B-B43E-4490-A90E-0453AC5824C9}"/>
          </ac:picMkLst>
        </pc:picChg>
      </pc:sldChg>
      <pc:sldChg chg="modSp add mod">
        <pc:chgData name="Catalano, Andrea Alejandra" userId="06d9d64d-5676-4ea5-a1fb-b4e7a5041ea9" providerId="ADAL" clId="{FB9DAE5B-94DC-4B13-A103-59D74FEB1464}" dt="2023-05-31T23:14:38.154" v="1329" actId="255"/>
        <pc:sldMkLst>
          <pc:docMk/>
          <pc:sldMk cId="3506864272" sldId="556"/>
        </pc:sldMkLst>
        <pc:spChg chg="mod">
          <ac:chgData name="Catalano, Andrea Alejandra" userId="06d9d64d-5676-4ea5-a1fb-b4e7a5041ea9" providerId="ADAL" clId="{FB9DAE5B-94DC-4B13-A103-59D74FEB1464}" dt="2023-05-31T23:14:38.154" v="1329" actId="255"/>
          <ac:spMkLst>
            <pc:docMk/>
            <pc:sldMk cId="3506864272" sldId="556"/>
            <ac:spMk id="2" creationId="{00000000-0000-0000-0000-000000000000}"/>
          </ac:spMkLst>
        </pc:spChg>
      </pc:sldChg>
      <pc:sldMasterChg chg="delSldLayout">
        <pc:chgData name="Catalano, Andrea Alejandra" userId="06d9d64d-5676-4ea5-a1fb-b4e7a5041ea9" providerId="ADAL" clId="{FB9DAE5B-94DC-4B13-A103-59D74FEB1464}" dt="2023-05-31T23:02:20.883" v="1066" actId="2696"/>
        <pc:sldMasterMkLst>
          <pc:docMk/>
          <pc:sldMasterMk cId="792327983" sldId="2147483857"/>
        </pc:sldMasterMkLst>
        <pc:sldLayoutChg chg="del">
          <pc:chgData name="Catalano, Andrea Alejandra" userId="06d9d64d-5676-4ea5-a1fb-b4e7a5041ea9" providerId="ADAL" clId="{FB9DAE5B-94DC-4B13-A103-59D74FEB1464}" dt="2023-05-31T23:02:20.883" v="1066" actId="2696"/>
          <pc:sldLayoutMkLst>
            <pc:docMk/>
            <pc:sldMasterMk cId="792327983" sldId="2147483857"/>
            <pc:sldLayoutMk cId="4078961551" sldId="2147483917"/>
          </pc:sldLayoutMkLst>
        </pc:sldLayoutChg>
        <pc:sldLayoutChg chg="del">
          <pc:chgData name="Catalano, Andrea Alejandra" userId="06d9d64d-5676-4ea5-a1fb-b4e7a5041ea9" providerId="ADAL" clId="{FB9DAE5B-94DC-4B13-A103-59D74FEB1464}" dt="2023-05-29T00:48:12.089" v="674" actId="2696"/>
          <pc:sldLayoutMkLst>
            <pc:docMk/>
            <pc:sldMasterMk cId="792327983" sldId="2147483857"/>
            <pc:sldLayoutMk cId="4207969732" sldId="2147483934"/>
          </pc:sldLayoutMkLst>
        </pc:sldLayoutChg>
      </pc:sldMasterChg>
      <pc:sldMasterChg chg="delSldLayout">
        <pc:chgData name="Catalano, Andrea Alejandra" userId="06d9d64d-5676-4ea5-a1fb-b4e7a5041ea9" providerId="ADAL" clId="{FB9DAE5B-94DC-4B13-A103-59D74FEB1464}" dt="2023-06-09T15:42:50.515" v="1346" actId="2696"/>
        <pc:sldMasterMkLst>
          <pc:docMk/>
          <pc:sldMasterMk cId="3208382722" sldId="2147484059"/>
        </pc:sldMasterMkLst>
        <pc:sldLayoutChg chg="del">
          <pc:chgData name="Catalano, Andrea Alejandra" userId="06d9d64d-5676-4ea5-a1fb-b4e7a5041ea9" providerId="ADAL" clId="{FB9DAE5B-94DC-4B13-A103-59D74FEB1464}" dt="2023-06-09T15:42:50.515" v="1346" actId="2696"/>
          <pc:sldLayoutMkLst>
            <pc:docMk/>
            <pc:sldMasterMk cId="3208382722" sldId="2147484059"/>
            <pc:sldLayoutMk cId="1273445468" sldId="2147484129"/>
          </pc:sldLayoutMkLst>
        </pc:sldLayoutChg>
      </pc:sldMasterChg>
      <pc:sldMasterChg chg="del delSldLayout">
        <pc:chgData name="Catalano, Andrea Alejandra" userId="06d9d64d-5676-4ea5-a1fb-b4e7a5041ea9" providerId="ADAL" clId="{FB9DAE5B-94DC-4B13-A103-59D74FEB1464}" dt="2023-05-31T22:49:49.567" v="939" actId="2696"/>
        <pc:sldMasterMkLst>
          <pc:docMk/>
          <pc:sldMasterMk cId="2021563009" sldId="2147484120"/>
        </pc:sldMasterMkLst>
        <pc:sldLayoutChg chg="del">
          <pc:chgData name="Catalano, Andrea Alejandra" userId="06d9d64d-5676-4ea5-a1fb-b4e7a5041ea9" providerId="ADAL" clId="{FB9DAE5B-94DC-4B13-A103-59D74FEB1464}" dt="2023-05-31T22:49:49.567" v="939" actId="2696"/>
          <pc:sldLayoutMkLst>
            <pc:docMk/>
            <pc:sldMasterMk cId="2021563009" sldId="2147484120"/>
            <pc:sldLayoutMk cId="3136972388" sldId="2147484121"/>
          </pc:sldLayoutMkLst>
        </pc:sldLayoutChg>
        <pc:sldLayoutChg chg="del">
          <pc:chgData name="Catalano, Andrea Alejandra" userId="06d9d64d-5676-4ea5-a1fb-b4e7a5041ea9" providerId="ADAL" clId="{FB9DAE5B-94DC-4B13-A103-59D74FEB1464}" dt="2023-05-31T22:49:49.567" v="939" actId="2696"/>
          <pc:sldLayoutMkLst>
            <pc:docMk/>
            <pc:sldMasterMk cId="2021563009" sldId="2147484120"/>
            <pc:sldLayoutMk cId="407921995" sldId="2147484122"/>
          </pc:sldLayoutMkLst>
        </pc:sldLayoutChg>
        <pc:sldLayoutChg chg="del">
          <pc:chgData name="Catalano, Andrea Alejandra" userId="06d9d64d-5676-4ea5-a1fb-b4e7a5041ea9" providerId="ADAL" clId="{FB9DAE5B-94DC-4B13-A103-59D74FEB1464}" dt="2023-05-31T22:49:49.567" v="939" actId="2696"/>
          <pc:sldLayoutMkLst>
            <pc:docMk/>
            <pc:sldMasterMk cId="2021563009" sldId="2147484120"/>
            <pc:sldLayoutMk cId="3280510859" sldId="2147484123"/>
          </pc:sldLayoutMkLst>
        </pc:sldLayoutChg>
        <pc:sldLayoutChg chg="del">
          <pc:chgData name="Catalano, Andrea Alejandra" userId="06d9d64d-5676-4ea5-a1fb-b4e7a5041ea9" providerId="ADAL" clId="{FB9DAE5B-94DC-4B13-A103-59D74FEB1464}" dt="2023-05-31T22:49:49.567" v="939" actId="2696"/>
          <pc:sldLayoutMkLst>
            <pc:docMk/>
            <pc:sldMasterMk cId="2021563009" sldId="2147484120"/>
            <pc:sldLayoutMk cId="276964132" sldId="2147484124"/>
          </pc:sldLayoutMkLst>
        </pc:sldLayoutChg>
        <pc:sldLayoutChg chg="del">
          <pc:chgData name="Catalano, Andrea Alejandra" userId="06d9d64d-5676-4ea5-a1fb-b4e7a5041ea9" providerId="ADAL" clId="{FB9DAE5B-94DC-4B13-A103-59D74FEB1464}" dt="2023-05-31T22:49:49.567" v="939" actId="2696"/>
          <pc:sldLayoutMkLst>
            <pc:docMk/>
            <pc:sldMasterMk cId="2021563009" sldId="2147484120"/>
            <pc:sldLayoutMk cId="440908082" sldId="2147484125"/>
          </pc:sldLayoutMkLst>
        </pc:sldLayoutChg>
        <pc:sldLayoutChg chg="del">
          <pc:chgData name="Catalano, Andrea Alejandra" userId="06d9d64d-5676-4ea5-a1fb-b4e7a5041ea9" providerId="ADAL" clId="{FB9DAE5B-94DC-4B13-A103-59D74FEB1464}" dt="2023-05-31T22:49:49.567" v="939" actId="2696"/>
          <pc:sldLayoutMkLst>
            <pc:docMk/>
            <pc:sldMasterMk cId="2021563009" sldId="2147484120"/>
            <pc:sldLayoutMk cId="2834272073" sldId="2147484126"/>
          </pc:sldLayoutMkLst>
        </pc:sldLayoutChg>
        <pc:sldLayoutChg chg="del">
          <pc:chgData name="Catalano, Andrea Alejandra" userId="06d9d64d-5676-4ea5-a1fb-b4e7a5041ea9" providerId="ADAL" clId="{FB9DAE5B-94DC-4B13-A103-59D74FEB1464}" dt="2023-05-31T22:49:49.567" v="939" actId="2696"/>
          <pc:sldLayoutMkLst>
            <pc:docMk/>
            <pc:sldMasterMk cId="2021563009" sldId="2147484120"/>
            <pc:sldLayoutMk cId="1157058939" sldId="2147484127"/>
          </pc:sldLayoutMkLst>
        </pc:sldLayoutChg>
        <pc:sldLayoutChg chg="del">
          <pc:chgData name="Catalano, Andrea Alejandra" userId="06d9d64d-5676-4ea5-a1fb-b4e7a5041ea9" providerId="ADAL" clId="{FB9DAE5B-94DC-4B13-A103-59D74FEB1464}" dt="2023-05-31T22:49:49.567" v="939" actId="2696"/>
          <pc:sldLayoutMkLst>
            <pc:docMk/>
            <pc:sldMasterMk cId="2021563009" sldId="2147484120"/>
            <pc:sldLayoutMk cId="251303835" sldId="2147484128"/>
          </pc:sldLayoutMkLst>
        </pc:sldLayoutChg>
      </pc:sldMasterChg>
    </pc:docChg>
  </pc:docChgLst>
  <pc:docChgLst>
    <pc:chgData name="Mustafa, Martina" userId="872503ae-87f4-4f63-80e0-ead0569307f5" providerId="ADAL" clId="{61629DFC-24DC-4176-B7A9-E84CBEBC143C}"/>
    <pc:docChg chg="undo custSel addSld delSld modSld sldOrd">
      <pc:chgData name="Mustafa, Martina" userId="872503ae-87f4-4f63-80e0-ead0569307f5" providerId="ADAL" clId="{61629DFC-24DC-4176-B7A9-E84CBEBC143C}" dt="2022-11-09T17:22:05.880" v="592" actId="2696"/>
      <pc:docMkLst>
        <pc:docMk/>
      </pc:docMkLst>
      <pc:sldChg chg="modSp mod">
        <pc:chgData name="Mustafa, Martina" userId="872503ae-87f4-4f63-80e0-ead0569307f5" providerId="ADAL" clId="{61629DFC-24DC-4176-B7A9-E84CBEBC143C}" dt="2022-11-01T19:27:26.197" v="17" actId="20577"/>
        <pc:sldMkLst>
          <pc:docMk/>
          <pc:sldMk cId="2263284498" sldId="282"/>
        </pc:sldMkLst>
        <pc:spChg chg="mod">
          <ac:chgData name="Mustafa, Martina" userId="872503ae-87f4-4f63-80e0-ead0569307f5" providerId="ADAL" clId="{61629DFC-24DC-4176-B7A9-E84CBEBC143C}" dt="2022-11-01T19:27:26.197" v="17" actId="20577"/>
          <ac:spMkLst>
            <pc:docMk/>
            <pc:sldMk cId="2263284498" sldId="282"/>
            <ac:spMk id="979" creationId="{00000000-0000-0000-0000-000000000000}"/>
          </ac:spMkLst>
        </pc:spChg>
      </pc:sldChg>
      <pc:sldChg chg="del">
        <pc:chgData name="Mustafa, Martina" userId="872503ae-87f4-4f63-80e0-ead0569307f5" providerId="ADAL" clId="{61629DFC-24DC-4176-B7A9-E84CBEBC143C}" dt="2022-11-07T16:48:59.757" v="360" actId="2696"/>
        <pc:sldMkLst>
          <pc:docMk/>
          <pc:sldMk cId="483434643" sldId="298"/>
        </pc:sldMkLst>
      </pc:sldChg>
      <pc:sldChg chg="addSp delSp modSp mod">
        <pc:chgData name="Mustafa, Martina" userId="872503ae-87f4-4f63-80e0-ead0569307f5" providerId="ADAL" clId="{61629DFC-24DC-4176-B7A9-E84CBEBC143C}" dt="2022-11-07T17:06:50.515" v="423" actId="255"/>
        <pc:sldMkLst>
          <pc:docMk/>
          <pc:sldMk cId="812224545" sldId="310"/>
        </pc:sldMkLst>
        <pc:spChg chg="mod">
          <ac:chgData name="Mustafa, Martina" userId="872503ae-87f4-4f63-80e0-ead0569307f5" providerId="ADAL" clId="{61629DFC-24DC-4176-B7A9-E84CBEBC143C}" dt="2022-11-07T17:06:50.515" v="423" actId="255"/>
          <ac:spMkLst>
            <pc:docMk/>
            <pc:sldMk cId="812224545" sldId="310"/>
            <ac:spMk id="72" creationId="{00000000-0000-0000-0000-000000000000}"/>
          </ac:spMkLst>
        </pc:spChg>
        <pc:spChg chg="mod">
          <ac:chgData name="Mustafa, Martina" userId="872503ae-87f4-4f63-80e0-ead0569307f5" providerId="ADAL" clId="{61629DFC-24DC-4176-B7A9-E84CBEBC143C}" dt="2022-11-07T17:02:22.935" v="390" actId="1076"/>
          <ac:spMkLst>
            <pc:docMk/>
            <pc:sldMk cId="812224545" sldId="310"/>
            <ac:spMk id="79" creationId="{00000000-0000-0000-0000-000000000000}"/>
          </ac:spMkLst>
        </pc:spChg>
        <pc:grpChg chg="del">
          <ac:chgData name="Mustafa, Martina" userId="872503ae-87f4-4f63-80e0-ead0569307f5" providerId="ADAL" clId="{61629DFC-24DC-4176-B7A9-E84CBEBC143C}" dt="2022-11-07T17:02:01.637" v="387" actId="478"/>
          <ac:grpSpMkLst>
            <pc:docMk/>
            <pc:sldMk cId="812224545" sldId="310"/>
            <ac:grpSpMk id="74" creationId="{00000000-0000-0000-0000-000000000000}"/>
          </ac:grpSpMkLst>
        </pc:grpChg>
        <pc:graphicFrameChg chg="mod">
          <ac:chgData name="Mustafa, Martina" userId="872503ae-87f4-4f63-80e0-ead0569307f5" providerId="ADAL" clId="{61629DFC-24DC-4176-B7A9-E84CBEBC143C}" dt="2022-11-07T17:02:37.467" v="392" actId="1076"/>
          <ac:graphicFrameMkLst>
            <pc:docMk/>
            <pc:sldMk cId="812224545" sldId="310"/>
            <ac:graphicFrameMk id="35" creationId="{00000000-0000-0000-0000-000000000000}"/>
          </ac:graphicFrameMkLst>
        </pc:graphicFrameChg>
        <pc:picChg chg="add mod">
          <ac:chgData name="Mustafa, Martina" userId="872503ae-87f4-4f63-80e0-ead0569307f5" providerId="ADAL" clId="{61629DFC-24DC-4176-B7A9-E84CBEBC143C}" dt="2022-11-07T17:03:27.865" v="400"/>
          <ac:picMkLst>
            <pc:docMk/>
            <pc:sldMk cId="812224545" sldId="310"/>
            <ac:picMk id="36" creationId="{16BF5AAD-2D29-47C6-A591-92553994DF41}"/>
          </ac:picMkLst>
        </pc:picChg>
        <pc:picChg chg="del">
          <ac:chgData name="Mustafa, Martina" userId="872503ae-87f4-4f63-80e0-ead0569307f5" providerId="ADAL" clId="{61629DFC-24DC-4176-B7A9-E84CBEBC143C}" dt="2022-11-07T17:01:59.728" v="386" actId="478"/>
          <ac:picMkLst>
            <pc:docMk/>
            <pc:sldMk cId="812224545" sldId="310"/>
            <ac:picMk id="71" creationId="{00000000-0000-0000-0000-000000000000}"/>
          </ac:picMkLst>
        </pc:picChg>
      </pc:sldChg>
      <pc:sldChg chg="addSp delSp modSp mod">
        <pc:chgData name="Mustafa, Martina" userId="872503ae-87f4-4f63-80e0-ead0569307f5" providerId="ADAL" clId="{61629DFC-24DC-4176-B7A9-E84CBEBC143C}" dt="2022-11-07T17:05:35.015" v="411" actId="2711"/>
        <pc:sldMkLst>
          <pc:docMk/>
          <pc:sldMk cId="75747396" sldId="315"/>
        </pc:sldMkLst>
        <pc:spChg chg="mod">
          <ac:chgData name="Mustafa, Martina" userId="872503ae-87f4-4f63-80e0-ead0569307f5" providerId="ADAL" clId="{61629DFC-24DC-4176-B7A9-E84CBEBC143C}" dt="2022-11-07T16:59:27.986" v="376" actId="207"/>
          <ac:spMkLst>
            <pc:docMk/>
            <pc:sldMk cId="75747396" sldId="315"/>
            <ac:spMk id="56" creationId="{00000000-0000-0000-0000-000000000000}"/>
          </ac:spMkLst>
        </pc:spChg>
        <pc:spChg chg="mod">
          <ac:chgData name="Mustafa, Martina" userId="872503ae-87f4-4f63-80e0-ead0569307f5" providerId="ADAL" clId="{61629DFC-24DC-4176-B7A9-E84CBEBC143C}" dt="2022-11-07T16:59:24.061" v="375" actId="1076"/>
          <ac:spMkLst>
            <pc:docMk/>
            <pc:sldMk cId="75747396" sldId="315"/>
            <ac:spMk id="109" creationId="{00000000-0000-0000-0000-000000000000}"/>
          </ac:spMkLst>
        </pc:spChg>
        <pc:spChg chg="mod">
          <ac:chgData name="Mustafa, Martina" userId="872503ae-87f4-4f63-80e0-ead0569307f5" providerId="ADAL" clId="{61629DFC-24DC-4176-B7A9-E84CBEBC143C}" dt="2022-11-07T17:05:35.015" v="411" actId="2711"/>
          <ac:spMkLst>
            <pc:docMk/>
            <pc:sldMk cId="75747396" sldId="315"/>
            <ac:spMk id="112" creationId="{00000000-0000-0000-0000-000000000000}"/>
          </ac:spMkLst>
        </pc:spChg>
        <pc:grpChg chg="del">
          <ac:chgData name="Mustafa, Martina" userId="872503ae-87f4-4f63-80e0-ead0569307f5" providerId="ADAL" clId="{61629DFC-24DC-4176-B7A9-E84CBEBC143C}" dt="2022-11-07T16:58:10.526" v="368" actId="478"/>
          <ac:grpSpMkLst>
            <pc:docMk/>
            <pc:sldMk cId="75747396" sldId="315"/>
            <ac:grpSpMk id="113" creationId="{00000000-0000-0000-0000-000000000000}"/>
          </ac:grpSpMkLst>
        </pc:grpChg>
        <pc:picChg chg="del mod">
          <ac:chgData name="Mustafa, Martina" userId="872503ae-87f4-4f63-80e0-ead0569307f5" providerId="ADAL" clId="{61629DFC-24DC-4176-B7A9-E84CBEBC143C}" dt="2022-11-07T16:58:02.420" v="366" actId="478"/>
          <ac:picMkLst>
            <pc:docMk/>
            <pc:sldMk cId="75747396" sldId="315"/>
            <ac:picMk id="111" creationId="{00000000-0000-0000-0000-000000000000}"/>
          </ac:picMkLst>
        </pc:picChg>
        <pc:picChg chg="add mod">
          <ac:chgData name="Mustafa, Martina" userId="872503ae-87f4-4f63-80e0-ead0569307f5" providerId="ADAL" clId="{61629DFC-24DC-4176-B7A9-E84CBEBC143C}" dt="2022-11-01T19:27:54.859" v="18"/>
          <ac:picMkLst>
            <pc:docMk/>
            <pc:sldMk cId="75747396" sldId="315"/>
            <ac:picMk id="118" creationId="{F5C7D1AE-DE87-4F4D-8853-D92364F9C732}"/>
          </ac:picMkLst>
        </pc:picChg>
      </pc:sldChg>
      <pc:sldChg chg="del">
        <pc:chgData name="Mustafa, Martina" userId="872503ae-87f4-4f63-80e0-ead0569307f5" providerId="ADAL" clId="{61629DFC-24DC-4176-B7A9-E84CBEBC143C}" dt="2022-11-07T16:56:59.145" v="362" actId="2696"/>
        <pc:sldMkLst>
          <pc:docMk/>
          <pc:sldMk cId="301781798" sldId="316"/>
        </pc:sldMkLst>
      </pc:sldChg>
      <pc:sldChg chg="addSp modSp mod">
        <pc:chgData name="Mustafa, Martina" userId="872503ae-87f4-4f63-80e0-ead0569307f5" providerId="ADAL" clId="{61629DFC-24DC-4176-B7A9-E84CBEBC143C}" dt="2022-11-07T17:07:43.913" v="432" actId="14100"/>
        <pc:sldMkLst>
          <pc:docMk/>
          <pc:sldMk cId="2472631962" sldId="318"/>
        </pc:sldMkLst>
        <pc:spChg chg="mod">
          <ac:chgData name="Mustafa, Martina" userId="872503ae-87f4-4f63-80e0-ead0569307f5" providerId="ADAL" clId="{61629DFC-24DC-4176-B7A9-E84CBEBC143C}" dt="2022-11-07T17:07:43.913" v="432" actId="14100"/>
          <ac:spMkLst>
            <pc:docMk/>
            <pc:sldMk cId="2472631962" sldId="318"/>
            <ac:spMk id="72" creationId="{00000000-0000-0000-0000-000000000000}"/>
          </ac:spMkLst>
        </pc:spChg>
        <pc:picChg chg="add mod">
          <ac:chgData name="Mustafa, Martina" userId="872503ae-87f4-4f63-80e0-ead0569307f5" providerId="ADAL" clId="{61629DFC-24DC-4176-B7A9-E84CBEBC143C}" dt="2022-11-07T17:03:00.746" v="394"/>
          <ac:picMkLst>
            <pc:docMk/>
            <pc:sldMk cId="2472631962" sldId="318"/>
            <ac:picMk id="42" creationId="{CE7AAB2E-62F9-435C-B6DF-15C10BC20ED9}"/>
          </ac:picMkLst>
        </pc:picChg>
      </pc:sldChg>
      <pc:sldChg chg="modSp mod">
        <pc:chgData name="Mustafa, Martina" userId="872503ae-87f4-4f63-80e0-ead0569307f5" providerId="ADAL" clId="{61629DFC-24DC-4176-B7A9-E84CBEBC143C}" dt="2022-11-07T17:07:12.714" v="427" actId="1076"/>
        <pc:sldMkLst>
          <pc:docMk/>
          <pc:sldMk cId="13065276" sldId="333"/>
        </pc:sldMkLst>
        <pc:spChg chg="mod">
          <ac:chgData name="Mustafa, Martina" userId="872503ae-87f4-4f63-80e0-ead0569307f5" providerId="ADAL" clId="{61629DFC-24DC-4176-B7A9-E84CBEBC143C}" dt="2022-11-07T17:07:12.714" v="427" actId="1076"/>
          <ac:spMkLst>
            <pc:docMk/>
            <pc:sldMk cId="13065276" sldId="333"/>
            <ac:spMk id="2" creationId="{00000000-0000-0000-0000-000000000000}"/>
          </ac:spMkLst>
        </pc:spChg>
      </pc:sldChg>
      <pc:sldChg chg="del">
        <pc:chgData name="Mustafa, Martina" userId="872503ae-87f4-4f63-80e0-ead0569307f5" providerId="ADAL" clId="{61629DFC-24DC-4176-B7A9-E84CBEBC143C}" dt="2022-11-09T16:25:48.277" v="472"/>
        <pc:sldMkLst>
          <pc:docMk/>
          <pc:sldMk cId="3213601721" sldId="338"/>
        </pc:sldMkLst>
      </pc:sldChg>
      <pc:sldChg chg="add">
        <pc:chgData name="Mustafa, Martina" userId="872503ae-87f4-4f63-80e0-ead0569307f5" providerId="ADAL" clId="{61629DFC-24DC-4176-B7A9-E84CBEBC143C}" dt="2022-11-09T16:39:57.074" v="473"/>
        <pc:sldMkLst>
          <pc:docMk/>
          <pc:sldMk cId="1378160653" sldId="339"/>
        </pc:sldMkLst>
      </pc:sldChg>
      <pc:sldChg chg="ord">
        <pc:chgData name="Mustafa, Martina" userId="872503ae-87f4-4f63-80e0-ead0569307f5" providerId="ADAL" clId="{61629DFC-24DC-4176-B7A9-E84CBEBC143C}" dt="2022-11-09T16:59:34.674" v="591"/>
        <pc:sldMkLst>
          <pc:docMk/>
          <pc:sldMk cId="2685348909" sldId="340"/>
        </pc:sldMkLst>
      </pc:sldChg>
      <pc:sldChg chg="addSp modSp mod">
        <pc:chgData name="Mustafa, Martina" userId="872503ae-87f4-4f63-80e0-ead0569307f5" providerId="ADAL" clId="{61629DFC-24DC-4176-B7A9-E84CBEBC143C}" dt="2022-11-07T17:08:03.991" v="435" actId="1076"/>
        <pc:sldMkLst>
          <pc:docMk/>
          <pc:sldMk cId="4270124400" sldId="354"/>
        </pc:sldMkLst>
        <pc:spChg chg="mod">
          <ac:chgData name="Mustafa, Martina" userId="872503ae-87f4-4f63-80e0-ead0569307f5" providerId="ADAL" clId="{61629DFC-24DC-4176-B7A9-E84CBEBC143C}" dt="2022-11-07T17:08:03.991" v="435" actId="1076"/>
          <ac:spMkLst>
            <pc:docMk/>
            <pc:sldMk cId="4270124400" sldId="354"/>
            <ac:spMk id="6" creationId="{00000000-0000-0000-0000-000000000000}"/>
          </ac:spMkLst>
        </pc:spChg>
        <pc:picChg chg="add mod">
          <ac:chgData name="Mustafa, Martina" userId="872503ae-87f4-4f63-80e0-ead0569307f5" providerId="ADAL" clId="{61629DFC-24DC-4176-B7A9-E84CBEBC143C}" dt="2022-11-07T17:03:05.332" v="395"/>
          <ac:picMkLst>
            <pc:docMk/>
            <pc:sldMk cId="4270124400" sldId="354"/>
            <ac:picMk id="23" creationId="{8D93CC0D-1FC2-4699-8172-BBD8043643AF}"/>
          </ac:picMkLst>
        </pc:picChg>
      </pc:sldChg>
      <pc:sldChg chg="addSp modSp mod">
        <pc:chgData name="Mustafa, Martina" userId="872503ae-87f4-4f63-80e0-ead0569307f5" providerId="ADAL" clId="{61629DFC-24DC-4176-B7A9-E84CBEBC143C}" dt="2022-11-07T17:08:17.032" v="437" actId="255"/>
        <pc:sldMkLst>
          <pc:docMk/>
          <pc:sldMk cId="4052291045" sldId="355"/>
        </pc:sldMkLst>
        <pc:spChg chg="mod">
          <ac:chgData name="Mustafa, Martina" userId="872503ae-87f4-4f63-80e0-ead0569307f5" providerId="ADAL" clId="{61629DFC-24DC-4176-B7A9-E84CBEBC143C}" dt="2022-11-07T17:08:17.032" v="437" actId="255"/>
          <ac:spMkLst>
            <pc:docMk/>
            <pc:sldMk cId="4052291045" sldId="355"/>
            <ac:spMk id="6" creationId="{00000000-0000-0000-0000-000000000000}"/>
          </ac:spMkLst>
        </pc:spChg>
        <pc:picChg chg="add mod">
          <ac:chgData name="Mustafa, Martina" userId="872503ae-87f4-4f63-80e0-ead0569307f5" providerId="ADAL" clId="{61629DFC-24DC-4176-B7A9-E84CBEBC143C}" dt="2022-11-07T17:03:07.529" v="396"/>
          <ac:picMkLst>
            <pc:docMk/>
            <pc:sldMk cId="4052291045" sldId="355"/>
            <ac:picMk id="5" creationId="{09B3F42E-CA3C-49B1-8E75-2818CE74D955}"/>
          </ac:picMkLst>
        </pc:picChg>
      </pc:sldChg>
      <pc:sldChg chg="addSp modSp mod">
        <pc:chgData name="Mustafa, Martina" userId="872503ae-87f4-4f63-80e0-ead0569307f5" providerId="ADAL" clId="{61629DFC-24DC-4176-B7A9-E84CBEBC143C}" dt="2022-11-07T17:08:30.056" v="439" actId="2711"/>
        <pc:sldMkLst>
          <pc:docMk/>
          <pc:sldMk cId="3521002515" sldId="356"/>
        </pc:sldMkLst>
        <pc:spChg chg="mod">
          <ac:chgData name="Mustafa, Martina" userId="872503ae-87f4-4f63-80e0-ead0569307f5" providerId="ADAL" clId="{61629DFC-24DC-4176-B7A9-E84CBEBC143C}" dt="2022-11-07T17:08:30.056" v="439" actId="2711"/>
          <ac:spMkLst>
            <pc:docMk/>
            <pc:sldMk cId="3521002515" sldId="356"/>
            <ac:spMk id="6" creationId="{00000000-0000-0000-0000-000000000000}"/>
          </ac:spMkLst>
        </pc:spChg>
        <pc:picChg chg="add mod">
          <ac:chgData name="Mustafa, Martina" userId="872503ae-87f4-4f63-80e0-ead0569307f5" providerId="ADAL" clId="{61629DFC-24DC-4176-B7A9-E84CBEBC143C}" dt="2022-11-07T17:03:10.982" v="397"/>
          <ac:picMkLst>
            <pc:docMk/>
            <pc:sldMk cId="3521002515" sldId="356"/>
            <ac:picMk id="8" creationId="{2603D37E-6A02-401B-8E79-C37A29A04D4A}"/>
          </ac:picMkLst>
        </pc:picChg>
      </pc:sldChg>
      <pc:sldChg chg="addSp modSp mod">
        <pc:chgData name="Mustafa, Martina" userId="872503ae-87f4-4f63-80e0-ead0569307f5" providerId="ADAL" clId="{61629DFC-24DC-4176-B7A9-E84CBEBC143C}" dt="2022-11-07T17:08:45.348" v="441" actId="2711"/>
        <pc:sldMkLst>
          <pc:docMk/>
          <pc:sldMk cId="696158819" sldId="358"/>
        </pc:sldMkLst>
        <pc:spChg chg="mod">
          <ac:chgData name="Mustafa, Martina" userId="872503ae-87f4-4f63-80e0-ead0569307f5" providerId="ADAL" clId="{61629DFC-24DC-4176-B7A9-E84CBEBC143C}" dt="2022-11-07T17:08:45.348" v="441" actId="2711"/>
          <ac:spMkLst>
            <pc:docMk/>
            <pc:sldMk cId="696158819" sldId="358"/>
            <ac:spMk id="3" creationId="{70A7BC0F-2980-9045-A7EA-E898893BEB54}"/>
          </ac:spMkLst>
        </pc:spChg>
        <pc:picChg chg="add mod">
          <ac:chgData name="Mustafa, Martina" userId="872503ae-87f4-4f63-80e0-ead0569307f5" providerId="ADAL" clId="{61629DFC-24DC-4176-B7A9-E84CBEBC143C}" dt="2022-11-07T17:03:15.232" v="398"/>
          <ac:picMkLst>
            <pc:docMk/>
            <pc:sldMk cId="696158819" sldId="358"/>
            <ac:picMk id="24" creationId="{6BBDD1DC-2030-4DAD-BA1D-6A5FB8E7BB34}"/>
          </ac:picMkLst>
        </pc:picChg>
      </pc:sldChg>
      <pc:sldChg chg="modSp mod">
        <pc:chgData name="Mustafa, Martina" userId="872503ae-87f4-4f63-80e0-ead0569307f5" providerId="ADAL" clId="{61629DFC-24DC-4176-B7A9-E84CBEBC143C}" dt="2022-11-07T17:08:57.495" v="443" actId="255"/>
        <pc:sldMkLst>
          <pc:docMk/>
          <pc:sldMk cId="425101204" sldId="359"/>
        </pc:sldMkLst>
        <pc:spChg chg="mod">
          <ac:chgData name="Mustafa, Martina" userId="872503ae-87f4-4f63-80e0-ead0569307f5" providerId="ADAL" clId="{61629DFC-24DC-4176-B7A9-E84CBEBC143C}" dt="2022-11-07T17:08:57.495" v="443" actId="255"/>
          <ac:spMkLst>
            <pc:docMk/>
            <pc:sldMk cId="425101204" sldId="359"/>
            <ac:spMk id="4" creationId="{00000000-0000-0000-0000-000000000000}"/>
          </ac:spMkLst>
        </pc:spChg>
      </pc:sldChg>
      <pc:sldChg chg="addSp modSp mod">
        <pc:chgData name="Mustafa, Martina" userId="872503ae-87f4-4f63-80e0-ead0569307f5" providerId="ADAL" clId="{61629DFC-24DC-4176-B7A9-E84CBEBC143C}" dt="2022-11-07T17:09:05.088" v="444" actId="14100"/>
        <pc:sldMkLst>
          <pc:docMk/>
          <pc:sldMk cId="1658975080" sldId="360"/>
        </pc:sldMkLst>
        <pc:picChg chg="mod">
          <ac:chgData name="Mustafa, Martina" userId="872503ae-87f4-4f63-80e0-ead0569307f5" providerId="ADAL" clId="{61629DFC-24DC-4176-B7A9-E84CBEBC143C}" dt="2022-11-07T17:09:05.088" v="444" actId="14100"/>
          <ac:picMkLst>
            <pc:docMk/>
            <pc:sldMk cId="1658975080" sldId="360"/>
            <ac:picMk id="2" creationId="{00000000-0000-0000-0000-000000000000}"/>
          </ac:picMkLst>
        </pc:picChg>
        <pc:picChg chg="add mod">
          <ac:chgData name="Mustafa, Martina" userId="872503ae-87f4-4f63-80e0-ead0569307f5" providerId="ADAL" clId="{61629DFC-24DC-4176-B7A9-E84CBEBC143C}" dt="2022-11-07T17:03:17.338" v="399"/>
          <ac:picMkLst>
            <pc:docMk/>
            <pc:sldMk cId="1658975080" sldId="360"/>
            <ac:picMk id="3" creationId="{25951E0E-72D2-41CE-8FF5-2AA01AF3D6B8}"/>
          </ac:picMkLst>
        </pc:picChg>
      </pc:sldChg>
      <pc:sldChg chg="delSp modSp mod">
        <pc:chgData name="Mustafa, Martina" userId="872503ae-87f4-4f63-80e0-ead0569307f5" providerId="ADAL" clId="{61629DFC-24DC-4176-B7A9-E84CBEBC143C}" dt="2022-11-07T17:09:35.925" v="447" actId="20577"/>
        <pc:sldMkLst>
          <pc:docMk/>
          <pc:sldMk cId="2607008627" sldId="362"/>
        </pc:sldMkLst>
        <pc:spChg chg="mod">
          <ac:chgData name="Mustafa, Martina" userId="872503ae-87f4-4f63-80e0-ead0569307f5" providerId="ADAL" clId="{61629DFC-24DC-4176-B7A9-E84CBEBC143C}" dt="2022-11-07T17:09:35.925" v="447" actId="20577"/>
          <ac:spMkLst>
            <pc:docMk/>
            <pc:sldMk cId="2607008627" sldId="362"/>
            <ac:spMk id="30" creationId="{00000000-0000-0000-0000-000000000000}"/>
          </ac:spMkLst>
        </pc:spChg>
        <pc:grpChg chg="del">
          <ac:chgData name="Mustafa, Martina" userId="872503ae-87f4-4f63-80e0-ead0569307f5" providerId="ADAL" clId="{61629DFC-24DC-4176-B7A9-E84CBEBC143C}" dt="2022-11-07T17:00:57.669" v="379" actId="478"/>
          <ac:grpSpMkLst>
            <pc:docMk/>
            <pc:sldMk cId="2607008627" sldId="362"/>
            <ac:grpSpMk id="31" creationId="{00000000-0000-0000-0000-000000000000}"/>
          </ac:grpSpMkLst>
        </pc:grpChg>
        <pc:picChg chg="del">
          <ac:chgData name="Mustafa, Martina" userId="872503ae-87f4-4f63-80e0-ead0569307f5" providerId="ADAL" clId="{61629DFC-24DC-4176-B7A9-E84CBEBC143C}" dt="2022-11-07T17:00:55.690" v="378" actId="478"/>
          <ac:picMkLst>
            <pc:docMk/>
            <pc:sldMk cId="2607008627" sldId="362"/>
            <ac:picMk id="29" creationId="{00000000-0000-0000-0000-000000000000}"/>
          </ac:picMkLst>
        </pc:picChg>
      </pc:sldChg>
      <pc:sldChg chg="ord">
        <pc:chgData name="Mustafa, Martina" userId="872503ae-87f4-4f63-80e0-ead0569307f5" providerId="ADAL" clId="{61629DFC-24DC-4176-B7A9-E84CBEBC143C}" dt="2022-11-07T17:01:35.117" v="384"/>
        <pc:sldMkLst>
          <pc:docMk/>
          <pc:sldMk cId="2189843672" sldId="364"/>
        </pc:sldMkLst>
      </pc:sldChg>
      <pc:sldChg chg="addSp modSp mod">
        <pc:chgData name="Mustafa, Martina" userId="872503ae-87f4-4f63-80e0-ead0569307f5" providerId="ADAL" clId="{61629DFC-24DC-4176-B7A9-E84CBEBC143C}" dt="2022-11-07T17:07:26.496" v="429" actId="14100"/>
        <pc:sldMkLst>
          <pc:docMk/>
          <pc:sldMk cId="1438982534" sldId="366"/>
        </pc:sldMkLst>
        <pc:spChg chg="mod">
          <ac:chgData name="Mustafa, Martina" userId="872503ae-87f4-4f63-80e0-ead0569307f5" providerId="ADAL" clId="{61629DFC-24DC-4176-B7A9-E84CBEBC143C}" dt="2022-11-07T17:07:26.496" v="429" actId="14100"/>
          <ac:spMkLst>
            <pc:docMk/>
            <pc:sldMk cId="1438982534" sldId="366"/>
            <ac:spMk id="49" creationId="{00000000-0000-0000-0000-000000000000}"/>
          </ac:spMkLst>
        </pc:spChg>
        <pc:picChg chg="add mod">
          <ac:chgData name="Mustafa, Martina" userId="872503ae-87f4-4f63-80e0-ead0569307f5" providerId="ADAL" clId="{61629DFC-24DC-4176-B7A9-E84CBEBC143C}" dt="2022-11-07T17:02:57.159" v="393"/>
          <ac:picMkLst>
            <pc:docMk/>
            <pc:sldMk cId="1438982534" sldId="366"/>
            <ac:picMk id="54" creationId="{64C782C9-6FB2-4316-AC64-47559A6451C1}"/>
          </ac:picMkLst>
        </pc:picChg>
      </pc:sldChg>
      <pc:sldChg chg="add del">
        <pc:chgData name="Mustafa, Martina" userId="872503ae-87f4-4f63-80e0-ead0569307f5" providerId="ADAL" clId="{61629DFC-24DC-4176-B7A9-E84CBEBC143C}" dt="2022-11-09T16:52:33.056" v="474" actId="47"/>
        <pc:sldMkLst>
          <pc:docMk/>
          <pc:sldMk cId="78062110" sldId="479"/>
        </pc:sldMkLst>
      </pc:sldChg>
      <pc:sldChg chg="addSp modSp mod modNotesTx">
        <pc:chgData name="Mustafa, Martina" userId="872503ae-87f4-4f63-80e0-ead0569307f5" providerId="ADAL" clId="{61629DFC-24DC-4176-B7A9-E84CBEBC143C}" dt="2022-11-07T17:06:37.698" v="422" actId="2711"/>
        <pc:sldMkLst>
          <pc:docMk/>
          <pc:sldMk cId="457360588" sldId="484"/>
        </pc:sldMkLst>
        <pc:spChg chg="mod">
          <ac:chgData name="Mustafa, Martina" userId="872503ae-87f4-4f63-80e0-ead0569307f5" providerId="ADAL" clId="{61629DFC-24DC-4176-B7A9-E84CBEBC143C}" dt="2022-11-07T17:06:37.698" v="422" actId="2711"/>
          <ac:spMkLst>
            <pc:docMk/>
            <pc:sldMk cId="457360588" sldId="484"/>
            <ac:spMk id="8" creationId="{23AF1BB5-D948-8244-9944-03FD4BB912B5}"/>
          </ac:spMkLst>
        </pc:spChg>
        <pc:picChg chg="add mod">
          <ac:chgData name="Mustafa, Martina" userId="872503ae-87f4-4f63-80e0-ead0569307f5" providerId="ADAL" clId="{61629DFC-24DC-4176-B7A9-E84CBEBC143C}" dt="2022-11-01T19:28:12.457" v="22"/>
          <ac:picMkLst>
            <pc:docMk/>
            <pc:sldMk cId="457360588" sldId="484"/>
            <ac:picMk id="10" creationId="{67CE7109-BBAF-4F6A-925D-EF464E74F7B3}"/>
          </ac:picMkLst>
        </pc:picChg>
      </pc:sldChg>
      <pc:sldChg chg="modSp mod modNotesTx">
        <pc:chgData name="Mustafa, Martina" userId="872503ae-87f4-4f63-80e0-ead0569307f5" providerId="ADAL" clId="{61629DFC-24DC-4176-B7A9-E84CBEBC143C}" dt="2022-11-07T17:05:16.666" v="409" actId="255"/>
        <pc:sldMkLst>
          <pc:docMk/>
          <pc:sldMk cId="2851020510" sldId="504"/>
        </pc:sldMkLst>
        <pc:spChg chg="mod">
          <ac:chgData name="Mustafa, Martina" userId="872503ae-87f4-4f63-80e0-ead0569307f5" providerId="ADAL" clId="{61629DFC-24DC-4176-B7A9-E84CBEBC143C}" dt="2022-11-07T17:05:16.666" v="409" actId="255"/>
          <ac:spMkLst>
            <pc:docMk/>
            <pc:sldMk cId="2851020510" sldId="504"/>
            <ac:spMk id="2" creationId="{00000000-0000-0000-0000-000000000000}"/>
          </ac:spMkLst>
        </pc:spChg>
      </pc:sldChg>
      <pc:sldChg chg="add del">
        <pc:chgData name="Mustafa, Martina" userId="872503ae-87f4-4f63-80e0-ead0569307f5" providerId="ADAL" clId="{61629DFC-24DC-4176-B7A9-E84CBEBC143C}" dt="2022-11-09T16:52:33.056" v="474" actId="47"/>
        <pc:sldMkLst>
          <pc:docMk/>
          <pc:sldMk cId="827058675" sldId="520"/>
        </pc:sldMkLst>
      </pc:sldChg>
      <pc:sldChg chg="addSp modSp mod">
        <pc:chgData name="Mustafa, Martina" userId="872503ae-87f4-4f63-80e0-ead0569307f5" providerId="ADAL" clId="{61629DFC-24DC-4176-B7A9-E84CBEBC143C}" dt="2022-11-07T17:06:25.198" v="420" actId="2711"/>
        <pc:sldMkLst>
          <pc:docMk/>
          <pc:sldMk cId="1482360242" sldId="522"/>
        </pc:sldMkLst>
        <pc:spChg chg="mod">
          <ac:chgData name="Mustafa, Martina" userId="872503ae-87f4-4f63-80e0-ead0569307f5" providerId="ADAL" clId="{61629DFC-24DC-4176-B7A9-E84CBEBC143C}" dt="2022-11-07T17:06:25.198" v="420" actId="2711"/>
          <ac:spMkLst>
            <pc:docMk/>
            <pc:sldMk cId="1482360242" sldId="522"/>
            <ac:spMk id="2" creationId="{5C080152-12AA-744C-83AB-0AEFED2BE8F4}"/>
          </ac:spMkLst>
        </pc:spChg>
        <pc:picChg chg="add mod">
          <ac:chgData name="Mustafa, Martina" userId="872503ae-87f4-4f63-80e0-ead0569307f5" providerId="ADAL" clId="{61629DFC-24DC-4176-B7A9-E84CBEBC143C}" dt="2022-11-01T19:28:08.048" v="21"/>
          <ac:picMkLst>
            <pc:docMk/>
            <pc:sldMk cId="1482360242" sldId="522"/>
            <ac:picMk id="6" creationId="{EED23250-9BEE-4D97-8043-07B97D7F7DCA}"/>
          </ac:picMkLst>
        </pc:picChg>
      </pc:sldChg>
      <pc:sldChg chg="addSp modSp mod modNotesTx">
        <pc:chgData name="Mustafa, Martina" userId="872503ae-87f4-4f63-80e0-ead0569307f5" providerId="ADAL" clId="{61629DFC-24DC-4176-B7A9-E84CBEBC143C}" dt="2022-11-07T17:05:50.931" v="414" actId="1076"/>
        <pc:sldMkLst>
          <pc:docMk/>
          <pc:sldMk cId="1944289207" sldId="526"/>
        </pc:sldMkLst>
        <pc:spChg chg="mod">
          <ac:chgData name="Mustafa, Martina" userId="872503ae-87f4-4f63-80e0-ead0569307f5" providerId="ADAL" clId="{61629DFC-24DC-4176-B7A9-E84CBEBC143C}" dt="2022-11-07T17:05:50.931" v="414" actId="1076"/>
          <ac:spMkLst>
            <pc:docMk/>
            <pc:sldMk cId="1944289207" sldId="526"/>
            <ac:spMk id="3" creationId="{5CC3EF53-BEBF-7B46-AF6D-8D54BAF6D64F}"/>
          </ac:spMkLst>
        </pc:spChg>
        <pc:picChg chg="add mod">
          <ac:chgData name="Mustafa, Martina" userId="872503ae-87f4-4f63-80e0-ead0569307f5" providerId="ADAL" clId="{61629DFC-24DC-4176-B7A9-E84CBEBC143C}" dt="2022-11-01T19:27:58.353" v="19"/>
          <ac:picMkLst>
            <pc:docMk/>
            <pc:sldMk cId="1944289207" sldId="526"/>
            <ac:picMk id="6" creationId="{AAA1D7FF-0698-4CB2-BAFA-BAB7B28B467A}"/>
          </ac:picMkLst>
        </pc:picChg>
      </pc:sldChg>
      <pc:sldChg chg="addSp modSp add del ord modNotes">
        <pc:chgData name="Mustafa, Martina" userId="872503ae-87f4-4f63-80e0-ead0569307f5" providerId="ADAL" clId="{61629DFC-24DC-4176-B7A9-E84CBEBC143C}" dt="2022-11-09T17:22:05.880" v="592" actId="2696"/>
        <pc:sldMkLst>
          <pc:docMk/>
          <pc:sldMk cId="1485656542" sldId="527"/>
        </pc:sldMkLst>
        <pc:picChg chg="add mod">
          <ac:chgData name="Mustafa, Martina" userId="872503ae-87f4-4f63-80e0-ead0569307f5" providerId="ADAL" clId="{61629DFC-24DC-4176-B7A9-E84CBEBC143C}" dt="2022-11-09T14:41:02.859" v="471"/>
          <ac:picMkLst>
            <pc:docMk/>
            <pc:sldMk cId="1485656542" sldId="527"/>
            <ac:picMk id="5" creationId="{F4E9B394-945B-4872-8B3E-F82B73448DC7}"/>
          </ac:picMkLst>
        </pc:picChg>
      </pc:sldChg>
      <pc:sldChg chg="modSp mod">
        <pc:chgData name="Mustafa, Martina" userId="872503ae-87f4-4f63-80e0-ead0569307f5" providerId="ADAL" clId="{61629DFC-24DC-4176-B7A9-E84CBEBC143C}" dt="2022-11-07T17:04:25.110" v="402" actId="255"/>
        <pc:sldMkLst>
          <pc:docMk/>
          <pc:sldMk cId="1821979874" sldId="529"/>
        </pc:sldMkLst>
        <pc:spChg chg="mod">
          <ac:chgData name="Mustafa, Martina" userId="872503ae-87f4-4f63-80e0-ead0569307f5" providerId="ADAL" clId="{61629DFC-24DC-4176-B7A9-E84CBEBC143C}" dt="2022-11-07T17:04:25.110" v="402" actId="255"/>
          <ac:spMkLst>
            <pc:docMk/>
            <pc:sldMk cId="1821979874" sldId="529"/>
            <ac:spMk id="4" creationId="{00000000-0000-0000-0000-000000000000}"/>
          </ac:spMkLst>
        </pc:spChg>
      </pc:sldChg>
      <pc:sldChg chg="modSp mod">
        <pc:chgData name="Mustafa, Martina" userId="872503ae-87f4-4f63-80e0-ead0569307f5" providerId="ADAL" clId="{61629DFC-24DC-4176-B7A9-E84CBEBC143C}" dt="2022-11-07T17:04:54.105" v="406" actId="255"/>
        <pc:sldMkLst>
          <pc:docMk/>
          <pc:sldMk cId="2382827227" sldId="530"/>
        </pc:sldMkLst>
        <pc:spChg chg="mod">
          <ac:chgData name="Mustafa, Martina" userId="872503ae-87f4-4f63-80e0-ead0569307f5" providerId="ADAL" clId="{61629DFC-24DC-4176-B7A9-E84CBEBC143C}" dt="2022-11-07T17:04:54.105" v="406" actId="255"/>
          <ac:spMkLst>
            <pc:docMk/>
            <pc:sldMk cId="2382827227" sldId="530"/>
            <ac:spMk id="2" creationId="{00000000-0000-0000-0000-000000000000}"/>
          </ac:spMkLst>
        </pc:spChg>
      </pc:sldChg>
      <pc:sldChg chg="modSp mod ord modNotesTx">
        <pc:chgData name="Mustafa, Martina" userId="872503ae-87f4-4f63-80e0-ead0569307f5" providerId="ADAL" clId="{61629DFC-24DC-4176-B7A9-E84CBEBC143C}" dt="2022-11-07T17:06:00.683" v="416" actId="2711"/>
        <pc:sldMkLst>
          <pc:docMk/>
          <pc:sldMk cId="2328126830" sldId="531"/>
        </pc:sldMkLst>
        <pc:spChg chg="mod">
          <ac:chgData name="Mustafa, Martina" userId="872503ae-87f4-4f63-80e0-ead0569307f5" providerId="ADAL" clId="{61629DFC-24DC-4176-B7A9-E84CBEBC143C}" dt="2022-11-07T17:06:00.683" v="416" actId="2711"/>
          <ac:spMkLst>
            <pc:docMk/>
            <pc:sldMk cId="2328126830" sldId="531"/>
            <ac:spMk id="3" creationId="{5CC3EF53-BEBF-7B46-AF6D-8D54BAF6D64F}"/>
          </ac:spMkLst>
        </pc:spChg>
      </pc:sldChg>
      <pc:sldChg chg="addSp modSp mod modNotes">
        <pc:chgData name="Mustafa, Martina" userId="872503ae-87f4-4f63-80e0-ead0569307f5" providerId="ADAL" clId="{61629DFC-24DC-4176-B7A9-E84CBEBC143C}" dt="2022-11-07T17:06:14.514" v="418" actId="2711"/>
        <pc:sldMkLst>
          <pc:docMk/>
          <pc:sldMk cId="1761389016" sldId="532"/>
        </pc:sldMkLst>
        <pc:spChg chg="mod">
          <ac:chgData name="Mustafa, Martina" userId="872503ae-87f4-4f63-80e0-ead0569307f5" providerId="ADAL" clId="{61629DFC-24DC-4176-B7A9-E84CBEBC143C}" dt="2022-11-07T17:06:14.514" v="418" actId="2711"/>
          <ac:spMkLst>
            <pc:docMk/>
            <pc:sldMk cId="1761389016" sldId="532"/>
            <ac:spMk id="4" creationId="{00000000-0000-0000-0000-000000000000}"/>
          </ac:spMkLst>
        </pc:spChg>
        <pc:picChg chg="add mod">
          <ac:chgData name="Mustafa, Martina" userId="872503ae-87f4-4f63-80e0-ead0569307f5" providerId="ADAL" clId="{61629DFC-24DC-4176-B7A9-E84CBEBC143C}" dt="2022-11-01T19:28:05.320" v="20"/>
          <ac:picMkLst>
            <pc:docMk/>
            <pc:sldMk cId="1761389016" sldId="532"/>
            <ac:picMk id="52" creationId="{2E2B737F-7981-4AA2-87B7-B163F53E8E7B}"/>
          </ac:picMkLst>
        </pc:picChg>
      </pc:sldChg>
      <pc:sldChg chg="modSp mod">
        <pc:chgData name="Mustafa, Martina" userId="872503ae-87f4-4f63-80e0-ead0569307f5" providerId="ADAL" clId="{61629DFC-24DC-4176-B7A9-E84CBEBC143C}" dt="2022-11-09T16:59:20.379" v="587" actId="20577"/>
        <pc:sldMkLst>
          <pc:docMk/>
          <pc:sldMk cId="2712585891" sldId="533"/>
        </pc:sldMkLst>
        <pc:spChg chg="mod">
          <ac:chgData name="Mustafa, Martina" userId="872503ae-87f4-4f63-80e0-ead0569307f5" providerId="ADAL" clId="{61629DFC-24DC-4176-B7A9-E84CBEBC143C}" dt="2022-11-09T16:59:20.379" v="587" actId="20577"/>
          <ac:spMkLst>
            <pc:docMk/>
            <pc:sldMk cId="2712585891" sldId="533"/>
            <ac:spMk id="2" creationId="{00000000-0000-0000-0000-000000000000}"/>
          </ac:spMkLst>
        </pc:spChg>
      </pc:sldChg>
      <pc:sldChg chg="modSp mod">
        <pc:chgData name="Mustafa, Martina" userId="872503ae-87f4-4f63-80e0-ead0569307f5" providerId="ADAL" clId="{61629DFC-24DC-4176-B7A9-E84CBEBC143C}" dt="2022-11-09T16:52:52.150" v="513" actId="20577"/>
        <pc:sldMkLst>
          <pc:docMk/>
          <pc:sldMk cId="1187661863" sldId="534"/>
        </pc:sldMkLst>
        <pc:spChg chg="mod">
          <ac:chgData name="Mustafa, Martina" userId="872503ae-87f4-4f63-80e0-ead0569307f5" providerId="ADAL" clId="{61629DFC-24DC-4176-B7A9-E84CBEBC143C}" dt="2022-11-09T16:52:52.150" v="513" actId="20577"/>
          <ac:spMkLst>
            <pc:docMk/>
            <pc:sldMk cId="1187661863" sldId="534"/>
            <ac:spMk id="2" creationId="{00000000-0000-0000-0000-000000000000}"/>
          </ac:spMkLst>
        </pc:spChg>
      </pc:sldChg>
      <pc:sldChg chg="addSp modSp">
        <pc:chgData name="Mustafa, Martina" userId="872503ae-87f4-4f63-80e0-ead0569307f5" providerId="ADAL" clId="{61629DFC-24DC-4176-B7A9-E84CBEBC143C}" dt="2022-11-09T16:53:35.576" v="514"/>
        <pc:sldMkLst>
          <pc:docMk/>
          <pc:sldMk cId="3341542866" sldId="535"/>
        </pc:sldMkLst>
        <pc:picChg chg="add mod">
          <ac:chgData name="Mustafa, Martina" userId="872503ae-87f4-4f63-80e0-ead0569307f5" providerId="ADAL" clId="{61629DFC-24DC-4176-B7A9-E84CBEBC143C}" dt="2022-11-09T16:53:35.576" v="514"/>
          <ac:picMkLst>
            <pc:docMk/>
            <pc:sldMk cId="3341542866" sldId="535"/>
            <ac:picMk id="5" creationId="{1D4DF5A0-ABFE-4731-915D-1225E0FB6605}"/>
          </ac:picMkLst>
        </pc:picChg>
      </pc:sldChg>
      <pc:sldChg chg="addSp modSp">
        <pc:chgData name="Mustafa, Martina" userId="872503ae-87f4-4f63-80e0-ead0569307f5" providerId="ADAL" clId="{61629DFC-24DC-4176-B7A9-E84CBEBC143C}" dt="2022-11-09T16:53:37.401" v="515"/>
        <pc:sldMkLst>
          <pc:docMk/>
          <pc:sldMk cId="3039052159" sldId="536"/>
        </pc:sldMkLst>
        <pc:picChg chg="add mod">
          <ac:chgData name="Mustafa, Martina" userId="872503ae-87f4-4f63-80e0-ead0569307f5" providerId="ADAL" clId="{61629DFC-24DC-4176-B7A9-E84CBEBC143C}" dt="2022-11-09T16:53:37.401" v="515"/>
          <ac:picMkLst>
            <pc:docMk/>
            <pc:sldMk cId="3039052159" sldId="536"/>
            <ac:picMk id="27" creationId="{8C24BA5C-AA22-42DC-A042-633BF51E84D3}"/>
          </ac:picMkLst>
        </pc:picChg>
      </pc:sldChg>
      <pc:sldChg chg="modNotesTx">
        <pc:chgData name="Mustafa, Martina" userId="872503ae-87f4-4f63-80e0-ead0569307f5" providerId="ADAL" clId="{61629DFC-24DC-4176-B7A9-E84CBEBC143C}" dt="2022-11-09T16:55:49.132" v="536"/>
        <pc:sldMkLst>
          <pc:docMk/>
          <pc:sldMk cId="137298611" sldId="537"/>
        </pc:sldMkLst>
      </pc:sldChg>
      <pc:sldChg chg="new del">
        <pc:chgData name="Mustafa, Martina" userId="872503ae-87f4-4f63-80e0-ead0569307f5" providerId="ADAL" clId="{61629DFC-24DC-4176-B7A9-E84CBEBC143C}" dt="2022-11-09T16:58:21.942" v="538" actId="47"/>
        <pc:sldMkLst>
          <pc:docMk/>
          <pc:sldMk cId="3471002175" sldId="539"/>
        </pc:sldMkLst>
      </pc:sldChg>
      <pc:sldChg chg="modSp new mod">
        <pc:chgData name="Mustafa, Martina" userId="872503ae-87f4-4f63-80e0-ead0569307f5" providerId="ADAL" clId="{61629DFC-24DC-4176-B7A9-E84CBEBC143C}" dt="2022-11-09T16:58:50.647" v="569" actId="20577"/>
        <pc:sldMkLst>
          <pc:docMk/>
          <pc:sldMk cId="4022631018" sldId="539"/>
        </pc:sldMkLst>
        <pc:spChg chg="mod">
          <ac:chgData name="Mustafa, Martina" userId="872503ae-87f4-4f63-80e0-ead0569307f5" providerId="ADAL" clId="{61629DFC-24DC-4176-B7A9-E84CBEBC143C}" dt="2022-11-09T16:58:50.647" v="569" actId="20577"/>
          <ac:spMkLst>
            <pc:docMk/>
            <pc:sldMk cId="4022631018" sldId="539"/>
            <ac:spMk id="3" creationId="{410D1E29-2858-472E-9B8D-B30CC35A545D}"/>
          </ac:spMkLst>
        </pc:spChg>
      </pc:sldChg>
      <pc:sldMasterChg chg="delSldLayout">
        <pc:chgData name="Mustafa, Martina" userId="872503ae-87f4-4f63-80e0-ead0569307f5" providerId="ADAL" clId="{61629DFC-24DC-4176-B7A9-E84CBEBC143C}" dt="2022-11-07T16:48:59.757" v="360" actId="2696"/>
        <pc:sldMasterMkLst>
          <pc:docMk/>
          <pc:sldMasterMk cId="0" sldId="2147483648"/>
        </pc:sldMasterMkLst>
        <pc:sldLayoutChg chg="del">
          <pc:chgData name="Mustafa, Martina" userId="872503ae-87f4-4f63-80e0-ead0569307f5" providerId="ADAL" clId="{61629DFC-24DC-4176-B7A9-E84CBEBC143C}" dt="2022-11-07T16:48:59.757" v="360" actId="2696"/>
          <pc:sldLayoutMkLst>
            <pc:docMk/>
            <pc:sldMasterMk cId="0" sldId="2147483648"/>
            <pc:sldLayoutMk cId="0" sldId="2147483657"/>
          </pc:sldLayoutMkLst>
        </pc:sldLayoutChg>
      </pc:sldMasterChg>
      <pc:sldMasterChg chg="delSldLayout">
        <pc:chgData name="Mustafa, Martina" userId="872503ae-87f4-4f63-80e0-ead0569307f5" providerId="ADAL" clId="{61629DFC-24DC-4176-B7A9-E84CBEBC143C}" dt="2022-11-09T17:22:05.880" v="592" actId="2696"/>
        <pc:sldMasterMkLst>
          <pc:docMk/>
          <pc:sldMasterMk cId="792327983" sldId="2147483857"/>
        </pc:sldMasterMkLst>
        <pc:sldLayoutChg chg="del">
          <pc:chgData name="Mustafa, Martina" userId="872503ae-87f4-4f63-80e0-ead0569307f5" providerId="ADAL" clId="{61629DFC-24DC-4176-B7A9-E84CBEBC143C}" dt="2022-11-09T17:22:05.880" v="592" actId="2696"/>
          <pc:sldLayoutMkLst>
            <pc:docMk/>
            <pc:sldMasterMk cId="792327983" sldId="2147483857"/>
            <pc:sldLayoutMk cId="2359694914" sldId="2147484129"/>
          </pc:sldLayoutMkLst>
        </pc:sldLayoutChg>
      </pc:sldMasterChg>
    </pc:docChg>
  </pc:docChgLst>
  <pc:docChgLst>
    <pc:chgData name="Catalano, Andrea Alejandra" userId="06d9d64d-5676-4ea5-a1fb-b4e7a5041ea9" providerId="ADAL" clId="{B1E3841B-713E-4008-82B9-CB253750754A}"/>
    <pc:docChg chg="custSel addSld delSld modSld sldOrd delMainMaster">
      <pc:chgData name="Catalano, Andrea Alejandra" userId="06d9d64d-5676-4ea5-a1fb-b4e7a5041ea9" providerId="ADAL" clId="{B1E3841B-713E-4008-82B9-CB253750754A}" dt="2023-09-13T03:18:29.929" v="262" actId="20577"/>
      <pc:docMkLst>
        <pc:docMk/>
      </pc:docMkLst>
      <pc:sldChg chg="addSp modSp mod">
        <pc:chgData name="Catalano, Andrea Alejandra" userId="06d9d64d-5676-4ea5-a1fb-b4e7a5041ea9" providerId="ADAL" clId="{B1E3841B-713E-4008-82B9-CB253750754A}" dt="2023-09-11T14:57:32.390" v="93" actId="14100"/>
        <pc:sldMkLst>
          <pc:docMk/>
          <pc:sldMk cId="2263284498" sldId="282"/>
        </pc:sldMkLst>
        <pc:picChg chg="add mod">
          <ac:chgData name="Catalano, Andrea Alejandra" userId="06d9d64d-5676-4ea5-a1fb-b4e7a5041ea9" providerId="ADAL" clId="{B1E3841B-713E-4008-82B9-CB253750754A}" dt="2023-09-11T14:57:32.390" v="93" actId="14100"/>
          <ac:picMkLst>
            <pc:docMk/>
            <pc:sldMk cId="2263284498" sldId="282"/>
            <ac:picMk id="3" creationId="{90D528D4-C921-4A9C-B631-150AF938830A}"/>
          </ac:picMkLst>
        </pc:picChg>
      </pc:sldChg>
      <pc:sldChg chg="ord">
        <pc:chgData name="Catalano, Andrea Alejandra" userId="06d9d64d-5676-4ea5-a1fb-b4e7a5041ea9" providerId="ADAL" clId="{B1E3841B-713E-4008-82B9-CB253750754A}" dt="2023-09-11T13:28:19.051" v="63"/>
        <pc:sldMkLst>
          <pc:docMk/>
          <pc:sldMk cId="885355067" sldId="310"/>
        </pc:sldMkLst>
      </pc:sldChg>
      <pc:sldChg chg="add del">
        <pc:chgData name="Catalano, Andrea Alejandra" userId="06d9d64d-5676-4ea5-a1fb-b4e7a5041ea9" providerId="ADAL" clId="{B1E3841B-713E-4008-82B9-CB253750754A}" dt="2023-09-13T02:56:57.538" v="183"/>
        <pc:sldMkLst>
          <pc:docMk/>
          <pc:sldMk cId="2279714410" sldId="319"/>
        </pc:sldMkLst>
      </pc:sldChg>
      <pc:sldChg chg="add del">
        <pc:chgData name="Catalano, Andrea Alejandra" userId="06d9d64d-5676-4ea5-a1fb-b4e7a5041ea9" providerId="ADAL" clId="{B1E3841B-713E-4008-82B9-CB253750754A}" dt="2023-09-13T02:56:57.538" v="183"/>
        <pc:sldMkLst>
          <pc:docMk/>
          <pc:sldMk cId="1017065585" sldId="320"/>
        </pc:sldMkLst>
      </pc:sldChg>
      <pc:sldChg chg="add del">
        <pc:chgData name="Catalano, Andrea Alejandra" userId="06d9d64d-5676-4ea5-a1fb-b4e7a5041ea9" providerId="ADAL" clId="{B1E3841B-713E-4008-82B9-CB253750754A}" dt="2023-09-13T02:56:57.538" v="183"/>
        <pc:sldMkLst>
          <pc:docMk/>
          <pc:sldMk cId="2757740528" sldId="321"/>
        </pc:sldMkLst>
      </pc:sldChg>
      <pc:sldChg chg="modSp add del mod">
        <pc:chgData name="Catalano, Andrea Alejandra" userId="06d9d64d-5676-4ea5-a1fb-b4e7a5041ea9" providerId="ADAL" clId="{B1E3841B-713E-4008-82B9-CB253750754A}" dt="2023-09-13T03:00:38.755" v="187" actId="20577"/>
        <pc:sldMkLst>
          <pc:docMk/>
          <pc:sldMk cId="4251380649" sldId="322"/>
        </pc:sldMkLst>
        <pc:spChg chg="mod">
          <ac:chgData name="Catalano, Andrea Alejandra" userId="06d9d64d-5676-4ea5-a1fb-b4e7a5041ea9" providerId="ADAL" clId="{B1E3841B-713E-4008-82B9-CB253750754A}" dt="2023-09-13T03:00:38.755" v="187" actId="20577"/>
          <ac:spMkLst>
            <pc:docMk/>
            <pc:sldMk cId="4251380649" sldId="322"/>
            <ac:spMk id="2" creationId="{00000000-0000-0000-0000-000000000000}"/>
          </ac:spMkLst>
        </pc:spChg>
      </pc:sldChg>
      <pc:sldChg chg="ord">
        <pc:chgData name="Catalano, Andrea Alejandra" userId="06d9d64d-5676-4ea5-a1fb-b4e7a5041ea9" providerId="ADAL" clId="{B1E3841B-713E-4008-82B9-CB253750754A}" dt="2023-09-11T13:28:19.051" v="63"/>
        <pc:sldMkLst>
          <pc:docMk/>
          <pc:sldMk cId="3904011703" sldId="328"/>
        </pc:sldMkLst>
      </pc:sldChg>
      <pc:sldChg chg="modSp add mod">
        <pc:chgData name="Catalano, Andrea Alejandra" userId="06d9d64d-5676-4ea5-a1fb-b4e7a5041ea9" providerId="ADAL" clId="{B1E3841B-713E-4008-82B9-CB253750754A}" dt="2023-09-11T16:31:55.509" v="132" actId="20577"/>
        <pc:sldMkLst>
          <pc:docMk/>
          <pc:sldMk cId="1153639891" sldId="353"/>
        </pc:sldMkLst>
        <pc:spChg chg="mod">
          <ac:chgData name="Catalano, Andrea Alejandra" userId="06d9d64d-5676-4ea5-a1fb-b4e7a5041ea9" providerId="ADAL" clId="{B1E3841B-713E-4008-82B9-CB253750754A}" dt="2023-09-11T16:31:55.509" v="132" actId="20577"/>
          <ac:spMkLst>
            <pc:docMk/>
            <pc:sldMk cId="1153639891" sldId="353"/>
            <ac:spMk id="2" creationId="{00000000-0000-0000-0000-000000000000}"/>
          </ac:spMkLst>
        </pc:spChg>
      </pc:sldChg>
      <pc:sldChg chg="add">
        <pc:chgData name="Catalano, Andrea Alejandra" userId="06d9d64d-5676-4ea5-a1fb-b4e7a5041ea9" providerId="ADAL" clId="{B1E3841B-713E-4008-82B9-CB253750754A}" dt="2023-09-11T16:30:39.076" v="94"/>
        <pc:sldMkLst>
          <pc:docMk/>
          <pc:sldMk cId="4270124400" sldId="354"/>
        </pc:sldMkLst>
      </pc:sldChg>
      <pc:sldChg chg="add del">
        <pc:chgData name="Catalano, Andrea Alejandra" userId="06d9d64d-5676-4ea5-a1fb-b4e7a5041ea9" providerId="ADAL" clId="{B1E3841B-713E-4008-82B9-CB253750754A}" dt="2023-09-11T16:30:52.959" v="95" actId="2696"/>
        <pc:sldMkLst>
          <pc:docMk/>
          <pc:sldMk cId="3521002515" sldId="356"/>
        </pc:sldMkLst>
      </pc:sldChg>
      <pc:sldChg chg="add del">
        <pc:chgData name="Catalano, Andrea Alejandra" userId="06d9d64d-5676-4ea5-a1fb-b4e7a5041ea9" providerId="ADAL" clId="{B1E3841B-713E-4008-82B9-CB253750754A}" dt="2023-09-11T16:32:01.515" v="133" actId="2696"/>
        <pc:sldMkLst>
          <pc:docMk/>
          <pc:sldMk cId="3695763337" sldId="357"/>
        </pc:sldMkLst>
      </pc:sldChg>
      <pc:sldChg chg="add">
        <pc:chgData name="Catalano, Andrea Alejandra" userId="06d9d64d-5676-4ea5-a1fb-b4e7a5041ea9" providerId="ADAL" clId="{B1E3841B-713E-4008-82B9-CB253750754A}" dt="2023-09-11T16:30:39.076" v="94"/>
        <pc:sldMkLst>
          <pc:docMk/>
          <pc:sldMk cId="696158819" sldId="358"/>
        </pc:sldMkLst>
      </pc:sldChg>
      <pc:sldChg chg="add del">
        <pc:chgData name="Catalano, Andrea Alejandra" userId="06d9d64d-5676-4ea5-a1fb-b4e7a5041ea9" providerId="ADAL" clId="{B1E3841B-713E-4008-82B9-CB253750754A}" dt="2023-09-11T16:31:03.086" v="96" actId="2696"/>
        <pc:sldMkLst>
          <pc:docMk/>
          <pc:sldMk cId="425101204" sldId="359"/>
        </pc:sldMkLst>
      </pc:sldChg>
      <pc:sldChg chg="add ord">
        <pc:chgData name="Catalano, Andrea Alejandra" userId="06d9d64d-5676-4ea5-a1fb-b4e7a5041ea9" providerId="ADAL" clId="{B1E3841B-713E-4008-82B9-CB253750754A}" dt="2023-09-11T16:31:19.888" v="98"/>
        <pc:sldMkLst>
          <pc:docMk/>
          <pc:sldMk cId="2607008627" sldId="362"/>
        </pc:sldMkLst>
      </pc:sldChg>
      <pc:sldChg chg="modSp add mod">
        <pc:chgData name="Catalano, Andrea Alejandra" userId="06d9d64d-5676-4ea5-a1fb-b4e7a5041ea9" providerId="ADAL" clId="{B1E3841B-713E-4008-82B9-CB253750754A}" dt="2023-09-13T03:18:29.929" v="262" actId="20577"/>
        <pc:sldMkLst>
          <pc:docMk/>
          <pc:sldMk cId="3316300085" sldId="542"/>
        </pc:sldMkLst>
        <pc:spChg chg="mod">
          <ac:chgData name="Catalano, Andrea Alejandra" userId="06d9d64d-5676-4ea5-a1fb-b4e7a5041ea9" providerId="ADAL" clId="{B1E3841B-713E-4008-82B9-CB253750754A}" dt="2023-09-13T03:18:29.929" v="262" actId="20577"/>
          <ac:spMkLst>
            <pc:docMk/>
            <pc:sldMk cId="3316300085" sldId="542"/>
            <ac:spMk id="92" creationId="{DA86B690-7F1C-484B-BA54-2D6F91AB85DE}"/>
          </ac:spMkLst>
        </pc:spChg>
      </pc:sldChg>
      <pc:sldChg chg="add ord">
        <pc:chgData name="Catalano, Andrea Alejandra" userId="06d9d64d-5676-4ea5-a1fb-b4e7a5041ea9" providerId="ADAL" clId="{B1E3841B-713E-4008-82B9-CB253750754A}" dt="2023-09-11T16:31:19.888" v="98"/>
        <pc:sldMkLst>
          <pc:docMk/>
          <pc:sldMk cId="4224476219" sldId="543"/>
        </pc:sldMkLst>
      </pc:sldChg>
      <pc:sldChg chg="add del ord">
        <pc:chgData name="Catalano, Andrea Alejandra" userId="06d9d64d-5676-4ea5-a1fb-b4e7a5041ea9" providerId="ADAL" clId="{B1E3841B-713E-4008-82B9-CB253750754A}" dt="2023-09-13T02:36:22.094" v="134" actId="2696"/>
        <pc:sldMkLst>
          <pc:docMk/>
          <pc:sldMk cId="3959293570" sldId="544"/>
        </pc:sldMkLst>
      </pc:sldChg>
      <pc:sldChg chg="add">
        <pc:chgData name="Catalano, Andrea Alejandra" userId="06d9d64d-5676-4ea5-a1fb-b4e7a5041ea9" providerId="ADAL" clId="{B1E3841B-713E-4008-82B9-CB253750754A}" dt="2023-09-11T16:30:39.076" v="94"/>
        <pc:sldMkLst>
          <pc:docMk/>
          <pc:sldMk cId="1410113957" sldId="545"/>
        </pc:sldMkLst>
      </pc:sldChg>
      <pc:sldChg chg="add">
        <pc:chgData name="Catalano, Andrea Alejandra" userId="06d9d64d-5676-4ea5-a1fb-b4e7a5041ea9" providerId="ADAL" clId="{B1E3841B-713E-4008-82B9-CB253750754A}" dt="2023-09-11T16:30:39.076" v="94"/>
        <pc:sldMkLst>
          <pc:docMk/>
          <pc:sldMk cId="1999642136" sldId="546"/>
        </pc:sldMkLst>
      </pc:sldChg>
      <pc:sldChg chg="ord">
        <pc:chgData name="Catalano, Andrea Alejandra" userId="06d9d64d-5676-4ea5-a1fb-b4e7a5041ea9" providerId="ADAL" clId="{B1E3841B-713E-4008-82B9-CB253750754A}" dt="2023-09-11T13:28:19.051" v="63"/>
        <pc:sldMkLst>
          <pc:docMk/>
          <pc:sldMk cId="466320634" sldId="555"/>
        </pc:sldMkLst>
      </pc:sldChg>
      <pc:sldChg chg="modSp mod">
        <pc:chgData name="Catalano, Andrea Alejandra" userId="06d9d64d-5676-4ea5-a1fb-b4e7a5041ea9" providerId="ADAL" clId="{B1E3841B-713E-4008-82B9-CB253750754A}" dt="2023-09-13T02:51:44.441" v="180" actId="14100"/>
        <pc:sldMkLst>
          <pc:docMk/>
          <pc:sldMk cId="3506864272" sldId="556"/>
        </pc:sldMkLst>
        <pc:spChg chg="mod">
          <ac:chgData name="Catalano, Andrea Alejandra" userId="06d9d64d-5676-4ea5-a1fb-b4e7a5041ea9" providerId="ADAL" clId="{B1E3841B-713E-4008-82B9-CB253750754A}" dt="2023-09-13T02:51:44.441" v="180" actId="14100"/>
          <ac:spMkLst>
            <pc:docMk/>
            <pc:sldMk cId="3506864272" sldId="556"/>
            <ac:spMk id="2" creationId="{00000000-0000-0000-0000-000000000000}"/>
          </ac:spMkLst>
        </pc:spChg>
      </pc:sldChg>
      <pc:sldChg chg="modSp add mod">
        <pc:chgData name="Catalano, Andrea Alejandra" userId="06d9d64d-5676-4ea5-a1fb-b4e7a5041ea9" providerId="ADAL" clId="{B1E3841B-713E-4008-82B9-CB253750754A}" dt="2023-09-13T02:40:39.794" v="149" actId="20577"/>
        <pc:sldMkLst>
          <pc:docMk/>
          <pc:sldMk cId="3128751441" sldId="557"/>
        </pc:sldMkLst>
        <pc:spChg chg="mod">
          <ac:chgData name="Catalano, Andrea Alejandra" userId="06d9d64d-5676-4ea5-a1fb-b4e7a5041ea9" providerId="ADAL" clId="{B1E3841B-713E-4008-82B9-CB253750754A}" dt="2023-09-13T02:40:39.794" v="149" actId="20577"/>
          <ac:spMkLst>
            <pc:docMk/>
            <pc:sldMk cId="3128751441" sldId="557"/>
            <ac:spMk id="2" creationId="{00000000-0000-0000-0000-000000000000}"/>
          </ac:spMkLst>
        </pc:spChg>
      </pc:sldChg>
      <pc:sldChg chg="add">
        <pc:chgData name="Catalano, Andrea Alejandra" userId="06d9d64d-5676-4ea5-a1fb-b4e7a5041ea9" providerId="ADAL" clId="{B1E3841B-713E-4008-82B9-CB253750754A}" dt="2023-09-13T03:00:24.666" v="184"/>
        <pc:sldMkLst>
          <pc:docMk/>
          <pc:sldMk cId="1044280182" sldId="571"/>
        </pc:sldMkLst>
      </pc:sldChg>
      <pc:sldChg chg="modSp add mod modTransition">
        <pc:chgData name="Catalano, Andrea Alejandra" userId="06d9d64d-5676-4ea5-a1fb-b4e7a5041ea9" providerId="ADAL" clId="{B1E3841B-713E-4008-82B9-CB253750754A}" dt="2023-09-13T03:01:27.494" v="245" actId="20577"/>
        <pc:sldMkLst>
          <pc:docMk/>
          <pc:sldMk cId="945264727" sldId="572"/>
        </pc:sldMkLst>
        <pc:spChg chg="mod">
          <ac:chgData name="Catalano, Andrea Alejandra" userId="06d9d64d-5676-4ea5-a1fb-b4e7a5041ea9" providerId="ADAL" clId="{B1E3841B-713E-4008-82B9-CB253750754A}" dt="2023-09-13T03:01:27.494" v="245" actId="20577"/>
          <ac:spMkLst>
            <pc:docMk/>
            <pc:sldMk cId="945264727" sldId="572"/>
            <ac:spMk id="2" creationId="{00000000-0000-0000-0000-000000000000}"/>
          </ac:spMkLst>
        </pc:spChg>
      </pc:sldChg>
      <pc:sldChg chg="modSp add del mod">
        <pc:chgData name="Catalano, Andrea Alejandra" userId="06d9d64d-5676-4ea5-a1fb-b4e7a5041ea9" providerId="ADAL" clId="{B1E3841B-713E-4008-82B9-CB253750754A}" dt="2023-09-11T14:33:11.109" v="64" actId="2696"/>
        <pc:sldMkLst>
          <pc:docMk/>
          <pc:sldMk cId="2368046516" sldId="2145704594"/>
        </pc:sldMkLst>
        <pc:spChg chg="mod">
          <ac:chgData name="Catalano, Andrea Alejandra" userId="06d9d64d-5676-4ea5-a1fb-b4e7a5041ea9" providerId="ADAL" clId="{B1E3841B-713E-4008-82B9-CB253750754A}" dt="2023-09-11T13:22:13.414" v="61" actId="1076"/>
          <ac:spMkLst>
            <pc:docMk/>
            <pc:sldMk cId="2368046516" sldId="2145704594"/>
            <ac:spMk id="31" creationId="{00000000-0000-0000-0000-000000000000}"/>
          </ac:spMkLst>
        </pc:spChg>
      </pc:sldChg>
      <pc:sldMasterChg chg="del delSldLayout">
        <pc:chgData name="Catalano, Andrea Alejandra" userId="06d9d64d-5676-4ea5-a1fb-b4e7a5041ea9" providerId="ADAL" clId="{B1E3841B-713E-4008-82B9-CB253750754A}" dt="2023-09-11T14:33:11.109" v="64" actId="2696"/>
        <pc:sldMasterMkLst>
          <pc:docMk/>
          <pc:sldMasterMk cId="825647060" sldId="2147484132"/>
        </pc:sldMasterMkLst>
        <pc:sldLayoutChg chg="del">
          <pc:chgData name="Catalano, Andrea Alejandra" userId="06d9d64d-5676-4ea5-a1fb-b4e7a5041ea9" providerId="ADAL" clId="{B1E3841B-713E-4008-82B9-CB253750754A}" dt="2023-09-11T14:33:11.109" v="64" actId="2696"/>
          <pc:sldLayoutMkLst>
            <pc:docMk/>
            <pc:sldMasterMk cId="825647060" sldId="2147484132"/>
            <pc:sldLayoutMk cId="3336285091" sldId="2147484133"/>
          </pc:sldLayoutMkLst>
        </pc:sldLayoutChg>
        <pc:sldLayoutChg chg="del">
          <pc:chgData name="Catalano, Andrea Alejandra" userId="06d9d64d-5676-4ea5-a1fb-b4e7a5041ea9" providerId="ADAL" clId="{B1E3841B-713E-4008-82B9-CB253750754A}" dt="2023-09-11T14:33:11.109" v="64" actId="2696"/>
          <pc:sldLayoutMkLst>
            <pc:docMk/>
            <pc:sldMasterMk cId="825647060" sldId="2147484132"/>
            <pc:sldLayoutMk cId="2392753933" sldId="2147484134"/>
          </pc:sldLayoutMkLst>
        </pc:sldLayoutChg>
        <pc:sldLayoutChg chg="del">
          <pc:chgData name="Catalano, Andrea Alejandra" userId="06d9d64d-5676-4ea5-a1fb-b4e7a5041ea9" providerId="ADAL" clId="{B1E3841B-713E-4008-82B9-CB253750754A}" dt="2023-09-11T14:33:11.109" v="64" actId="2696"/>
          <pc:sldLayoutMkLst>
            <pc:docMk/>
            <pc:sldMasterMk cId="825647060" sldId="2147484132"/>
            <pc:sldLayoutMk cId="1346825776" sldId="2147484135"/>
          </pc:sldLayoutMkLst>
        </pc:sldLayoutChg>
        <pc:sldLayoutChg chg="del">
          <pc:chgData name="Catalano, Andrea Alejandra" userId="06d9d64d-5676-4ea5-a1fb-b4e7a5041ea9" providerId="ADAL" clId="{B1E3841B-713E-4008-82B9-CB253750754A}" dt="2023-09-11T14:33:11.109" v="64" actId="2696"/>
          <pc:sldLayoutMkLst>
            <pc:docMk/>
            <pc:sldMasterMk cId="825647060" sldId="2147484132"/>
            <pc:sldLayoutMk cId="1302135617" sldId="2147484136"/>
          </pc:sldLayoutMkLst>
        </pc:sldLayoutChg>
        <pc:sldLayoutChg chg="del">
          <pc:chgData name="Catalano, Andrea Alejandra" userId="06d9d64d-5676-4ea5-a1fb-b4e7a5041ea9" providerId="ADAL" clId="{B1E3841B-713E-4008-82B9-CB253750754A}" dt="2023-09-11T14:33:11.109" v="64" actId="2696"/>
          <pc:sldLayoutMkLst>
            <pc:docMk/>
            <pc:sldMasterMk cId="825647060" sldId="2147484132"/>
            <pc:sldLayoutMk cId="854220922" sldId="2147484137"/>
          </pc:sldLayoutMkLst>
        </pc:sldLayoutChg>
        <pc:sldLayoutChg chg="del">
          <pc:chgData name="Catalano, Andrea Alejandra" userId="06d9d64d-5676-4ea5-a1fb-b4e7a5041ea9" providerId="ADAL" clId="{B1E3841B-713E-4008-82B9-CB253750754A}" dt="2023-09-11T14:33:11.109" v="64" actId="2696"/>
          <pc:sldLayoutMkLst>
            <pc:docMk/>
            <pc:sldMasterMk cId="825647060" sldId="2147484132"/>
            <pc:sldLayoutMk cId="3117816684" sldId="2147484138"/>
          </pc:sldLayoutMkLst>
        </pc:sldLayoutChg>
        <pc:sldLayoutChg chg="del">
          <pc:chgData name="Catalano, Andrea Alejandra" userId="06d9d64d-5676-4ea5-a1fb-b4e7a5041ea9" providerId="ADAL" clId="{B1E3841B-713E-4008-82B9-CB253750754A}" dt="2023-09-11T14:33:11.109" v="64" actId="2696"/>
          <pc:sldLayoutMkLst>
            <pc:docMk/>
            <pc:sldMasterMk cId="825647060" sldId="2147484132"/>
            <pc:sldLayoutMk cId="1916224217" sldId="2147484139"/>
          </pc:sldLayoutMkLst>
        </pc:sldLayoutChg>
        <pc:sldLayoutChg chg="del">
          <pc:chgData name="Catalano, Andrea Alejandra" userId="06d9d64d-5676-4ea5-a1fb-b4e7a5041ea9" providerId="ADAL" clId="{B1E3841B-713E-4008-82B9-CB253750754A}" dt="2023-09-11T14:33:11.109" v="64" actId="2696"/>
          <pc:sldLayoutMkLst>
            <pc:docMk/>
            <pc:sldMasterMk cId="825647060" sldId="2147484132"/>
            <pc:sldLayoutMk cId="2522678097" sldId="2147484140"/>
          </pc:sldLayoutMkLst>
        </pc:sldLayoutChg>
        <pc:sldLayoutChg chg="del">
          <pc:chgData name="Catalano, Andrea Alejandra" userId="06d9d64d-5676-4ea5-a1fb-b4e7a5041ea9" providerId="ADAL" clId="{B1E3841B-713E-4008-82B9-CB253750754A}" dt="2023-09-11T14:33:11.109" v="64" actId="2696"/>
          <pc:sldLayoutMkLst>
            <pc:docMk/>
            <pc:sldMasterMk cId="825647060" sldId="2147484132"/>
            <pc:sldLayoutMk cId="2825216465" sldId="2147484141"/>
          </pc:sldLayoutMkLst>
        </pc:sldLayoutChg>
        <pc:sldLayoutChg chg="del">
          <pc:chgData name="Catalano, Andrea Alejandra" userId="06d9d64d-5676-4ea5-a1fb-b4e7a5041ea9" providerId="ADAL" clId="{B1E3841B-713E-4008-82B9-CB253750754A}" dt="2023-09-11T14:33:11.109" v="64" actId="2696"/>
          <pc:sldLayoutMkLst>
            <pc:docMk/>
            <pc:sldMasterMk cId="825647060" sldId="2147484132"/>
            <pc:sldLayoutMk cId="2247007809" sldId="2147484142"/>
          </pc:sldLayoutMkLst>
        </pc:sldLayoutChg>
        <pc:sldLayoutChg chg="del">
          <pc:chgData name="Catalano, Andrea Alejandra" userId="06d9d64d-5676-4ea5-a1fb-b4e7a5041ea9" providerId="ADAL" clId="{B1E3841B-713E-4008-82B9-CB253750754A}" dt="2023-09-11T14:33:11.109" v="64" actId="2696"/>
          <pc:sldLayoutMkLst>
            <pc:docMk/>
            <pc:sldMasterMk cId="825647060" sldId="2147484132"/>
            <pc:sldLayoutMk cId="500278984" sldId="2147484143"/>
          </pc:sldLayoutMkLst>
        </pc:sldLayoutChg>
        <pc:sldLayoutChg chg="del">
          <pc:chgData name="Catalano, Andrea Alejandra" userId="06d9d64d-5676-4ea5-a1fb-b4e7a5041ea9" providerId="ADAL" clId="{B1E3841B-713E-4008-82B9-CB253750754A}" dt="2023-09-11T14:33:11.109" v="64" actId="2696"/>
          <pc:sldLayoutMkLst>
            <pc:docMk/>
            <pc:sldMasterMk cId="825647060" sldId="2147484132"/>
            <pc:sldLayoutMk cId="885614293" sldId="2147484144"/>
          </pc:sldLayoutMkLst>
        </pc:sldLayoutChg>
        <pc:sldLayoutChg chg="del">
          <pc:chgData name="Catalano, Andrea Alejandra" userId="06d9d64d-5676-4ea5-a1fb-b4e7a5041ea9" providerId="ADAL" clId="{B1E3841B-713E-4008-82B9-CB253750754A}" dt="2023-09-11T14:33:11.109" v="64" actId="2696"/>
          <pc:sldLayoutMkLst>
            <pc:docMk/>
            <pc:sldMasterMk cId="825647060" sldId="2147484132"/>
            <pc:sldLayoutMk cId="1783421596" sldId="2147484145"/>
          </pc:sldLayoutMkLst>
        </pc:sldLayoutChg>
        <pc:sldLayoutChg chg="del">
          <pc:chgData name="Catalano, Andrea Alejandra" userId="06d9d64d-5676-4ea5-a1fb-b4e7a5041ea9" providerId="ADAL" clId="{B1E3841B-713E-4008-82B9-CB253750754A}" dt="2023-09-11T14:33:11.109" v="64" actId="2696"/>
          <pc:sldLayoutMkLst>
            <pc:docMk/>
            <pc:sldMasterMk cId="825647060" sldId="2147484132"/>
            <pc:sldLayoutMk cId="577510206" sldId="2147484146"/>
          </pc:sldLayoutMkLst>
        </pc:sldLayoutChg>
        <pc:sldLayoutChg chg="del">
          <pc:chgData name="Catalano, Andrea Alejandra" userId="06d9d64d-5676-4ea5-a1fb-b4e7a5041ea9" providerId="ADAL" clId="{B1E3841B-713E-4008-82B9-CB253750754A}" dt="2023-09-11T14:33:11.109" v="64" actId="2696"/>
          <pc:sldLayoutMkLst>
            <pc:docMk/>
            <pc:sldMasterMk cId="825647060" sldId="2147484132"/>
            <pc:sldLayoutMk cId="2001131031" sldId="2147484147"/>
          </pc:sldLayoutMkLst>
        </pc:sldLayoutChg>
        <pc:sldLayoutChg chg="del">
          <pc:chgData name="Catalano, Andrea Alejandra" userId="06d9d64d-5676-4ea5-a1fb-b4e7a5041ea9" providerId="ADAL" clId="{B1E3841B-713E-4008-82B9-CB253750754A}" dt="2023-09-11T14:33:11.109" v="64" actId="2696"/>
          <pc:sldLayoutMkLst>
            <pc:docMk/>
            <pc:sldMasterMk cId="825647060" sldId="2147484132"/>
            <pc:sldLayoutMk cId="2249330437" sldId="2147484148"/>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72" name="Shape 972"/>
          <p:cNvSpPr>
            <a:spLocks noGrp="1" noRot="1" noChangeAspect="1"/>
          </p:cNvSpPr>
          <p:nvPr>
            <p:ph type="sldImg"/>
          </p:nvPr>
        </p:nvSpPr>
        <p:spPr>
          <a:xfrm>
            <a:off x="1143000" y="685800"/>
            <a:ext cx="4572000" cy="3429000"/>
          </a:xfrm>
          <a:prstGeom prst="rect">
            <a:avLst/>
          </a:prstGeom>
        </p:spPr>
        <p:txBody>
          <a:bodyPr/>
          <a:lstStyle/>
          <a:p>
            <a:endParaRPr/>
          </a:p>
        </p:txBody>
      </p:sp>
      <p:sp>
        <p:nvSpPr>
          <p:cNvPr id="973" name="Shape 973"/>
          <p:cNvSpPr>
            <a:spLocks noGrp="1"/>
          </p:cNvSpPr>
          <p:nvPr>
            <p:ph type="body" sz="quarter" idx="1"/>
          </p:nvPr>
        </p:nvSpPr>
        <p:spPr>
          <a:xfrm>
            <a:off x="914400" y="4343400"/>
            <a:ext cx="5029200" cy="4114800"/>
          </a:xfrm>
          <a:prstGeom prst="rect">
            <a:avLst/>
          </a:prstGeom>
        </p:spPr>
        <p:txBody>
          <a:bodyPr/>
          <a:lstStyle/>
          <a:p>
            <a:endParaRPr/>
          </a:p>
        </p:txBody>
      </p:sp>
    </p:spTree>
    <p:extLst>
      <p:ext uri="{BB962C8B-B14F-4D97-AF65-F5344CB8AC3E}">
        <p14:creationId xmlns:p14="http://schemas.microsoft.com/office/powerpoint/2010/main" val="1361899537"/>
      </p:ext>
    </p:extLst>
  </p:cSld>
  <p:clrMap bg1="lt1" tx1="dk1" bg2="lt2" tx2="dk2" accent1="accent1" accent2="accent2" accent3="accent3" accent4="accent4" accent5="accent5" accent6="accent6" hlink="hlink" folHlink="folHlink"/>
  <p:notesStyle>
    <a:lvl1pPr defTabSz="457200" latinLnBrk="0">
      <a:defRPr sz="2200">
        <a:latin typeface="Lucida Grande"/>
        <a:ea typeface="Lucida Grande"/>
        <a:cs typeface="Lucida Grande"/>
        <a:sym typeface="Lucida Grande"/>
      </a:defRPr>
    </a:lvl1pPr>
    <a:lvl2pPr indent="228600" defTabSz="457200" latinLnBrk="0">
      <a:defRPr sz="2200">
        <a:latin typeface="Lucida Grande"/>
        <a:ea typeface="Lucida Grande"/>
        <a:cs typeface="Lucida Grande"/>
        <a:sym typeface="Lucida Grande"/>
      </a:defRPr>
    </a:lvl2pPr>
    <a:lvl3pPr indent="457200" defTabSz="457200" latinLnBrk="0">
      <a:defRPr sz="2200">
        <a:latin typeface="Lucida Grande"/>
        <a:ea typeface="Lucida Grande"/>
        <a:cs typeface="Lucida Grande"/>
        <a:sym typeface="Lucida Grande"/>
      </a:defRPr>
    </a:lvl3pPr>
    <a:lvl4pPr indent="685800" defTabSz="457200" latinLnBrk="0">
      <a:defRPr sz="2200">
        <a:latin typeface="Lucida Grande"/>
        <a:ea typeface="Lucida Grande"/>
        <a:cs typeface="Lucida Grande"/>
        <a:sym typeface="Lucida Grande"/>
      </a:defRPr>
    </a:lvl4pPr>
    <a:lvl5pPr indent="914400" defTabSz="457200" latinLnBrk="0">
      <a:defRPr sz="2200">
        <a:latin typeface="Lucida Grande"/>
        <a:ea typeface="Lucida Grande"/>
        <a:cs typeface="Lucida Grande"/>
        <a:sym typeface="Lucida Grande"/>
      </a:defRPr>
    </a:lvl5pPr>
    <a:lvl6pPr indent="1143000" defTabSz="457200" latinLnBrk="0">
      <a:defRPr sz="2200">
        <a:latin typeface="Lucida Grande"/>
        <a:ea typeface="Lucida Grande"/>
        <a:cs typeface="Lucida Grande"/>
        <a:sym typeface="Lucida Grande"/>
      </a:defRPr>
    </a:lvl6pPr>
    <a:lvl7pPr indent="1371600" defTabSz="457200" latinLnBrk="0">
      <a:defRPr sz="2200">
        <a:latin typeface="Lucida Grande"/>
        <a:ea typeface="Lucida Grande"/>
        <a:cs typeface="Lucida Grande"/>
        <a:sym typeface="Lucida Grande"/>
      </a:defRPr>
    </a:lvl7pPr>
    <a:lvl8pPr indent="1600200" defTabSz="457200" latinLnBrk="0">
      <a:defRPr sz="2200">
        <a:latin typeface="Lucida Grande"/>
        <a:ea typeface="Lucida Grande"/>
        <a:cs typeface="Lucida Grande"/>
        <a:sym typeface="Lucida Grande"/>
      </a:defRPr>
    </a:lvl8pPr>
    <a:lvl9pPr indent="1828800" defTabSz="457200" latinLnBrk="0">
      <a:defRPr sz="2200">
        <a:latin typeface="Lucida Grande"/>
        <a:ea typeface="Lucida Grande"/>
        <a:cs typeface="Lucida Grande"/>
        <a:sym typeface="Lucida Grand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n-AU" dirty="0"/>
          </a:p>
        </p:txBody>
      </p:sp>
    </p:spTree>
    <p:extLst>
      <p:ext uri="{BB962C8B-B14F-4D97-AF65-F5344CB8AC3E}">
        <p14:creationId xmlns:p14="http://schemas.microsoft.com/office/powerpoint/2010/main" val="27853719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83306" rtl="0" eaLnBrk="1" fontAlgn="auto" latinLnBrk="0" hangingPunct="1">
              <a:lnSpc>
                <a:spcPct val="100000"/>
              </a:lnSpc>
              <a:spcBef>
                <a:spcPts val="0"/>
              </a:spcBef>
              <a:spcAft>
                <a:spcPts val="0"/>
              </a:spcAft>
              <a:buClrTx/>
              <a:buSzTx/>
              <a:buFontTx/>
              <a:buNone/>
              <a:tabLst/>
              <a:defRPr/>
            </a:pPr>
            <a:fld id="{C9E95A19-FAA6-4212-9D69-F76B0750580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83306"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50832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83306" rtl="0" eaLnBrk="1" fontAlgn="auto" latinLnBrk="0" hangingPunct="1">
              <a:lnSpc>
                <a:spcPct val="100000"/>
              </a:lnSpc>
              <a:spcBef>
                <a:spcPts val="0"/>
              </a:spcBef>
              <a:spcAft>
                <a:spcPts val="0"/>
              </a:spcAft>
              <a:buClrTx/>
              <a:buSzTx/>
              <a:buFontTx/>
              <a:buNone/>
              <a:tabLst/>
              <a:defRPr/>
            </a:pPr>
            <a:fld id="{C9E95A19-FAA6-4212-9D69-F76B0750580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83306"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01786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pPr algn="l"/>
            <a:r>
              <a:rPr lang="es-CO" sz="2400" b="1" dirty="0"/>
              <a:t>La falta de algunos de estos controles puede generar:</a:t>
            </a:r>
          </a:p>
          <a:p>
            <a:pPr marL="285750" indent="-285750" algn="l">
              <a:buFontTx/>
              <a:buChar char="-"/>
            </a:pPr>
            <a:r>
              <a:rPr lang="es-CO" sz="2400" b="1" dirty="0"/>
              <a:t>No renovaciones</a:t>
            </a:r>
          </a:p>
          <a:p>
            <a:pPr marL="285750" indent="-285750" algn="l">
              <a:buFontTx/>
              <a:buChar char="-"/>
            </a:pPr>
            <a:r>
              <a:rPr lang="es-CO" sz="2400" b="1" dirty="0"/>
              <a:t>Declinaciones del riesgo</a:t>
            </a:r>
          </a:p>
          <a:p>
            <a:pPr marL="285750" indent="-285750" algn="l">
              <a:buFontTx/>
              <a:buChar char="-"/>
            </a:pPr>
            <a:r>
              <a:rPr lang="es-CO" sz="2400" b="1" dirty="0"/>
              <a:t>Limitación en coberturas – Coaseguro de </a:t>
            </a:r>
            <a:r>
              <a:rPr lang="es-CO" sz="2400" b="1" i="1" dirty="0" err="1"/>
              <a:t>ransomware</a:t>
            </a:r>
            <a:endParaRPr lang="es-CO" sz="2400" b="1" i="1" dirty="0"/>
          </a:p>
          <a:p>
            <a:endParaRPr lang="en-US" dirty="0"/>
          </a:p>
        </p:txBody>
      </p:sp>
    </p:spTree>
    <p:extLst>
      <p:ext uri="{BB962C8B-B14F-4D97-AF65-F5344CB8AC3E}">
        <p14:creationId xmlns:p14="http://schemas.microsoft.com/office/powerpoint/2010/main" val="27813922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8D31C722-9110-4F21-BE45-137F4876AC8F}" type="slidenum">
              <a:rPr lang="en-US" smtClean="0"/>
              <a:t>17</a:t>
            </a:fld>
            <a:endParaRPr lang="en-US"/>
          </a:p>
        </p:txBody>
      </p:sp>
    </p:spTree>
    <p:extLst>
      <p:ext uri="{BB962C8B-B14F-4D97-AF65-F5344CB8AC3E}">
        <p14:creationId xmlns:p14="http://schemas.microsoft.com/office/powerpoint/2010/main" val="41616031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12631421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29891820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426024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137377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430159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8D31C722-9110-4F21-BE45-137F4876AC8F}" type="slidenum">
              <a:rPr lang="en-US" smtClean="0"/>
              <a:t>4</a:t>
            </a:fld>
            <a:endParaRPr lang="en-US"/>
          </a:p>
        </p:txBody>
      </p:sp>
    </p:spTree>
    <p:extLst>
      <p:ext uri="{BB962C8B-B14F-4D97-AF65-F5344CB8AC3E}">
        <p14:creationId xmlns:p14="http://schemas.microsoft.com/office/powerpoint/2010/main" val="29924961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8D31C722-9110-4F21-BE45-137F4876AC8F}" type="slidenum">
              <a:rPr lang="en-US" smtClean="0"/>
              <a:t>5</a:t>
            </a:fld>
            <a:endParaRPr lang="en-US"/>
          </a:p>
        </p:txBody>
      </p:sp>
    </p:spTree>
    <p:extLst>
      <p:ext uri="{BB962C8B-B14F-4D97-AF65-F5344CB8AC3E}">
        <p14:creationId xmlns:p14="http://schemas.microsoft.com/office/powerpoint/2010/main" val="1255225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s-PE"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D31C722-9110-4F21-BE45-137F4876AC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42597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s-PE"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D31C722-9110-4F21-BE45-137F4876AC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18936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s-PE"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D31C722-9110-4F21-BE45-137F4876AC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82517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7B2E4EB-E110-4EDE-96DD-A5827CEBFCB3}" type="slidenum">
              <a:rPr kumimoji="0" 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146" name="Rectangle 2"/>
          <p:cNvSpPr>
            <a:spLocks noGrp="1" noRot="1" noChangeAspect="1" noChangeArrowheads="1" noTextEdit="1"/>
          </p:cNvSpPr>
          <p:nvPr>
            <p:ph type="sldImg"/>
          </p:nvPr>
        </p:nvSpPr>
        <p:spPr>
          <a:xfrm>
            <a:off x="381000" y="685800"/>
            <a:ext cx="6096000" cy="3429000"/>
          </a:xfrm>
          <a:ln/>
        </p:spPr>
      </p:sp>
      <p:sp>
        <p:nvSpPr>
          <p:cNvPr id="6147"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925362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s-PE" dirty="0"/>
              <a:t>Ejemplo </a:t>
            </a:r>
            <a:r>
              <a:rPr lang="es-PE" dirty="0" err="1"/>
              <a:t>first</a:t>
            </a:r>
            <a:r>
              <a:rPr lang="es-PE" dirty="0"/>
              <a:t> </a:t>
            </a:r>
            <a:r>
              <a:rPr lang="es-PE" dirty="0" err="1"/>
              <a:t>party</a:t>
            </a:r>
            <a:r>
              <a:rPr lang="es-PE" dirty="0"/>
              <a:t>: </a:t>
            </a:r>
          </a:p>
          <a:p>
            <a:pPr marL="342900" indent="-342900">
              <a:buFont typeface="Arial" panose="020B0604020202020204" pitchFamily="34" charset="0"/>
              <a:buChar char="•"/>
            </a:pPr>
            <a:r>
              <a:rPr lang="es-PE" dirty="0"/>
              <a:t>Interrupción del negocio</a:t>
            </a:r>
          </a:p>
          <a:p>
            <a:pPr marL="342900" indent="-342900">
              <a:buFont typeface="Arial" panose="020B0604020202020204" pitchFamily="34" charset="0"/>
              <a:buChar char="•"/>
            </a:pPr>
            <a:r>
              <a:rPr lang="es-PE" dirty="0"/>
              <a:t>Perdida de activos digitales</a:t>
            </a:r>
          </a:p>
          <a:p>
            <a:pPr marL="342900" indent="-342900">
              <a:buFont typeface="Arial" panose="020B0604020202020204" pitchFamily="34" charset="0"/>
              <a:buChar char="•"/>
            </a:pPr>
            <a:r>
              <a:rPr lang="es-PE" dirty="0"/>
              <a:t>Interrupción del contingente</a:t>
            </a:r>
          </a:p>
          <a:p>
            <a:pPr marL="342900" indent="-342900">
              <a:buFont typeface="Arial" panose="020B0604020202020204" pitchFamily="34" charset="0"/>
              <a:buChar char="•"/>
            </a:pPr>
            <a:r>
              <a:rPr lang="es-PE" dirty="0"/>
              <a:t>Extorsión</a:t>
            </a:r>
          </a:p>
          <a:p>
            <a:pPr marL="342900" indent="-342900">
              <a:buFont typeface="Arial" panose="020B0604020202020204" pitchFamily="34" charset="0"/>
              <a:buChar char="•"/>
            </a:pPr>
            <a:r>
              <a:rPr lang="es-PE" dirty="0"/>
              <a:t>Gastos de gestión de crisis</a:t>
            </a:r>
          </a:p>
          <a:p>
            <a:pPr marL="0" indent="0">
              <a:buFont typeface="Arial" panose="020B0604020202020204" pitchFamily="34" charset="0"/>
              <a:buNone/>
            </a:pPr>
            <a:endParaRPr lang="es-PE" dirty="0"/>
          </a:p>
          <a:p>
            <a:pPr marL="0" indent="0">
              <a:buFont typeface="Arial" panose="020B0604020202020204" pitchFamily="34" charset="0"/>
              <a:buNone/>
            </a:pPr>
            <a:r>
              <a:rPr lang="es-PE" dirty="0"/>
              <a:t>Ejemplo </a:t>
            </a:r>
            <a:r>
              <a:rPr lang="es-PE" dirty="0" err="1"/>
              <a:t>Third</a:t>
            </a:r>
            <a:r>
              <a:rPr lang="es-PE" dirty="0"/>
              <a:t> </a:t>
            </a:r>
            <a:r>
              <a:rPr lang="es-PE" dirty="0" err="1"/>
              <a:t>party</a:t>
            </a:r>
            <a:endParaRPr lang="es-PE" dirty="0"/>
          </a:p>
          <a:p>
            <a:pPr marL="342900" indent="-342900">
              <a:buFont typeface="Arial" panose="020B0604020202020204" pitchFamily="34" charset="0"/>
              <a:buChar char="•"/>
            </a:pPr>
            <a:r>
              <a:rPr lang="es-PE" dirty="0"/>
              <a:t>RC por privacidad / </a:t>
            </a:r>
            <a:r>
              <a:rPr lang="es-PE" dirty="0" err="1"/>
              <a:t>confidencilidad</a:t>
            </a:r>
            <a:r>
              <a:rPr lang="es-PE" dirty="0"/>
              <a:t> de datos</a:t>
            </a:r>
          </a:p>
          <a:p>
            <a:pPr marL="342900" indent="-342900">
              <a:buFont typeface="Arial" panose="020B0604020202020204" pitchFamily="34" charset="0"/>
              <a:buChar char="•"/>
            </a:pPr>
            <a:r>
              <a:rPr lang="es-PE" dirty="0"/>
              <a:t>RC por publicación de contenido</a:t>
            </a:r>
          </a:p>
          <a:p>
            <a:pPr marL="342900" indent="-342900">
              <a:buFont typeface="Arial" panose="020B0604020202020204" pitchFamily="34" charset="0"/>
              <a:buChar char="•"/>
            </a:pPr>
            <a:r>
              <a:rPr lang="es-PE" dirty="0"/>
              <a:t>RC por seguridad de la red</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D31C722-9110-4F21-BE45-137F4876AC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83618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7.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10.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11.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11.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11.emf"/></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11.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11.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1.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12.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11.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11.emf"/></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3.xml"/><Relationship Id="rId1" Type="http://schemas.openxmlformats.org/officeDocument/2006/relationships/tags" Target="../tags/tag14.xml"/><Relationship Id="rId5" Type="http://schemas.openxmlformats.org/officeDocument/2006/relationships/image" Target="../media/image11.emf"/><Relationship Id="rId4" Type="http://schemas.openxmlformats.org/officeDocument/2006/relationships/oleObject" Target="../embeddings/oleObject1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1.emf"/></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0.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7.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7.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11.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11.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21.xml"/><Relationship Id="rId4" Type="http://schemas.openxmlformats.org/officeDocument/2006/relationships/image" Target="../media/image11.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2.xml"/><Relationship Id="rId4" Type="http://schemas.openxmlformats.org/officeDocument/2006/relationships/image" Target="../media/image11.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3.xml"/><Relationship Id="rId4" Type="http://schemas.openxmlformats.org/officeDocument/2006/relationships/image" Target="../media/image14.emf"/></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21.bin"/><Relationship Id="rId7" Type="http://schemas.openxmlformats.org/officeDocument/2006/relationships/image" Target="../media/image17.emf"/><Relationship Id="rId2" Type="http://schemas.openxmlformats.org/officeDocument/2006/relationships/slideMaster" Target="../slideMasters/slideMaster3.xml"/><Relationship Id="rId1" Type="http://schemas.openxmlformats.org/officeDocument/2006/relationships/tags" Target="../tags/tag24.xml"/><Relationship Id="rId6" Type="http://schemas.openxmlformats.org/officeDocument/2006/relationships/image" Target="../media/image16.svg"/><Relationship Id="rId5" Type="http://schemas.openxmlformats.org/officeDocument/2006/relationships/image" Target="../media/image3.png"/><Relationship Id="rId4" Type="http://schemas.openxmlformats.org/officeDocument/2006/relationships/image" Target="../media/image15.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21.bin"/><Relationship Id="rId7" Type="http://schemas.openxmlformats.org/officeDocument/2006/relationships/image" Target="../media/image18.emf"/><Relationship Id="rId2" Type="http://schemas.openxmlformats.org/officeDocument/2006/relationships/slideMaster" Target="../slideMasters/slideMaster3.xml"/><Relationship Id="rId1" Type="http://schemas.openxmlformats.org/officeDocument/2006/relationships/tags" Target="../tags/tag25.xml"/><Relationship Id="rId6" Type="http://schemas.openxmlformats.org/officeDocument/2006/relationships/image" Target="../media/image9.svg"/><Relationship Id="rId5" Type="http://schemas.openxmlformats.org/officeDocument/2006/relationships/image" Target="../media/image1.png"/><Relationship Id="rId4" Type="http://schemas.openxmlformats.org/officeDocument/2006/relationships/image" Target="../media/image15.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22.bin"/><Relationship Id="rId7" Type="http://schemas.openxmlformats.org/officeDocument/2006/relationships/image" Target="../media/image18.emf"/><Relationship Id="rId2" Type="http://schemas.openxmlformats.org/officeDocument/2006/relationships/slideMaster" Target="../slideMasters/slideMaster3.xml"/><Relationship Id="rId1" Type="http://schemas.openxmlformats.org/officeDocument/2006/relationships/tags" Target="../tags/tag26.xml"/><Relationship Id="rId6" Type="http://schemas.openxmlformats.org/officeDocument/2006/relationships/image" Target="../media/image9.svg"/><Relationship Id="rId5" Type="http://schemas.openxmlformats.org/officeDocument/2006/relationships/image" Target="../media/image1.png"/><Relationship Id="rId4" Type="http://schemas.openxmlformats.org/officeDocument/2006/relationships/image" Target="../media/image15.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23.bin"/><Relationship Id="rId7" Type="http://schemas.openxmlformats.org/officeDocument/2006/relationships/image" Target="../media/image17.emf"/><Relationship Id="rId2" Type="http://schemas.openxmlformats.org/officeDocument/2006/relationships/slideMaster" Target="../slideMasters/slideMaster3.xml"/><Relationship Id="rId1" Type="http://schemas.openxmlformats.org/officeDocument/2006/relationships/tags" Target="../tags/tag27.xml"/><Relationship Id="rId6" Type="http://schemas.openxmlformats.org/officeDocument/2006/relationships/image" Target="../media/image16.svg"/><Relationship Id="rId5" Type="http://schemas.openxmlformats.org/officeDocument/2006/relationships/image" Target="../media/image3.png"/><Relationship Id="rId4" Type="http://schemas.openxmlformats.org/officeDocument/2006/relationships/image" Target="../media/image15.emf"/></Relationships>
</file>

<file path=ppt/slideLayouts/_rels/slideLayout164.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image" Target="../media/image19.png"/><Relationship Id="rId7" Type="http://schemas.openxmlformats.org/officeDocument/2006/relationships/image" Target="../media/image16.svg"/><Relationship Id="rId2" Type="http://schemas.openxmlformats.org/officeDocument/2006/relationships/slideMaster" Target="../slideMasters/slideMaster3.xml"/><Relationship Id="rId1" Type="http://schemas.openxmlformats.org/officeDocument/2006/relationships/tags" Target="../tags/tag28.xml"/><Relationship Id="rId6" Type="http://schemas.openxmlformats.org/officeDocument/2006/relationships/image" Target="../media/image3.png"/><Relationship Id="rId5" Type="http://schemas.openxmlformats.org/officeDocument/2006/relationships/image" Target="../media/image15.emf"/><Relationship Id="rId4" Type="http://schemas.openxmlformats.org/officeDocument/2006/relationships/oleObject" Target="../embeddings/oleObject24.bin"/></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25.bin"/><Relationship Id="rId7" Type="http://schemas.openxmlformats.org/officeDocument/2006/relationships/image" Target="../media/image18.emf"/><Relationship Id="rId2" Type="http://schemas.openxmlformats.org/officeDocument/2006/relationships/slideMaster" Target="../slideMasters/slideMaster3.xml"/><Relationship Id="rId1" Type="http://schemas.openxmlformats.org/officeDocument/2006/relationships/tags" Target="../tags/tag29.xml"/><Relationship Id="rId6" Type="http://schemas.openxmlformats.org/officeDocument/2006/relationships/image" Target="../media/image9.svg"/><Relationship Id="rId5" Type="http://schemas.openxmlformats.org/officeDocument/2006/relationships/image" Target="../media/image1.png"/><Relationship Id="rId4" Type="http://schemas.openxmlformats.org/officeDocument/2006/relationships/image" Target="../media/image15.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26.bin"/><Relationship Id="rId7" Type="http://schemas.openxmlformats.org/officeDocument/2006/relationships/image" Target="../media/image17.emf"/><Relationship Id="rId2" Type="http://schemas.openxmlformats.org/officeDocument/2006/relationships/slideMaster" Target="../slideMasters/slideMaster3.xml"/><Relationship Id="rId1" Type="http://schemas.openxmlformats.org/officeDocument/2006/relationships/tags" Target="../tags/tag30.xml"/><Relationship Id="rId6" Type="http://schemas.openxmlformats.org/officeDocument/2006/relationships/image" Target="../media/image16.svg"/><Relationship Id="rId5" Type="http://schemas.openxmlformats.org/officeDocument/2006/relationships/image" Target="../media/image3.png"/><Relationship Id="rId4" Type="http://schemas.openxmlformats.org/officeDocument/2006/relationships/image" Target="../media/image15.emf"/></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image" Target="../media/image19.png"/><Relationship Id="rId7" Type="http://schemas.openxmlformats.org/officeDocument/2006/relationships/image" Target="../media/image16.svg"/><Relationship Id="rId2" Type="http://schemas.openxmlformats.org/officeDocument/2006/relationships/slideMaster" Target="../slideMasters/slideMaster3.xml"/><Relationship Id="rId1" Type="http://schemas.openxmlformats.org/officeDocument/2006/relationships/tags" Target="../tags/tag31.xml"/><Relationship Id="rId6" Type="http://schemas.openxmlformats.org/officeDocument/2006/relationships/image" Target="../media/image3.png"/><Relationship Id="rId5" Type="http://schemas.openxmlformats.org/officeDocument/2006/relationships/image" Target="../media/image15.emf"/><Relationship Id="rId4" Type="http://schemas.openxmlformats.org/officeDocument/2006/relationships/oleObject" Target="../embeddings/oleObject27.bin"/></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xml"/><Relationship Id="rId1" Type="http://schemas.openxmlformats.org/officeDocument/2006/relationships/tags" Target="../tags/tag32.xml"/><Relationship Id="rId4" Type="http://schemas.openxmlformats.org/officeDocument/2006/relationships/image" Target="../media/image14.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tags" Target="../tags/tag33.xml"/><Relationship Id="rId6" Type="http://schemas.openxmlformats.org/officeDocument/2006/relationships/image" Target="../media/image9.svg"/><Relationship Id="rId5" Type="http://schemas.openxmlformats.org/officeDocument/2006/relationships/image" Target="../media/image1.png"/><Relationship Id="rId4" Type="http://schemas.openxmlformats.org/officeDocument/2006/relationships/image" Target="../media/image15.em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34.xml"/><Relationship Id="rId6" Type="http://schemas.openxmlformats.org/officeDocument/2006/relationships/image" Target="../media/image16.svg"/><Relationship Id="rId5" Type="http://schemas.openxmlformats.org/officeDocument/2006/relationships/image" Target="../media/image3.png"/><Relationship Id="rId4" Type="http://schemas.openxmlformats.org/officeDocument/2006/relationships/image" Target="../media/image15.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35.xml"/><Relationship Id="rId4" Type="http://schemas.openxmlformats.org/officeDocument/2006/relationships/image" Target="../media/image10.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7.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7.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38.xml"/><Relationship Id="rId4" Type="http://schemas.openxmlformats.org/officeDocument/2006/relationships/image" Target="../media/image10.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xml"/><Relationship Id="rId1" Type="http://schemas.openxmlformats.org/officeDocument/2006/relationships/tags" Target="../tags/tag39.xml"/><Relationship Id="rId4" Type="http://schemas.openxmlformats.org/officeDocument/2006/relationships/image" Target="../media/image20.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3.xml"/><Relationship Id="rId1" Type="http://schemas.openxmlformats.org/officeDocument/2006/relationships/tags" Target="../tags/tag40.xml"/><Relationship Id="rId4" Type="http://schemas.openxmlformats.org/officeDocument/2006/relationships/image" Target="../media/image20.emf"/></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3.xml"/><Relationship Id="rId1" Type="http://schemas.openxmlformats.org/officeDocument/2006/relationships/tags" Target="../tags/tag41.xml"/><Relationship Id="rId5" Type="http://schemas.openxmlformats.org/officeDocument/2006/relationships/image" Target="../media/image20.emf"/><Relationship Id="rId4" Type="http://schemas.openxmlformats.org/officeDocument/2006/relationships/oleObject" Target="../embeddings/oleObject36.bin"/></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3.xml"/><Relationship Id="rId1" Type="http://schemas.openxmlformats.org/officeDocument/2006/relationships/tags" Target="../tags/tag42.xml"/><Relationship Id="rId4" Type="http://schemas.openxmlformats.org/officeDocument/2006/relationships/image" Target="../media/image10.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22.emf"/></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22.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22.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3.xml"/><Relationship Id="rId1" Type="http://schemas.openxmlformats.org/officeDocument/2006/relationships/tags" Target="../tags/tag46.xml"/><Relationship Id="rId4" Type="http://schemas.openxmlformats.org/officeDocument/2006/relationships/image" Target="../media/image22.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3.xml"/><Relationship Id="rId1" Type="http://schemas.openxmlformats.org/officeDocument/2006/relationships/tags" Target="../tags/tag47.xml"/><Relationship Id="rId4" Type="http://schemas.openxmlformats.org/officeDocument/2006/relationships/image" Target="../media/image22.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3.xml"/><Relationship Id="rId1" Type="http://schemas.openxmlformats.org/officeDocument/2006/relationships/tags" Target="../tags/tag48.xml"/><Relationship Id="rId4" Type="http://schemas.openxmlformats.org/officeDocument/2006/relationships/image" Target="../media/image10.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3.xml"/><Relationship Id="rId1" Type="http://schemas.openxmlformats.org/officeDocument/2006/relationships/tags" Target="../tags/tag49.xml"/><Relationship Id="rId4" Type="http://schemas.openxmlformats.org/officeDocument/2006/relationships/image" Target="../media/image23.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3.xml"/><Relationship Id="rId1" Type="http://schemas.openxmlformats.org/officeDocument/2006/relationships/tags" Target="../tags/tag50.xml"/><Relationship Id="rId4" Type="http://schemas.openxmlformats.org/officeDocument/2006/relationships/image" Target="../media/image23.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3.xml"/><Relationship Id="rId1" Type="http://schemas.openxmlformats.org/officeDocument/2006/relationships/tags" Target="../tags/tag51.xml"/><Relationship Id="rId4" Type="http://schemas.openxmlformats.org/officeDocument/2006/relationships/image" Target="../media/image14.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3.xml"/><Relationship Id="rId1" Type="http://schemas.openxmlformats.org/officeDocument/2006/relationships/tags" Target="../tags/tag52.xml"/><Relationship Id="rId4" Type="http://schemas.openxmlformats.org/officeDocument/2006/relationships/image" Target="../media/image12.emf"/></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3.xml"/><Relationship Id="rId1" Type="http://schemas.openxmlformats.org/officeDocument/2006/relationships/tags" Target="../tags/tag53.xml"/><Relationship Id="rId4" Type="http://schemas.openxmlformats.org/officeDocument/2006/relationships/image" Target="../media/image12.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3.xml"/><Relationship Id="rId1" Type="http://schemas.openxmlformats.org/officeDocument/2006/relationships/tags" Target="../tags/tag54.xml"/><Relationship Id="rId4" Type="http://schemas.openxmlformats.org/officeDocument/2006/relationships/image" Target="../media/image12.emf"/></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3.xml"/><Relationship Id="rId1" Type="http://schemas.openxmlformats.org/officeDocument/2006/relationships/tags" Target="../tags/tag55.xml"/><Relationship Id="rId4" Type="http://schemas.openxmlformats.org/officeDocument/2006/relationships/image" Target="../media/image12.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3.xml"/><Relationship Id="rId1" Type="http://schemas.openxmlformats.org/officeDocument/2006/relationships/tags" Target="../tags/tag56.xml"/><Relationship Id="rId4" Type="http://schemas.openxmlformats.org/officeDocument/2006/relationships/image" Target="../media/image14.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3.xml"/><Relationship Id="rId1" Type="http://schemas.openxmlformats.org/officeDocument/2006/relationships/tags" Target="../tags/tag57.xml"/><Relationship Id="rId6" Type="http://schemas.openxmlformats.org/officeDocument/2006/relationships/image" Target="../media/image9.svg"/><Relationship Id="rId5" Type="http://schemas.openxmlformats.org/officeDocument/2006/relationships/image" Target="../media/image1.png"/><Relationship Id="rId4" Type="http://schemas.openxmlformats.org/officeDocument/2006/relationships/image" Target="../media/image24.emf"/></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3.xml"/><Relationship Id="rId1" Type="http://schemas.openxmlformats.org/officeDocument/2006/relationships/tags" Target="../tags/tag58.xml"/><Relationship Id="rId6" Type="http://schemas.openxmlformats.org/officeDocument/2006/relationships/image" Target="../media/image16.svg"/><Relationship Id="rId5" Type="http://schemas.openxmlformats.org/officeDocument/2006/relationships/image" Target="../media/image3.png"/><Relationship Id="rId4" Type="http://schemas.openxmlformats.org/officeDocument/2006/relationships/image" Target="../media/image24.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3.xml"/><Relationship Id="rId1" Type="http://schemas.openxmlformats.org/officeDocument/2006/relationships/tags" Target="../tags/tag59.xml"/><Relationship Id="rId6" Type="http://schemas.openxmlformats.org/officeDocument/2006/relationships/image" Target="../media/image9.svg"/><Relationship Id="rId5" Type="http://schemas.openxmlformats.org/officeDocument/2006/relationships/image" Target="../media/image1.png"/><Relationship Id="rId4" Type="http://schemas.openxmlformats.org/officeDocument/2006/relationships/image" Target="../media/image24.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3.xml"/><Relationship Id="rId1" Type="http://schemas.openxmlformats.org/officeDocument/2006/relationships/tags" Target="../tags/tag60.xml"/><Relationship Id="rId6" Type="http://schemas.openxmlformats.org/officeDocument/2006/relationships/image" Target="../media/image16.svg"/><Relationship Id="rId5" Type="http://schemas.openxmlformats.org/officeDocument/2006/relationships/image" Target="../media/image3.png"/><Relationship Id="rId4" Type="http://schemas.openxmlformats.org/officeDocument/2006/relationships/image" Target="../media/image24.emf"/></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3.xml"/><Relationship Id="rId1" Type="http://schemas.openxmlformats.org/officeDocument/2006/relationships/tags" Target="../tags/tag61.xml"/><Relationship Id="rId4" Type="http://schemas.openxmlformats.org/officeDocument/2006/relationships/image" Target="../media/image7.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4.xml"/><Relationship Id="rId1" Type="http://schemas.openxmlformats.org/officeDocument/2006/relationships/tags" Target="../tags/tag63.xml"/><Relationship Id="rId4" Type="http://schemas.openxmlformats.org/officeDocument/2006/relationships/image" Target="../media/image10.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4.xml"/><Relationship Id="rId1" Type="http://schemas.openxmlformats.org/officeDocument/2006/relationships/tags" Target="../tags/tag64.xml"/><Relationship Id="rId4" Type="http://schemas.openxmlformats.org/officeDocument/2006/relationships/image" Target="../media/image7.emf"/></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4.xml"/><Relationship Id="rId1" Type="http://schemas.openxmlformats.org/officeDocument/2006/relationships/tags" Target="../tags/tag65.xml"/><Relationship Id="rId4" Type="http://schemas.openxmlformats.org/officeDocument/2006/relationships/image" Target="../media/image11.emf"/></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4.xml"/><Relationship Id="rId1" Type="http://schemas.openxmlformats.org/officeDocument/2006/relationships/tags" Target="../tags/tag66.xml"/><Relationship Id="rId4" Type="http://schemas.openxmlformats.org/officeDocument/2006/relationships/image" Target="../media/image11.emf"/></Relationships>
</file>

<file path=ppt/slideLayouts/_rels/slideLayout203.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4.xml"/><Relationship Id="rId1" Type="http://schemas.openxmlformats.org/officeDocument/2006/relationships/tags" Target="../tags/tag67.xml"/><Relationship Id="rId4" Type="http://schemas.openxmlformats.org/officeDocument/2006/relationships/image" Target="../media/image11.emf"/></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4.xml"/><Relationship Id="rId1" Type="http://schemas.openxmlformats.org/officeDocument/2006/relationships/tags" Target="../tags/tag68.xml"/><Relationship Id="rId4" Type="http://schemas.openxmlformats.org/officeDocument/2006/relationships/image" Target="../media/image11.emf"/></Relationships>
</file>

<file path=ppt/slideLayouts/_rels/slideLayout205.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4.xml"/><Relationship Id="rId1" Type="http://schemas.openxmlformats.org/officeDocument/2006/relationships/tags" Target="../tags/tag69.xml"/><Relationship Id="rId4" Type="http://schemas.openxmlformats.org/officeDocument/2006/relationships/image" Target="../media/image11.emf"/></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4.xml"/><Relationship Id="rId1" Type="http://schemas.openxmlformats.org/officeDocument/2006/relationships/tags" Target="../tags/tag70.xml"/><Relationship Id="rId4" Type="http://schemas.openxmlformats.org/officeDocument/2006/relationships/image" Target="../media/image11.emf"/></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4.xml"/><Relationship Id="rId1" Type="http://schemas.openxmlformats.org/officeDocument/2006/relationships/tags" Target="../tags/tag71.xml"/><Relationship Id="rId4" Type="http://schemas.openxmlformats.org/officeDocument/2006/relationships/image" Target="../media/image12.emf"/></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4.xml"/><Relationship Id="rId1" Type="http://schemas.openxmlformats.org/officeDocument/2006/relationships/tags" Target="../tags/tag72.xml"/><Relationship Id="rId4" Type="http://schemas.openxmlformats.org/officeDocument/2006/relationships/image" Target="../media/image11.emf"/></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4.xml"/><Relationship Id="rId1" Type="http://schemas.openxmlformats.org/officeDocument/2006/relationships/tags" Target="../tags/tag73.xml"/><Relationship Id="rId4" Type="http://schemas.openxmlformats.org/officeDocument/2006/relationships/image" Target="../media/image11.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4.xml"/><Relationship Id="rId1" Type="http://schemas.openxmlformats.org/officeDocument/2006/relationships/tags" Target="../tags/tag74.xml"/><Relationship Id="rId5" Type="http://schemas.openxmlformats.org/officeDocument/2006/relationships/image" Target="../media/image11.emf"/><Relationship Id="rId4" Type="http://schemas.openxmlformats.org/officeDocument/2006/relationships/oleObject" Target="../embeddings/oleObject62.bin"/></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4.xml"/><Relationship Id="rId1" Type="http://schemas.openxmlformats.org/officeDocument/2006/relationships/tags" Target="../tags/tag75.xml"/><Relationship Id="rId4" Type="http://schemas.openxmlformats.org/officeDocument/2006/relationships/image" Target="../media/image11.emf"/></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4.xml"/><Relationship Id="rId1" Type="http://schemas.openxmlformats.org/officeDocument/2006/relationships/tags" Target="../tags/tag76.xml"/><Relationship Id="rId4" Type="http://schemas.openxmlformats.org/officeDocument/2006/relationships/image" Target="../media/image10.emf"/></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4.xml"/><Relationship Id="rId1" Type="http://schemas.openxmlformats.org/officeDocument/2006/relationships/tags" Target="../tags/tag77.xml"/><Relationship Id="rId4" Type="http://schemas.openxmlformats.org/officeDocument/2006/relationships/image" Target="../media/image7.emf"/></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4.xml"/><Relationship Id="rId1" Type="http://schemas.openxmlformats.org/officeDocument/2006/relationships/tags" Target="../tags/tag78.xml"/><Relationship Id="rId4" Type="http://schemas.openxmlformats.org/officeDocument/2006/relationships/image" Target="../media/image7.emf"/></Relationships>
</file>

<file path=ppt/slideLayouts/_rels/slideLayout21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4.xml"/><Relationship Id="rId1" Type="http://schemas.openxmlformats.org/officeDocument/2006/relationships/tags" Target="../tags/tag79.xml"/><Relationship Id="rId4" Type="http://schemas.openxmlformats.org/officeDocument/2006/relationships/image" Target="../media/image11.emf"/></Relationships>
</file>

<file path=ppt/slideLayouts/_rels/slideLayout21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4.xml"/><Relationship Id="rId1" Type="http://schemas.openxmlformats.org/officeDocument/2006/relationships/tags" Target="../tags/tag80.xml"/><Relationship Id="rId4" Type="http://schemas.openxmlformats.org/officeDocument/2006/relationships/image" Target="../media/image11.emf"/></Relationships>
</file>

<file path=ppt/slideLayouts/_rels/slideLayout21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4.xml"/><Relationship Id="rId1" Type="http://schemas.openxmlformats.org/officeDocument/2006/relationships/tags" Target="../tags/tag81.xml"/><Relationship Id="rId4" Type="http://schemas.openxmlformats.org/officeDocument/2006/relationships/image" Target="../media/image11.emf"/></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4.xml"/><Relationship Id="rId1" Type="http://schemas.openxmlformats.org/officeDocument/2006/relationships/tags" Target="../tags/tag82.xml"/><Relationship Id="rId4" Type="http://schemas.openxmlformats.org/officeDocument/2006/relationships/image" Target="../media/image11.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4.xml"/><Relationship Id="rId1" Type="http://schemas.openxmlformats.org/officeDocument/2006/relationships/tags" Target="../tags/tag83.xml"/><Relationship Id="rId4" Type="http://schemas.openxmlformats.org/officeDocument/2006/relationships/image" Target="../media/image14.emf"/></Relationships>
</file>

<file path=ppt/slideLayouts/_rels/slideLayout221.xml.rels><?xml version="1.0" encoding="UTF-8" standalone="yes"?>
<Relationships xmlns="http://schemas.openxmlformats.org/package/2006/relationships"><Relationship Id="rId3" Type="http://schemas.openxmlformats.org/officeDocument/2006/relationships/oleObject" Target="../embeddings/oleObject70.bin"/><Relationship Id="rId7" Type="http://schemas.openxmlformats.org/officeDocument/2006/relationships/image" Target="../media/image17.emf"/><Relationship Id="rId2" Type="http://schemas.openxmlformats.org/officeDocument/2006/relationships/slideMaster" Target="../slideMasters/slideMaster4.xml"/><Relationship Id="rId1" Type="http://schemas.openxmlformats.org/officeDocument/2006/relationships/tags" Target="../tags/tag84.xml"/><Relationship Id="rId6" Type="http://schemas.openxmlformats.org/officeDocument/2006/relationships/image" Target="../media/image16.svg"/><Relationship Id="rId5" Type="http://schemas.openxmlformats.org/officeDocument/2006/relationships/image" Target="../media/image3.png"/><Relationship Id="rId4" Type="http://schemas.openxmlformats.org/officeDocument/2006/relationships/image" Target="../media/image15.emf"/></Relationships>
</file>

<file path=ppt/slideLayouts/_rels/slideLayout222.xml.rels><?xml version="1.0" encoding="UTF-8" standalone="yes"?>
<Relationships xmlns="http://schemas.openxmlformats.org/package/2006/relationships"><Relationship Id="rId3" Type="http://schemas.openxmlformats.org/officeDocument/2006/relationships/oleObject" Target="../embeddings/oleObject70.bin"/><Relationship Id="rId7" Type="http://schemas.openxmlformats.org/officeDocument/2006/relationships/image" Target="../media/image18.emf"/><Relationship Id="rId2" Type="http://schemas.openxmlformats.org/officeDocument/2006/relationships/slideMaster" Target="../slideMasters/slideMaster4.xml"/><Relationship Id="rId1" Type="http://schemas.openxmlformats.org/officeDocument/2006/relationships/tags" Target="../tags/tag85.xml"/><Relationship Id="rId6" Type="http://schemas.openxmlformats.org/officeDocument/2006/relationships/image" Target="../media/image9.svg"/><Relationship Id="rId5" Type="http://schemas.openxmlformats.org/officeDocument/2006/relationships/image" Target="../media/image1.png"/><Relationship Id="rId4" Type="http://schemas.openxmlformats.org/officeDocument/2006/relationships/image" Target="../media/image15.emf"/></Relationships>
</file>

<file path=ppt/slideLayouts/_rels/slideLayout223.xml.rels><?xml version="1.0" encoding="UTF-8" standalone="yes"?>
<Relationships xmlns="http://schemas.openxmlformats.org/package/2006/relationships"><Relationship Id="rId3" Type="http://schemas.openxmlformats.org/officeDocument/2006/relationships/oleObject" Target="../embeddings/oleObject71.bin"/><Relationship Id="rId7" Type="http://schemas.openxmlformats.org/officeDocument/2006/relationships/image" Target="../media/image18.emf"/><Relationship Id="rId2" Type="http://schemas.openxmlformats.org/officeDocument/2006/relationships/slideMaster" Target="../slideMasters/slideMaster4.xml"/><Relationship Id="rId1" Type="http://schemas.openxmlformats.org/officeDocument/2006/relationships/tags" Target="../tags/tag86.xml"/><Relationship Id="rId6" Type="http://schemas.openxmlformats.org/officeDocument/2006/relationships/image" Target="../media/image9.svg"/><Relationship Id="rId5" Type="http://schemas.openxmlformats.org/officeDocument/2006/relationships/image" Target="../media/image1.png"/><Relationship Id="rId4" Type="http://schemas.openxmlformats.org/officeDocument/2006/relationships/image" Target="../media/image15.emf"/></Relationships>
</file>

<file path=ppt/slideLayouts/_rels/slideLayout224.xml.rels><?xml version="1.0" encoding="UTF-8" standalone="yes"?>
<Relationships xmlns="http://schemas.openxmlformats.org/package/2006/relationships"><Relationship Id="rId3" Type="http://schemas.openxmlformats.org/officeDocument/2006/relationships/oleObject" Target="../embeddings/oleObject72.bin"/><Relationship Id="rId7" Type="http://schemas.openxmlformats.org/officeDocument/2006/relationships/image" Target="../media/image17.emf"/><Relationship Id="rId2" Type="http://schemas.openxmlformats.org/officeDocument/2006/relationships/slideMaster" Target="../slideMasters/slideMaster4.xml"/><Relationship Id="rId1" Type="http://schemas.openxmlformats.org/officeDocument/2006/relationships/tags" Target="../tags/tag87.xml"/><Relationship Id="rId6" Type="http://schemas.openxmlformats.org/officeDocument/2006/relationships/image" Target="../media/image16.svg"/><Relationship Id="rId5" Type="http://schemas.openxmlformats.org/officeDocument/2006/relationships/image" Target="../media/image3.png"/><Relationship Id="rId4" Type="http://schemas.openxmlformats.org/officeDocument/2006/relationships/image" Target="../media/image15.emf"/></Relationships>
</file>

<file path=ppt/slideLayouts/_rels/slideLayout225.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image" Target="../media/image19.png"/><Relationship Id="rId7" Type="http://schemas.openxmlformats.org/officeDocument/2006/relationships/image" Target="../media/image16.svg"/><Relationship Id="rId2" Type="http://schemas.openxmlformats.org/officeDocument/2006/relationships/slideMaster" Target="../slideMasters/slideMaster4.xml"/><Relationship Id="rId1" Type="http://schemas.openxmlformats.org/officeDocument/2006/relationships/tags" Target="../tags/tag88.xml"/><Relationship Id="rId6" Type="http://schemas.openxmlformats.org/officeDocument/2006/relationships/image" Target="../media/image3.png"/><Relationship Id="rId5" Type="http://schemas.openxmlformats.org/officeDocument/2006/relationships/image" Target="../media/image15.emf"/><Relationship Id="rId4" Type="http://schemas.openxmlformats.org/officeDocument/2006/relationships/oleObject" Target="../embeddings/oleObject73.bin"/></Relationships>
</file>

<file path=ppt/slideLayouts/_rels/slideLayout226.xml.rels><?xml version="1.0" encoding="UTF-8" standalone="yes"?>
<Relationships xmlns="http://schemas.openxmlformats.org/package/2006/relationships"><Relationship Id="rId3" Type="http://schemas.openxmlformats.org/officeDocument/2006/relationships/oleObject" Target="../embeddings/oleObject74.bin"/><Relationship Id="rId7" Type="http://schemas.openxmlformats.org/officeDocument/2006/relationships/image" Target="../media/image18.emf"/><Relationship Id="rId2" Type="http://schemas.openxmlformats.org/officeDocument/2006/relationships/slideMaster" Target="../slideMasters/slideMaster4.xml"/><Relationship Id="rId1" Type="http://schemas.openxmlformats.org/officeDocument/2006/relationships/tags" Target="../tags/tag89.xml"/><Relationship Id="rId6" Type="http://schemas.openxmlformats.org/officeDocument/2006/relationships/image" Target="../media/image9.svg"/><Relationship Id="rId5" Type="http://schemas.openxmlformats.org/officeDocument/2006/relationships/image" Target="../media/image1.png"/><Relationship Id="rId4" Type="http://schemas.openxmlformats.org/officeDocument/2006/relationships/image" Target="../media/image15.emf"/></Relationships>
</file>

<file path=ppt/slideLayouts/_rels/slideLayout227.xml.rels><?xml version="1.0" encoding="UTF-8" standalone="yes"?>
<Relationships xmlns="http://schemas.openxmlformats.org/package/2006/relationships"><Relationship Id="rId3" Type="http://schemas.openxmlformats.org/officeDocument/2006/relationships/oleObject" Target="../embeddings/oleObject75.bin"/><Relationship Id="rId7" Type="http://schemas.openxmlformats.org/officeDocument/2006/relationships/image" Target="../media/image17.emf"/><Relationship Id="rId2" Type="http://schemas.openxmlformats.org/officeDocument/2006/relationships/slideMaster" Target="../slideMasters/slideMaster4.xml"/><Relationship Id="rId1" Type="http://schemas.openxmlformats.org/officeDocument/2006/relationships/tags" Target="../tags/tag90.xml"/><Relationship Id="rId6" Type="http://schemas.openxmlformats.org/officeDocument/2006/relationships/image" Target="../media/image16.svg"/><Relationship Id="rId5" Type="http://schemas.openxmlformats.org/officeDocument/2006/relationships/image" Target="../media/image3.png"/><Relationship Id="rId4" Type="http://schemas.openxmlformats.org/officeDocument/2006/relationships/image" Target="../media/image15.emf"/></Relationships>
</file>

<file path=ppt/slideLayouts/_rels/slideLayout228.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image" Target="../media/image19.png"/><Relationship Id="rId7" Type="http://schemas.openxmlformats.org/officeDocument/2006/relationships/image" Target="../media/image16.svg"/><Relationship Id="rId2" Type="http://schemas.openxmlformats.org/officeDocument/2006/relationships/slideMaster" Target="../slideMasters/slideMaster4.xml"/><Relationship Id="rId1" Type="http://schemas.openxmlformats.org/officeDocument/2006/relationships/tags" Target="../tags/tag91.xml"/><Relationship Id="rId6" Type="http://schemas.openxmlformats.org/officeDocument/2006/relationships/image" Target="../media/image3.png"/><Relationship Id="rId5" Type="http://schemas.openxmlformats.org/officeDocument/2006/relationships/image" Target="../media/image15.emf"/><Relationship Id="rId4" Type="http://schemas.openxmlformats.org/officeDocument/2006/relationships/oleObject" Target="../embeddings/oleObject76.bin"/></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4.xml"/><Relationship Id="rId1" Type="http://schemas.openxmlformats.org/officeDocument/2006/relationships/tags" Target="../tags/tag92.xml"/><Relationship Id="rId4" Type="http://schemas.openxmlformats.org/officeDocument/2006/relationships/image" Target="../media/image14.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4.xml"/><Relationship Id="rId1" Type="http://schemas.openxmlformats.org/officeDocument/2006/relationships/tags" Target="../tags/tag93.xml"/><Relationship Id="rId6" Type="http://schemas.openxmlformats.org/officeDocument/2006/relationships/image" Target="../media/image9.svg"/><Relationship Id="rId5" Type="http://schemas.openxmlformats.org/officeDocument/2006/relationships/image" Target="../media/image1.png"/><Relationship Id="rId4" Type="http://schemas.openxmlformats.org/officeDocument/2006/relationships/image" Target="../media/image15.emf"/></Relationships>
</file>

<file path=ppt/slideLayouts/_rels/slideLayout231.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4.xml"/><Relationship Id="rId1" Type="http://schemas.openxmlformats.org/officeDocument/2006/relationships/tags" Target="../tags/tag94.xml"/><Relationship Id="rId6" Type="http://schemas.openxmlformats.org/officeDocument/2006/relationships/image" Target="../media/image16.svg"/><Relationship Id="rId5" Type="http://schemas.openxmlformats.org/officeDocument/2006/relationships/image" Target="../media/image3.png"/><Relationship Id="rId4" Type="http://schemas.openxmlformats.org/officeDocument/2006/relationships/image" Target="../media/image15.emf"/></Relationships>
</file>

<file path=ppt/slideLayouts/_rels/slideLayout232.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4.xml"/><Relationship Id="rId1" Type="http://schemas.openxmlformats.org/officeDocument/2006/relationships/tags" Target="../tags/tag95.xml"/><Relationship Id="rId4" Type="http://schemas.openxmlformats.org/officeDocument/2006/relationships/image" Target="../media/image10.emf"/></Relationships>
</file>

<file path=ppt/slideLayouts/_rels/slideLayout233.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4.xml"/><Relationship Id="rId1" Type="http://schemas.openxmlformats.org/officeDocument/2006/relationships/tags" Target="../tags/tag96.xml"/><Relationship Id="rId4" Type="http://schemas.openxmlformats.org/officeDocument/2006/relationships/image" Target="../media/image7.emf"/></Relationships>
</file>

<file path=ppt/slideLayouts/_rels/slideLayout234.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4.xml"/><Relationship Id="rId1" Type="http://schemas.openxmlformats.org/officeDocument/2006/relationships/tags" Target="../tags/tag97.xml"/><Relationship Id="rId4" Type="http://schemas.openxmlformats.org/officeDocument/2006/relationships/image" Target="../media/image7.emf"/></Relationships>
</file>

<file path=ppt/slideLayouts/_rels/slideLayout235.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4.xml"/><Relationship Id="rId1" Type="http://schemas.openxmlformats.org/officeDocument/2006/relationships/tags" Target="../tags/tag98.xml"/><Relationship Id="rId4" Type="http://schemas.openxmlformats.org/officeDocument/2006/relationships/image" Target="../media/image10.emf"/></Relationships>
</file>

<file path=ppt/slideLayouts/_rels/slideLayout236.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4.xml"/><Relationship Id="rId1" Type="http://schemas.openxmlformats.org/officeDocument/2006/relationships/tags" Target="../tags/tag99.xml"/><Relationship Id="rId4" Type="http://schemas.openxmlformats.org/officeDocument/2006/relationships/image" Target="../media/image20.emf"/></Relationships>
</file>

<file path=ppt/slideLayouts/_rels/slideLayout237.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4.xml"/><Relationship Id="rId1" Type="http://schemas.openxmlformats.org/officeDocument/2006/relationships/tags" Target="../tags/tag100.xml"/><Relationship Id="rId4" Type="http://schemas.openxmlformats.org/officeDocument/2006/relationships/image" Target="../media/image20.emf"/></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101.xml"/><Relationship Id="rId5" Type="http://schemas.openxmlformats.org/officeDocument/2006/relationships/image" Target="../media/image20.emf"/><Relationship Id="rId4" Type="http://schemas.openxmlformats.org/officeDocument/2006/relationships/oleObject" Target="../embeddings/oleObject85.bin"/></Relationships>
</file>

<file path=ppt/slideLayouts/_rels/slideLayout239.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4.xml"/><Relationship Id="rId1" Type="http://schemas.openxmlformats.org/officeDocument/2006/relationships/tags" Target="../tags/tag102.xml"/><Relationship Id="rId4" Type="http://schemas.openxmlformats.org/officeDocument/2006/relationships/image" Target="../media/image10.emf"/></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4.xml"/><Relationship Id="rId1" Type="http://schemas.openxmlformats.org/officeDocument/2006/relationships/tags" Target="../tags/tag103.xml"/><Relationship Id="rId4" Type="http://schemas.openxmlformats.org/officeDocument/2006/relationships/image" Target="../media/image22.emf"/></Relationships>
</file>

<file path=ppt/slideLayouts/_rels/slideLayout241.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4.xml"/><Relationship Id="rId1" Type="http://schemas.openxmlformats.org/officeDocument/2006/relationships/tags" Target="../tags/tag104.xml"/><Relationship Id="rId4" Type="http://schemas.openxmlformats.org/officeDocument/2006/relationships/image" Target="../media/image22.emf"/></Relationships>
</file>

<file path=ppt/slideLayouts/_rels/slideLayout242.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4.xml"/><Relationship Id="rId1" Type="http://schemas.openxmlformats.org/officeDocument/2006/relationships/tags" Target="../tags/tag105.xml"/><Relationship Id="rId4" Type="http://schemas.openxmlformats.org/officeDocument/2006/relationships/image" Target="../media/image22.emf"/></Relationships>
</file>

<file path=ppt/slideLayouts/_rels/slideLayout243.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4.xml"/><Relationship Id="rId1" Type="http://schemas.openxmlformats.org/officeDocument/2006/relationships/tags" Target="../tags/tag106.xml"/><Relationship Id="rId4" Type="http://schemas.openxmlformats.org/officeDocument/2006/relationships/image" Target="../media/image22.emf"/></Relationships>
</file>

<file path=ppt/slideLayouts/_rels/slideLayout244.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4.xml"/><Relationship Id="rId1" Type="http://schemas.openxmlformats.org/officeDocument/2006/relationships/tags" Target="../tags/tag107.xml"/><Relationship Id="rId4" Type="http://schemas.openxmlformats.org/officeDocument/2006/relationships/image" Target="../media/image22.emf"/></Relationships>
</file>

<file path=ppt/slideLayouts/_rels/slideLayout245.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4.xml"/><Relationship Id="rId1" Type="http://schemas.openxmlformats.org/officeDocument/2006/relationships/tags" Target="../tags/tag108.xml"/><Relationship Id="rId4" Type="http://schemas.openxmlformats.org/officeDocument/2006/relationships/image" Target="../media/image10.emf"/></Relationships>
</file>

<file path=ppt/slideLayouts/_rels/slideLayout246.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4.xml"/><Relationship Id="rId1" Type="http://schemas.openxmlformats.org/officeDocument/2006/relationships/tags" Target="../tags/tag109.xml"/><Relationship Id="rId4" Type="http://schemas.openxmlformats.org/officeDocument/2006/relationships/image" Target="../media/image23.emf"/></Relationships>
</file>

<file path=ppt/slideLayouts/_rels/slideLayout247.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4.xml"/><Relationship Id="rId1" Type="http://schemas.openxmlformats.org/officeDocument/2006/relationships/tags" Target="../tags/tag110.xml"/><Relationship Id="rId4" Type="http://schemas.openxmlformats.org/officeDocument/2006/relationships/image" Target="../media/image23.emf"/></Relationships>
</file>

<file path=ppt/slideLayouts/_rels/slideLayout248.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4.xml"/><Relationship Id="rId1" Type="http://schemas.openxmlformats.org/officeDocument/2006/relationships/tags" Target="../tags/tag111.xml"/><Relationship Id="rId4" Type="http://schemas.openxmlformats.org/officeDocument/2006/relationships/image" Target="../media/image14.emf"/></Relationships>
</file>

<file path=ppt/slideLayouts/_rels/slideLayout249.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4.xml"/><Relationship Id="rId1" Type="http://schemas.openxmlformats.org/officeDocument/2006/relationships/tags" Target="../tags/tag112.xml"/><Relationship Id="rId4" Type="http://schemas.openxmlformats.org/officeDocument/2006/relationships/image" Target="../media/image12.emf"/></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4.xml"/><Relationship Id="rId1" Type="http://schemas.openxmlformats.org/officeDocument/2006/relationships/tags" Target="../tags/tag113.xml"/><Relationship Id="rId4" Type="http://schemas.openxmlformats.org/officeDocument/2006/relationships/image" Target="../media/image12.emf"/></Relationships>
</file>

<file path=ppt/slideLayouts/_rels/slideLayout251.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4.xml"/><Relationship Id="rId1" Type="http://schemas.openxmlformats.org/officeDocument/2006/relationships/tags" Target="../tags/tag114.xml"/><Relationship Id="rId4" Type="http://schemas.openxmlformats.org/officeDocument/2006/relationships/image" Target="../media/image12.emf"/></Relationships>
</file>

<file path=ppt/slideLayouts/_rels/slideLayout252.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4.xml"/><Relationship Id="rId1" Type="http://schemas.openxmlformats.org/officeDocument/2006/relationships/tags" Target="../tags/tag115.xml"/><Relationship Id="rId4" Type="http://schemas.openxmlformats.org/officeDocument/2006/relationships/image" Target="../media/image12.emf"/></Relationships>
</file>

<file path=ppt/slideLayouts/_rels/slideLayout253.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4.xml"/><Relationship Id="rId1" Type="http://schemas.openxmlformats.org/officeDocument/2006/relationships/tags" Target="../tags/tag116.xml"/><Relationship Id="rId4" Type="http://schemas.openxmlformats.org/officeDocument/2006/relationships/image" Target="../media/image14.emf"/></Relationships>
</file>

<file path=ppt/slideLayouts/_rels/slideLayout254.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4.xml"/><Relationship Id="rId1" Type="http://schemas.openxmlformats.org/officeDocument/2006/relationships/tags" Target="../tags/tag117.xml"/><Relationship Id="rId6" Type="http://schemas.openxmlformats.org/officeDocument/2006/relationships/image" Target="../media/image9.svg"/><Relationship Id="rId5" Type="http://schemas.openxmlformats.org/officeDocument/2006/relationships/image" Target="../media/image1.png"/><Relationship Id="rId4" Type="http://schemas.openxmlformats.org/officeDocument/2006/relationships/image" Target="../media/image24.emf"/></Relationships>
</file>

<file path=ppt/slideLayouts/_rels/slideLayout255.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4.xml"/><Relationship Id="rId1" Type="http://schemas.openxmlformats.org/officeDocument/2006/relationships/tags" Target="../tags/tag118.xml"/><Relationship Id="rId6" Type="http://schemas.openxmlformats.org/officeDocument/2006/relationships/image" Target="../media/image16.svg"/><Relationship Id="rId5" Type="http://schemas.openxmlformats.org/officeDocument/2006/relationships/image" Target="../media/image3.png"/><Relationship Id="rId4" Type="http://schemas.openxmlformats.org/officeDocument/2006/relationships/image" Target="../media/image24.emf"/></Relationships>
</file>

<file path=ppt/slideLayouts/_rels/slideLayout256.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4.xml"/><Relationship Id="rId1" Type="http://schemas.openxmlformats.org/officeDocument/2006/relationships/tags" Target="../tags/tag119.xml"/><Relationship Id="rId6" Type="http://schemas.openxmlformats.org/officeDocument/2006/relationships/image" Target="../media/image9.svg"/><Relationship Id="rId5" Type="http://schemas.openxmlformats.org/officeDocument/2006/relationships/image" Target="../media/image1.png"/><Relationship Id="rId4" Type="http://schemas.openxmlformats.org/officeDocument/2006/relationships/image" Target="../media/image24.emf"/></Relationships>
</file>

<file path=ppt/slideLayouts/_rels/slideLayout257.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4.xml"/><Relationship Id="rId1" Type="http://schemas.openxmlformats.org/officeDocument/2006/relationships/tags" Target="../tags/tag120.xml"/><Relationship Id="rId6" Type="http://schemas.openxmlformats.org/officeDocument/2006/relationships/image" Target="../media/image16.svg"/><Relationship Id="rId5" Type="http://schemas.openxmlformats.org/officeDocument/2006/relationships/image" Target="../media/image3.png"/><Relationship Id="rId4" Type="http://schemas.openxmlformats.org/officeDocument/2006/relationships/image" Target="../media/image24.emf"/></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4.xml"/><Relationship Id="rId1" Type="http://schemas.openxmlformats.org/officeDocument/2006/relationships/tags" Target="../tags/tag121.xml"/><Relationship Id="rId4" Type="http://schemas.openxmlformats.org/officeDocument/2006/relationships/image" Target="../media/image7.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0.xml"/><Relationship Id="rId1" Type="http://schemas.openxmlformats.org/officeDocument/2006/relationships/tags" Target="../tags/tag129.xml"/><Relationship Id="rId5" Type="http://schemas.openxmlformats.org/officeDocument/2006/relationships/image" Target="../media/image26.png"/><Relationship Id="rId4" Type="http://schemas.openxmlformats.org/officeDocument/2006/relationships/image" Target="../media/image25.png"/></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image" Target="../media/image28.png"/><Relationship Id="rId5" Type="http://schemas.openxmlformats.org/officeDocument/2006/relationships/image" Target="../media/image26.png"/><Relationship Id="rId4" Type="http://schemas.openxmlformats.org/officeDocument/2006/relationships/image" Target="../media/image27.jpg"/></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6.xml"/><Relationship Id="rId1" Type="http://schemas.openxmlformats.org/officeDocument/2006/relationships/tags" Target="../tags/tag134.xml"/><Relationship Id="rId4" Type="http://schemas.openxmlformats.org/officeDocument/2006/relationships/image" Target="../media/image10.emf"/></Relationships>
</file>

<file path=ppt/slideLayouts/_rels/slideLayout274.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6.xml"/><Relationship Id="rId1" Type="http://schemas.openxmlformats.org/officeDocument/2006/relationships/tags" Target="../tags/tag135.xml"/><Relationship Id="rId4" Type="http://schemas.openxmlformats.org/officeDocument/2006/relationships/image" Target="../media/image7.emf"/></Relationships>
</file>

<file path=ppt/slideLayouts/_rels/slideLayout275.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6.xml"/><Relationship Id="rId1" Type="http://schemas.openxmlformats.org/officeDocument/2006/relationships/tags" Target="../tags/tag136.xml"/><Relationship Id="rId4" Type="http://schemas.openxmlformats.org/officeDocument/2006/relationships/image" Target="../media/image11.emf"/></Relationships>
</file>

<file path=ppt/slideLayouts/_rels/slideLayout276.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6.xml"/><Relationship Id="rId1" Type="http://schemas.openxmlformats.org/officeDocument/2006/relationships/tags" Target="../tags/tag137.xml"/><Relationship Id="rId4" Type="http://schemas.openxmlformats.org/officeDocument/2006/relationships/image" Target="../media/image11.emf"/></Relationships>
</file>

<file path=ppt/slideLayouts/_rels/slideLayout277.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6.xml"/><Relationship Id="rId1" Type="http://schemas.openxmlformats.org/officeDocument/2006/relationships/tags" Target="../tags/tag138.xml"/><Relationship Id="rId4" Type="http://schemas.openxmlformats.org/officeDocument/2006/relationships/image" Target="../media/image11.emf"/></Relationships>
</file>

<file path=ppt/slideLayouts/_rels/slideLayout278.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6.xml"/><Relationship Id="rId1" Type="http://schemas.openxmlformats.org/officeDocument/2006/relationships/tags" Target="../tags/tag139.xml"/><Relationship Id="rId4" Type="http://schemas.openxmlformats.org/officeDocument/2006/relationships/image" Target="../media/image11.emf"/></Relationships>
</file>

<file path=ppt/slideLayouts/_rels/slideLayout279.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6.xml"/><Relationship Id="rId1" Type="http://schemas.openxmlformats.org/officeDocument/2006/relationships/tags" Target="../tags/tag140.xml"/><Relationship Id="rId4" Type="http://schemas.openxmlformats.org/officeDocument/2006/relationships/image" Target="../media/image11.emf"/></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6.xml"/><Relationship Id="rId1" Type="http://schemas.openxmlformats.org/officeDocument/2006/relationships/tags" Target="../tags/tag141.xml"/><Relationship Id="rId4" Type="http://schemas.openxmlformats.org/officeDocument/2006/relationships/image" Target="../media/image11.emf"/></Relationships>
</file>

<file path=ppt/slideLayouts/_rels/slideLayout281.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6.xml"/><Relationship Id="rId1" Type="http://schemas.openxmlformats.org/officeDocument/2006/relationships/tags" Target="../tags/tag142.xml"/><Relationship Id="rId4" Type="http://schemas.openxmlformats.org/officeDocument/2006/relationships/image" Target="../media/image12.emf"/></Relationships>
</file>

<file path=ppt/slideLayouts/_rels/slideLayout282.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6.xml"/><Relationship Id="rId1" Type="http://schemas.openxmlformats.org/officeDocument/2006/relationships/tags" Target="../tags/tag143.xml"/><Relationship Id="rId4" Type="http://schemas.openxmlformats.org/officeDocument/2006/relationships/image" Target="../media/image11.emf"/></Relationships>
</file>

<file path=ppt/slideLayouts/_rels/slideLayout283.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6.xml"/><Relationship Id="rId1" Type="http://schemas.openxmlformats.org/officeDocument/2006/relationships/tags" Target="../tags/tag144.xml"/><Relationship Id="rId4" Type="http://schemas.openxmlformats.org/officeDocument/2006/relationships/image" Target="../media/image11.emf"/></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6.xml"/><Relationship Id="rId1" Type="http://schemas.openxmlformats.org/officeDocument/2006/relationships/tags" Target="../tags/tag145.xml"/><Relationship Id="rId5" Type="http://schemas.openxmlformats.org/officeDocument/2006/relationships/image" Target="../media/image11.emf"/><Relationship Id="rId4" Type="http://schemas.openxmlformats.org/officeDocument/2006/relationships/oleObject" Target="../embeddings/oleObject109.bin"/></Relationships>
</file>

<file path=ppt/slideLayouts/_rels/slideLayout285.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6.xml"/><Relationship Id="rId1" Type="http://schemas.openxmlformats.org/officeDocument/2006/relationships/tags" Target="../tags/tag146.xml"/><Relationship Id="rId4" Type="http://schemas.openxmlformats.org/officeDocument/2006/relationships/image" Target="../media/image11.emf"/></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7.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6.xml"/><Relationship Id="rId1" Type="http://schemas.openxmlformats.org/officeDocument/2006/relationships/tags" Target="../tags/tag147.xml"/><Relationship Id="rId4" Type="http://schemas.openxmlformats.org/officeDocument/2006/relationships/image" Target="../media/image10.emf"/></Relationships>
</file>

<file path=ppt/slideLayouts/_rels/slideLayout288.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6.xml"/><Relationship Id="rId1" Type="http://schemas.openxmlformats.org/officeDocument/2006/relationships/tags" Target="../tags/tag148.xml"/><Relationship Id="rId4" Type="http://schemas.openxmlformats.org/officeDocument/2006/relationships/image" Target="../media/image7.emf"/></Relationships>
</file>

<file path=ppt/slideLayouts/_rels/slideLayout289.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6.xml"/><Relationship Id="rId1" Type="http://schemas.openxmlformats.org/officeDocument/2006/relationships/tags" Target="../tags/tag149.xml"/><Relationship Id="rId4" Type="http://schemas.openxmlformats.org/officeDocument/2006/relationships/image" Target="../media/image7.emf"/></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6.xml"/><Relationship Id="rId1" Type="http://schemas.openxmlformats.org/officeDocument/2006/relationships/tags" Target="../tags/tag150.xml"/><Relationship Id="rId4" Type="http://schemas.openxmlformats.org/officeDocument/2006/relationships/image" Target="../media/image11.emf"/></Relationships>
</file>

<file path=ppt/slideLayouts/_rels/slideLayout291.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6.xml"/><Relationship Id="rId1" Type="http://schemas.openxmlformats.org/officeDocument/2006/relationships/tags" Target="../tags/tag151.xml"/><Relationship Id="rId4" Type="http://schemas.openxmlformats.org/officeDocument/2006/relationships/image" Target="../media/image11.emf"/></Relationships>
</file>

<file path=ppt/slideLayouts/_rels/slideLayout292.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6.xml"/><Relationship Id="rId1" Type="http://schemas.openxmlformats.org/officeDocument/2006/relationships/tags" Target="../tags/tag152.xml"/><Relationship Id="rId4" Type="http://schemas.openxmlformats.org/officeDocument/2006/relationships/image" Target="../media/image11.emf"/></Relationships>
</file>

<file path=ppt/slideLayouts/_rels/slideLayout293.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6.xml"/><Relationship Id="rId1" Type="http://schemas.openxmlformats.org/officeDocument/2006/relationships/tags" Target="../tags/tag153.xml"/><Relationship Id="rId4" Type="http://schemas.openxmlformats.org/officeDocument/2006/relationships/image" Target="../media/image11.emf"/></Relationships>
</file>

<file path=ppt/slideLayouts/_rels/slideLayout294.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6.xml"/><Relationship Id="rId1" Type="http://schemas.openxmlformats.org/officeDocument/2006/relationships/tags" Target="../tags/tag154.xml"/><Relationship Id="rId4" Type="http://schemas.openxmlformats.org/officeDocument/2006/relationships/image" Target="../media/image14.emf"/></Relationships>
</file>

<file path=ppt/slideLayouts/_rels/slideLayout295.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6.xml"/><Relationship Id="rId1" Type="http://schemas.openxmlformats.org/officeDocument/2006/relationships/tags" Target="../tags/tag155.xml"/><Relationship Id="rId6" Type="http://schemas.openxmlformats.org/officeDocument/2006/relationships/image" Target="../media/image16.svg"/><Relationship Id="rId5" Type="http://schemas.openxmlformats.org/officeDocument/2006/relationships/image" Target="../media/image33.png"/><Relationship Id="rId4" Type="http://schemas.openxmlformats.org/officeDocument/2006/relationships/image" Target="../media/image15.emf"/></Relationships>
</file>

<file path=ppt/slideLayouts/_rels/slideLayout296.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6.xml"/><Relationship Id="rId1" Type="http://schemas.openxmlformats.org/officeDocument/2006/relationships/tags" Target="../tags/tag156.xml"/><Relationship Id="rId6" Type="http://schemas.openxmlformats.org/officeDocument/2006/relationships/image" Target="../media/image9.svg"/><Relationship Id="rId5" Type="http://schemas.openxmlformats.org/officeDocument/2006/relationships/image" Target="../media/image32.png"/><Relationship Id="rId4" Type="http://schemas.openxmlformats.org/officeDocument/2006/relationships/image" Target="../media/image15.emf"/></Relationships>
</file>

<file path=ppt/slideLayouts/_rels/slideLayout297.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6.xml"/><Relationship Id="rId1" Type="http://schemas.openxmlformats.org/officeDocument/2006/relationships/tags" Target="../tags/tag157.xml"/><Relationship Id="rId6" Type="http://schemas.openxmlformats.org/officeDocument/2006/relationships/image" Target="../media/image9.svg"/><Relationship Id="rId5" Type="http://schemas.openxmlformats.org/officeDocument/2006/relationships/image" Target="../media/image32.png"/><Relationship Id="rId4" Type="http://schemas.openxmlformats.org/officeDocument/2006/relationships/image" Target="../media/image15.emf"/></Relationships>
</file>

<file path=ppt/slideLayouts/_rels/slideLayout298.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6.xml"/><Relationship Id="rId1" Type="http://schemas.openxmlformats.org/officeDocument/2006/relationships/tags" Target="../tags/tag158.xml"/><Relationship Id="rId6" Type="http://schemas.openxmlformats.org/officeDocument/2006/relationships/image" Target="../media/image16.svg"/><Relationship Id="rId5" Type="http://schemas.openxmlformats.org/officeDocument/2006/relationships/image" Target="../media/image33.png"/><Relationship Id="rId4" Type="http://schemas.openxmlformats.org/officeDocument/2006/relationships/image" Target="../media/image15.emf"/></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16.svg"/><Relationship Id="rId2" Type="http://schemas.openxmlformats.org/officeDocument/2006/relationships/slideMaster" Target="../slideMasters/slideMaster6.xml"/><Relationship Id="rId1" Type="http://schemas.openxmlformats.org/officeDocument/2006/relationships/tags" Target="../tags/tag159.xml"/><Relationship Id="rId6" Type="http://schemas.openxmlformats.org/officeDocument/2006/relationships/image" Target="../media/image33.png"/><Relationship Id="rId5" Type="http://schemas.openxmlformats.org/officeDocument/2006/relationships/image" Target="../media/image15.emf"/><Relationship Id="rId4" Type="http://schemas.openxmlformats.org/officeDocument/2006/relationships/oleObject" Target="../embeddings/oleObject120.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Master" Target="../slideMasters/slideMaster6.xml"/><Relationship Id="rId1" Type="http://schemas.openxmlformats.org/officeDocument/2006/relationships/tags" Target="../tags/tag160.xml"/><Relationship Id="rId6" Type="http://schemas.openxmlformats.org/officeDocument/2006/relationships/image" Target="../media/image9.svg"/><Relationship Id="rId5" Type="http://schemas.openxmlformats.org/officeDocument/2006/relationships/image" Target="../media/image32.png"/><Relationship Id="rId4" Type="http://schemas.openxmlformats.org/officeDocument/2006/relationships/image" Target="../media/image15.emf"/></Relationships>
</file>

<file path=ppt/slideLayouts/_rels/slideLayout301.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6.xml"/><Relationship Id="rId1" Type="http://schemas.openxmlformats.org/officeDocument/2006/relationships/tags" Target="../tags/tag161.xml"/><Relationship Id="rId6" Type="http://schemas.openxmlformats.org/officeDocument/2006/relationships/image" Target="../media/image16.svg"/><Relationship Id="rId5" Type="http://schemas.openxmlformats.org/officeDocument/2006/relationships/image" Target="../media/image33.png"/><Relationship Id="rId4" Type="http://schemas.openxmlformats.org/officeDocument/2006/relationships/image" Target="../media/image15.emf"/></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16.svg"/><Relationship Id="rId2" Type="http://schemas.openxmlformats.org/officeDocument/2006/relationships/slideMaster" Target="../slideMasters/slideMaster6.xml"/><Relationship Id="rId1" Type="http://schemas.openxmlformats.org/officeDocument/2006/relationships/tags" Target="../tags/tag162.xml"/><Relationship Id="rId6" Type="http://schemas.openxmlformats.org/officeDocument/2006/relationships/image" Target="../media/image33.png"/><Relationship Id="rId5" Type="http://schemas.openxmlformats.org/officeDocument/2006/relationships/image" Target="../media/image15.emf"/><Relationship Id="rId4" Type="http://schemas.openxmlformats.org/officeDocument/2006/relationships/oleObject" Target="../embeddings/oleObject123.bin"/></Relationships>
</file>

<file path=ppt/slideLayouts/_rels/slideLayout303.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Master" Target="../slideMasters/slideMaster6.xml"/><Relationship Id="rId1" Type="http://schemas.openxmlformats.org/officeDocument/2006/relationships/tags" Target="../tags/tag163.xml"/><Relationship Id="rId4" Type="http://schemas.openxmlformats.org/officeDocument/2006/relationships/image" Target="../media/image14.emf"/></Relationships>
</file>

<file path=ppt/slideLayouts/_rels/slideLayout304.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6.xml"/><Relationship Id="rId1" Type="http://schemas.openxmlformats.org/officeDocument/2006/relationships/tags" Target="../tags/tag164.xml"/><Relationship Id="rId6" Type="http://schemas.openxmlformats.org/officeDocument/2006/relationships/image" Target="../media/image9.svg"/><Relationship Id="rId5" Type="http://schemas.openxmlformats.org/officeDocument/2006/relationships/image" Target="../media/image32.png"/><Relationship Id="rId4" Type="http://schemas.openxmlformats.org/officeDocument/2006/relationships/image" Target="../media/image15.emf"/></Relationships>
</file>

<file path=ppt/slideLayouts/_rels/slideLayout305.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Master" Target="../slideMasters/slideMaster6.xml"/><Relationship Id="rId1" Type="http://schemas.openxmlformats.org/officeDocument/2006/relationships/tags" Target="../tags/tag165.xml"/><Relationship Id="rId6" Type="http://schemas.openxmlformats.org/officeDocument/2006/relationships/image" Target="../media/image16.svg"/><Relationship Id="rId5" Type="http://schemas.openxmlformats.org/officeDocument/2006/relationships/image" Target="../media/image33.png"/><Relationship Id="rId4" Type="http://schemas.openxmlformats.org/officeDocument/2006/relationships/image" Target="../media/image15.emf"/></Relationships>
</file>

<file path=ppt/slideLayouts/_rels/slideLayout306.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6.xml"/><Relationship Id="rId1" Type="http://schemas.openxmlformats.org/officeDocument/2006/relationships/tags" Target="../tags/tag166.xml"/><Relationship Id="rId4" Type="http://schemas.openxmlformats.org/officeDocument/2006/relationships/image" Target="../media/image10.emf"/></Relationships>
</file>

<file path=ppt/slideLayouts/_rels/slideLayout307.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6.xml"/><Relationship Id="rId1" Type="http://schemas.openxmlformats.org/officeDocument/2006/relationships/tags" Target="../tags/tag167.xml"/><Relationship Id="rId4" Type="http://schemas.openxmlformats.org/officeDocument/2006/relationships/image" Target="../media/image7.emf"/></Relationships>
</file>

<file path=ppt/slideLayouts/_rels/slideLayout308.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6.xml"/><Relationship Id="rId1" Type="http://schemas.openxmlformats.org/officeDocument/2006/relationships/tags" Target="../tags/tag168.xml"/><Relationship Id="rId4" Type="http://schemas.openxmlformats.org/officeDocument/2006/relationships/image" Target="../media/image7.emf"/></Relationships>
</file>

<file path=ppt/slideLayouts/_rels/slideLayout309.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6.xml"/><Relationship Id="rId1" Type="http://schemas.openxmlformats.org/officeDocument/2006/relationships/tags" Target="../tags/tag169.xml"/><Relationship Id="rId4" Type="http://schemas.openxmlformats.org/officeDocument/2006/relationships/image" Target="../media/image10.emf"/></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6.xml"/><Relationship Id="rId1" Type="http://schemas.openxmlformats.org/officeDocument/2006/relationships/tags" Target="../tags/tag170.xml"/><Relationship Id="rId4" Type="http://schemas.openxmlformats.org/officeDocument/2006/relationships/image" Target="../media/image20.emf"/></Relationships>
</file>

<file path=ppt/slideLayouts/_rels/slideLayout311.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Master" Target="../slideMasters/slideMaster6.xml"/><Relationship Id="rId1" Type="http://schemas.openxmlformats.org/officeDocument/2006/relationships/tags" Target="../tags/tag171.xml"/><Relationship Id="rId4" Type="http://schemas.openxmlformats.org/officeDocument/2006/relationships/image" Target="../media/image20.emf"/></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6.xml"/><Relationship Id="rId1" Type="http://schemas.openxmlformats.org/officeDocument/2006/relationships/tags" Target="../tags/tag172.xml"/><Relationship Id="rId5" Type="http://schemas.openxmlformats.org/officeDocument/2006/relationships/image" Target="../media/image20.emf"/><Relationship Id="rId4" Type="http://schemas.openxmlformats.org/officeDocument/2006/relationships/oleObject" Target="../embeddings/oleObject132.bin"/></Relationships>
</file>

<file path=ppt/slideLayouts/_rels/slideLayout313.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Master" Target="../slideMasters/slideMaster6.xml"/><Relationship Id="rId1" Type="http://schemas.openxmlformats.org/officeDocument/2006/relationships/tags" Target="../tags/tag173.xml"/><Relationship Id="rId4" Type="http://schemas.openxmlformats.org/officeDocument/2006/relationships/image" Target="../media/image10.emf"/></Relationships>
</file>

<file path=ppt/slideLayouts/_rels/slideLayout314.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6.xml"/><Relationship Id="rId1" Type="http://schemas.openxmlformats.org/officeDocument/2006/relationships/tags" Target="../tags/tag174.xml"/><Relationship Id="rId4" Type="http://schemas.openxmlformats.org/officeDocument/2006/relationships/image" Target="../media/image22.emf"/></Relationships>
</file>

<file path=ppt/slideLayouts/_rels/slideLayout315.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6.xml"/><Relationship Id="rId1" Type="http://schemas.openxmlformats.org/officeDocument/2006/relationships/tags" Target="../tags/tag175.xml"/><Relationship Id="rId4" Type="http://schemas.openxmlformats.org/officeDocument/2006/relationships/image" Target="../media/image22.emf"/></Relationships>
</file>

<file path=ppt/slideLayouts/_rels/slideLayout316.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Master" Target="../slideMasters/slideMaster6.xml"/><Relationship Id="rId1" Type="http://schemas.openxmlformats.org/officeDocument/2006/relationships/tags" Target="../tags/tag176.xml"/><Relationship Id="rId4" Type="http://schemas.openxmlformats.org/officeDocument/2006/relationships/image" Target="../media/image22.emf"/></Relationships>
</file>

<file path=ppt/slideLayouts/_rels/slideLayout317.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6.xml"/><Relationship Id="rId1" Type="http://schemas.openxmlformats.org/officeDocument/2006/relationships/tags" Target="../tags/tag177.xml"/><Relationship Id="rId4" Type="http://schemas.openxmlformats.org/officeDocument/2006/relationships/image" Target="../media/image22.emf"/></Relationships>
</file>

<file path=ppt/slideLayouts/_rels/slideLayout318.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6.xml"/><Relationship Id="rId1" Type="http://schemas.openxmlformats.org/officeDocument/2006/relationships/tags" Target="../tags/tag178.xml"/><Relationship Id="rId4" Type="http://schemas.openxmlformats.org/officeDocument/2006/relationships/image" Target="../media/image22.emf"/></Relationships>
</file>

<file path=ppt/slideLayouts/_rels/slideLayout319.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Master" Target="../slideMasters/slideMaster6.xml"/><Relationship Id="rId1" Type="http://schemas.openxmlformats.org/officeDocument/2006/relationships/tags" Target="../tags/tag179.xml"/><Relationship Id="rId4" Type="http://schemas.openxmlformats.org/officeDocument/2006/relationships/image" Target="../media/image10.emf"/></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6.xml"/><Relationship Id="rId1" Type="http://schemas.openxmlformats.org/officeDocument/2006/relationships/tags" Target="../tags/tag180.xml"/><Relationship Id="rId4" Type="http://schemas.openxmlformats.org/officeDocument/2006/relationships/image" Target="../media/image23.emf"/></Relationships>
</file>

<file path=ppt/slideLayouts/_rels/slideLayout321.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Master" Target="../slideMasters/slideMaster6.xml"/><Relationship Id="rId1" Type="http://schemas.openxmlformats.org/officeDocument/2006/relationships/tags" Target="../tags/tag181.xml"/><Relationship Id="rId4" Type="http://schemas.openxmlformats.org/officeDocument/2006/relationships/image" Target="../media/image23.emf"/></Relationships>
</file>

<file path=ppt/slideLayouts/_rels/slideLayout322.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6.xml"/><Relationship Id="rId1" Type="http://schemas.openxmlformats.org/officeDocument/2006/relationships/tags" Target="../tags/tag182.xml"/><Relationship Id="rId4" Type="http://schemas.openxmlformats.org/officeDocument/2006/relationships/image" Target="../media/image14.emf"/></Relationships>
</file>

<file path=ppt/slideLayouts/_rels/slideLayout323.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6.xml"/><Relationship Id="rId1" Type="http://schemas.openxmlformats.org/officeDocument/2006/relationships/tags" Target="../tags/tag183.xml"/><Relationship Id="rId4" Type="http://schemas.openxmlformats.org/officeDocument/2006/relationships/image" Target="../media/image12.emf"/></Relationships>
</file>

<file path=ppt/slideLayouts/_rels/slideLayout324.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6.xml"/><Relationship Id="rId1" Type="http://schemas.openxmlformats.org/officeDocument/2006/relationships/tags" Target="../tags/tag184.xml"/><Relationship Id="rId4" Type="http://schemas.openxmlformats.org/officeDocument/2006/relationships/image" Target="../media/image12.emf"/></Relationships>
</file>

<file path=ppt/slideLayouts/_rels/slideLayout325.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6.xml"/><Relationship Id="rId1" Type="http://schemas.openxmlformats.org/officeDocument/2006/relationships/tags" Target="../tags/tag185.xml"/><Relationship Id="rId4" Type="http://schemas.openxmlformats.org/officeDocument/2006/relationships/image" Target="../media/image12.emf"/></Relationships>
</file>

<file path=ppt/slideLayouts/_rels/slideLayout326.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6.xml"/><Relationship Id="rId1" Type="http://schemas.openxmlformats.org/officeDocument/2006/relationships/tags" Target="../tags/tag186.xml"/><Relationship Id="rId4" Type="http://schemas.openxmlformats.org/officeDocument/2006/relationships/image" Target="../media/image12.emf"/></Relationships>
</file>

<file path=ppt/slideLayouts/_rels/slideLayout327.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6.xml"/><Relationship Id="rId1" Type="http://schemas.openxmlformats.org/officeDocument/2006/relationships/tags" Target="../tags/tag187.xml"/><Relationship Id="rId4" Type="http://schemas.openxmlformats.org/officeDocument/2006/relationships/image" Target="../media/image14.emf"/></Relationships>
</file>

<file path=ppt/slideLayouts/_rels/slideLayout328.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Master" Target="../slideMasters/slideMaster6.xml"/><Relationship Id="rId1" Type="http://schemas.openxmlformats.org/officeDocument/2006/relationships/tags" Target="../tags/tag188.xml"/><Relationship Id="rId6" Type="http://schemas.openxmlformats.org/officeDocument/2006/relationships/image" Target="../media/image9.svg"/><Relationship Id="rId5" Type="http://schemas.openxmlformats.org/officeDocument/2006/relationships/image" Target="../media/image32.png"/><Relationship Id="rId4" Type="http://schemas.openxmlformats.org/officeDocument/2006/relationships/image" Target="../media/image24.emf"/></Relationships>
</file>

<file path=ppt/slideLayouts/_rels/slideLayout329.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Master" Target="../slideMasters/slideMaster6.xml"/><Relationship Id="rId1" Type="http://schemas.openxmlformats.org/officeDocument/2006/relationships/tags" Target="../tags/tag189.xml"/><Relationship Id="rId6" Type="http://schemas.openxmlformats.org/officeDocument/2006/relationships/image" Target="../media/image16.svg"/><Relationship Id="rId5" Type="http://schemas.openxmlformats.org/officeDocument/2006/relationships/image" Target="../media/image33.png"/><Relationship Id="rId4" Type="http://schemas.openxmlformats.org/officeDocument/2006/relationships/image" Target="../media/image24.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6.xml"/><Relationship Id="rId1" Type="http://schemas.openxmlformats.org/officeDocument/2006/relationships/tags" Target="../tags/tag190.xml"/><Relationship Id="rId6" Type="http://schemas.openxmlformats.org/officeDocument/2006/relationships/image" Target="../media/image9.svg"/><Relationship Id="rId5" Type="http://schemas.openxmlformats.org/officeDocument/2006/relationships/image" Target="../media/image32.png"/><Relationship Id="rId4" Type="http://schemas.openxmlformats.org/officeDocument/2006/relationships/image" Target="../media/image24.emf"/></Relationships>
</file>

<file path=ppt/slideLayouts/_rels/slideLayout331.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Master" Target="../slideMasters/slideMaster6.xml"/><Relationship Id="rId1" Type="http://schemas.openxmlformats.org/officeDocument/2006/relationships/tags" Target="../tags/tag191.xml"/><Relationship Id="rId6" Type="http://schemas.openxmlformats.org/officeDocument/2006/relationships/image" Target="../media/image16.svg"/><Relationship Id="rId5" Type="http://schemas.openxmlformats.org/officeDocument/2006/relationships/image" Target="../media/image33.png"/><Relationship Id="rId4" Type="http://schemas.openxmlformats.org/officeDocument/2006/relationships/image" Target="../media/image24.emf"/></Relationships>
</file>

<file path=ppt/slideLayouts/_rels/slideLayout332.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Master" Target="../slideMasters/slideMaster6.xml"/><Relationship Id="rId1" Type="http://schemas.openxmlformats.org/officeDocument/2006/relationships/tags" Target="../tags/tag192.xml"/><Relationship Id="rId4" Type="http://schemas.openxmlformats.org/officeDocument/2006/relationships/image" Target="../media/image12.emf"/></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4.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Master" Target="../slideMasters/slideMaster7.xml"/><Relationship Id="rId1" Type="http://schemas.openxmlformats.org/officeDocument/2006/relationships/tags" Target="../tags/tag194.xml"/><Relationship Id="rId4" Type="http://schemas.openxmlformats.org/officeDocument/2006/relationships/image" Target="../media/image10.emf"/></Relationships>
</file>

<file path=ppt/slideLayouts/_rels/slideLayout335.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Master" Target="../slideMasters/slideMaster7.xml"/><Relationship Id="rId1" Type="http://schemas.openxmlformats.org/officeDocument/2006/relationships/tags" Target="../tags/tag195.xml"/><Relationship Id="rId4" Type="http://schemas.openxmlformats.org/officeDocument/2006/relationships/image" Target="../media/image7.emf"/></Relationships>
</file>

<file path=ppt/slideLayouts/_rels/slideLayout336.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Master" Target="../slideMasters/slideMaster7.xml"/><Relationship Id="rId1" Type="http://schemas.openxmlformats.org/officeDocument/2006/relationships/tags" Target="../tags/tag196.xml"/><Relationship Id="rId4" Type="http://schemas.openxmlformats.org/officeDocument/2006/relationships/image" Target="../media/image11.emf"/></Relationships>
</file>

<file path=ppt/slideLayouts/_rels/slideLayout337.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Master" Target="../slideMasters/slideMaster7.xml"/><Relationship Id="rId1" Type="http://schemas.openxmlformats.org/officeDocument/2006/relationships/tags" Target="../tags/tag197.xml"/><Relationship Id="rId4" Type="http://schemas.openxmlformats.org/officeDocument/2006/relationships/image" Target="../media/image11.emf"/></Relationships>
</file>

<file path=ppt/slideLayouts/_rels/slideLayout338.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Master" Target="../slideMasters/slideMaster7.xml"/><Relationship Id="rId1" Type="http://schemas.openxmlformats.org/officeDocument/2006/relationships/tags" Target="../tags/tag198.xml"/><Relationship Id="rId4" Type="http://schemas.openxmlformats.org/officeDocument/2006/relationships/image" Target="../media/image11.emf"/></Relationships>
</file>

<file path=ppt/slideLayouts/_rels/slideLayout339.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Master" Target="../slideMasters/slideMaster7.xml"/><Relationship Id="rId1" Type="http://schemas.openxmlformats.org/officeDocument/2006/relationships/tags" Target="../tags/tag199.xml"/><Relationship Id="rId4" Type="http://schemas.openxmlformats.org/officeDocument/2006/relationships/image" Target="../media/image11.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Master" Target="../slideMasters/slideMaster7.xml"/><Relationship Id="rId1" Type="http://schemas.openxmlformats.org/officeDocument/2006/relationships/tags" Target="../tags/tag200.xml"/><Relationship Id="rId4" Type="http://schemas.openxmlformats.org/officeDocument/2006/relationships/image" Target="../media/image11.emf"/></Relationships>
</file>

<file path=ppt/slideLayouts/_rels/slideLayout341.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Master" Target="../slideMasters/slideMaster7.xml"/><Relationship Id="rId1" Type="http://schemas.openxmlformats.org/officeDocument/2006/relationships/tags" Target="../tags/tag201.xml"/><Relationship Id="rId4" Type="http://schemas.openxmlformats.org/officeDocument/2006/relationships/image" Target="../media/image11.emf"/></Relationships>
</file>

<file path=ppt/slideLayouts/_rels/slideLayout342.xml.rels><?xml version="1.0" encoding="UTF-8" standalone="yes"?>
<Relationships xmlns="http://schemas.openxmlformats.org/package/2006/relationships"><Relationship Id="rId3" Type="http://schemas.openxmlformats.org/officeDocument/2006/relationships/oleObject" Target="../embeddings/oleObject156.bin"/><Relationship Id="rId2" Type="http://schemas.openxmlformats.org/officeDocument/2006/relationships/slideMaster" Target="../slideMasters/slideMaster7.xml"/><Relationship Id="rId1" Type="http://schemas.openxmlformats.org/officeDocument/2006/relationships/tags" Target="../tags/tag202.xml"/><Relationship Id="rId4" Type="http://schemas.openxmlformats.org/officeDocument/2006/relationships/image" Target="../media/image12.emf"/></Relationships>
</file>

<file path=ppt/slideLayouts/_rels/slideLayout343.xml.rels><?xml version="1.0" encoding="UTF-8" standalone="yes"?>
<Relationships xmlns="http://schemas.openxmlformats.org/package/2006/relationships"><Relationship Id="rId3" Type="http://schemas.openxmlformats.org/officeDocument/2006/relationships/oleObject" Target="../embeddings/oleObject157.bin"/><Relationship Id="rId2" Type="http://schemas.openxmlformats.org/officeDocument/2006/relationships/slideMaster" Target="../slideMasters/slideMaster7.xml"/><Relationship Id="rId1" Type="http://schemas.openxmlformats.org/officeDocument/2006/relationships/tags" Target="../tags/tag203.xml"/><Relationship Id="rId4" Type="http://schemas.openxmlformats.org/officeDocument/2006/relationships/image" Target="../media/image11.emf"/></Relationships>
</file>

<file path=ppt/slideLayouts/_rels/slideLayout344.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Master" Target="../slideMasters/slideMaster7.xml"/><Relationship Id="rId1" Type="http://schemas.openxmlformats.org/officeDocument/2006/relationships/tags" Target="../tags/tag204.xml"/><Relationship Id="rId4" Type="http://schemas.openxmlformats.org/officeDocument/2006/relationships/image" Target="../media/image11.emf"/></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7.xml"/><Relationship Id="rId1" Type="http://schemas.openxmlformats.org/officeDocument/2006/relationships/tags" Target="../tags/tag205.xml"/><Relationship Id="rId5" Type="http://schemas.openxmlformats.org/officeDocument/2006/relationships/image" Target="../media/image11.emf"/><Relationship Id="rId4" Type="http://schemas.openxmlformats.org/officeDocument/2006/relationships/oleObject" Target="../embeddings/oleObject158.bin"/></Relationships>
</file>

<file path=ppt/slideLayouts/_rels/slideLayout346.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Master" Target="../slideMasters/slideMaster7.xml"/><Relationship Id="rId1" Type="http://schemas.openxmlformats.org/officeDocument/2006/relationships/tags" Target="../tags/tag206.xml"/><Relationship Id="rId4" Type="http://schemas.openxmlformats.org/officeDocument/2006/relationships/image" Target="../media/image11.emf"/></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8.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Master" Target="../slideMasters/slideMaster7.xml"/><Relationship Id="rId1" Type="http://schemas.openxmlformats.org/officeDocument/2006/relationships/tags" Target="../tags/tag207.xml"/><Relationship Id="rId4" Type="http://schemas.openxmlformats.org/officeDocument/2006/relationships/image" Target="../media/image10.emf"/></Relationships>
</file>

<file path=ppt/slideLayouts/_rels/slideLayout349.xml.rels><?xml version="1.0" encoding="UTF-8" standalone="yes"?>
<Relationships xmlns="http://schemas.openxmlformats.org/package/2006/relationships"><Relationship Id="rId3" Type="http://schemas.openxmlformats.org/officeDocument/2006/relationships/oleObject" Target="../embeddings/oleObject159.bin"/><Relationship Id="rId2" Type="http://schemas.openxmlformats.org/officeDocument/2006/relationships/slideMaster" Target="../slideMasters/slideMaster7.xml"/><Relationship Id="rId1" Type="http://schemas.openxmlformats.org/officeDocument/2006/relationships/tags" Target="../tags/tag208.xml"/><Relationship Id="rId4" Type="http://schemas.openxmlformats.org/officeDocument/2006/relationships/image" Target="../media/image7.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Master" Target="../slideMasters/slideMaster7.xml"/><Relationship Id="rId1" Type="http://schemas.openxmlformats.org/officeDocument/2006/relationships/tags" Target="../tags/tag209.xml"/><Relationship Id="rId4" Type="http://schemas.openxmlformats.org/officeDocument/2006/relationships/image" Target="../media/image7.emf"/></Relationships>
</file>

<file path=ppt/slideLayouts/_rels/slideLayout351.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7.xml"/><Relationship Id="rId1" Type="http://schemas.openxmlformats.org/officeDocument/2006/relationships/tags" Target="../tags/tag210.xml"/><Relationship Id="rId4" Type="http://schemas.openxmlformats.org/officeDocument/2006/relationships/image" Target="../media/image11.emf"/></Relationships>
</file>

<file path=ppt/slideLayouts/_rels/slideLayout352.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Master" Target="../slideMasters/slideMaster7.xml"/><Relationship Id="rId1" Type="http://schemas.openxmlformats.org/officeDocument/2006/relationships/tags" Target="../tags/tag211.xml"/><Relationship Id="rId4" Type="http://schemas.openxmlformats.org/officeDocument/2006/relationships/image" Target="../media/image11.emf"/></Relationships>
</file>

<file path=ppt/slideLayouts/_rels/slideLayout353.xml.rels><?xml version="1.0" encoding="UTF-8" standalone="yes"?>
<Relationships xmlns="http://schemas.openxmlformats.org/package/2006/relationships"><Relationship Id="rId3" Type="http://schemas.openxmlformats.org/officeDocument/2006/relationships/oleObject" Target="../embeddings/oleObject163.bin"/><Relationship Id="rId2" Type="http://schemas.openxmlformats.org/officeDocument/2006/relationships/slideMaster" Target="../slideMasters/slideMaster7.xml"/><Relationship Id="rId1" Type="http://schemas.openxmlformats.org/officeDocument/2006/relationships/tags" Target="../tags/tag212.xml"/><Relationship Id="rId4" Type="http://schemas.openxmlformats.org/officeDocument/2006/relationships/image" Target="../media/image11.emf"/></Relationships>
</file>

<file path=ppt/slideLayouts/_rels/slideLayout354.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Master" Target="../slideMasters/slideMaster7.xml"/><Relationship Id="rId1" Type="http://schemas.openxmlformats.org/officeDocument/2006/relationships/tags" Target="../tags/tag213.xml"/><Relationship Id="rId4" Type="http://schemas.openxmlformats.org/officeDocument/2006/relationships/image" Target="../media/image11.emf"/></Relationships>
</file>

<file path=ppt/slideLayouts/_rels/slideLayout355.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Master" Target="../slideMasters/slideMaster7.xml"/><Relationship Id="rId1" Type="http://schemas.openxmlformats.org/officeDocument/2006/relationships/tags" Target="../tags/tag214.xml"/><Relationship Id="rId4" Type="http://schemas.openxmlformats.org/officeDocument/2006/relationships/image" Target="../media/image14.emf"/></Relationships>
</file>

<file path=ppt/slideLayouts/_rels/slideLayout356.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Master" Target="../slideMasters/slideMaster7.xml"/><Relationship Id="rId1" Type="http://schemas.openxmlformats.org/officeDocument/2006/relationships/tags" Target="../tags/tag215.xml"/><Relationship Id="rId6" Type="http://schemas.openxmlformats.org/officeDocument/2006/relationships/image" Target="../media/image16.svg"/><Relationship Id="rId5" Type="http://schemas.openxmlformats.org/officeDocument/2006/relationships/image" Target="../media/image33.png"/><Relationship Id="rId4" Type="http://schemas.openxmlformats.org/officeDocument/2006/relationships/image" Target="../media/image15.emf"/></Relationships>
</file>

<file path=ppt/slideLayouts/_rels/slideLayout357.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Master" Target="../slideMasters/slideMaster7.xml"/><Relationship Id="rId1" Type="http://schemas.openxmlformats.org/officeDocument/2006/relationships/tags" Target="../tags/tag216.xml"/><Relationship Id="rId6" Type="http://schemas.openxmlformats.org/officeDocument/2006/relationships/image" Target="../media/image9.svg"/><Relationship Id="rId5" Type="http://schemas.openxmlformats.org/officeDocument/2006/relationships/image" Target="../media/image32.png"/><Relationship Id="rId4" Type="http://schemas.openxmlformats.org/officeDocument/2006/relationships/image" Target="../media/image15.emf"/></Relationships>
</file>

<file path=ppt/slideLayouts/_rels/slideLayout358.xml.rels><?xml version="1.0" encoding="UTF-8" standalone="yes"?>
<Relationships xmlns="http://schemas.openxmlformats.org/package/2006/relationships"><Relationship Id="rId3" Type="http://schemas.openxmlformats.org/officeDocument/2006/relationships/oleObject" Target="../embeddings/oleObject167.bin"/><Relationship Id="rId2" Type="http://schemas.openxmlformats.org/officeDocument/2006/relationships/slideMaster" Target="../slideMasters/slideMaster7.xml"/><Relationship Id="rId1" Type="http://schemas.openxmlformats.org/officeDocument/2006/relationships/tags" Target="../tags/tag217.xml"/><Relationship Id="rId6" Type="http://schemas.openxmlformats.org/officeDocument/2006/relationships/image" Target="../media/image9.svg"/><Relationship Id="rId5" Type="http://schemas.openxmlformats.org/officeDocument/2006/relationships/image" Target="../media/image32.png"/><Relationship Id="rId4" Type="http://schemas.openxmlformats.org/officeDocument/2006/relationships/image" Target="../media/image15.emf"/></Relationships>
</file>

<file path=ppt/slideLayouts/_rels/slideLayout359.xml.rels><?xml version="1.0" encoding="UTF-8" standalone="yes"?>
<Relationships xmlns="http://schemas.openxmlformats.org/package/2006/relationships"><Relationship Id="rId3" Type="http://schemas.openxmlformats.org/officeDocument/2006/relationships/oleObject" Target="../embeddings/oleObject168.bin"/><Relationship Id="rId2" Type="http://schemas.openxmlformats.org/officeDocument/2006/relationships/slideMaster" Target="../slideMasters/slideMaster7.xml"/><Relationship Id="rId1" Type="http://schemas.openxmlformats.org/officeDocument/2006/relationships/tags" Target="../tags/tag218.xml"/><Relationship Id="rId6" Type="http://schemas.openxmlformats.org/officeDocument/2006/relationships/image" Target="../media/image16.svg"/><Relationship Id="rId5" Type="http://schemas.openxmlformats.org/officeDocument/2006/relationships/image" Target="../media/image33.png"/><Relationship Id="rId4" Type="http://schemas.openxmlformats.org/officeDocument/2006/relationships/image" Target="../media/image15.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16.svg"/><Relationship Id="rId2" Type="http://schemas.openxmlformats.org/officeDocument/2006/relationships/slideMaster" Target="../slideMasters/slideMaster7.xml"/><Relationship Id="rId1" Type="http://schemas.openxmlformats.org/officeDocument/2006/relationships/tags" Target="../tags/tag219.xml"/><Relationship Id="rId6" Type="http://schemas.openxmlformats.org/officeDocument/2006/relationships/image" Target="../media/image33.png"/><Relationship Id="rId5" Type="http://schemas.openxmlformats.org/officeDocument/2006/relationships/image" Target="../media/image15.emf"/><Relationship Id="rId4" Type="http://schemas.openxmlformats.org/officeDocument/2006/relationships/oleObject" Target="../embeddings/oleObject169.bin"/></Relationships>
</file>

<file path=ppt/slideLayouts/_rels/slideLayout361.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7.xml"/><Relationship Id="rId1" Type="http://schemas.openxmlformats.org/officeDocument/2006/relationships/tags" Target="../tags/tag220.xml"/><Relationship Id="rId6" Type="http://schemas.openxmlformats.org/officeDocument/2006/relationships/image" Target="../media/image9.svg"/><Relationship Id="rId5" Type="http://schemas.openxmlformats.org/officeDocument/2006/relationships/image" Target="../media/image32.png"/><Relationship Id="rId4" Type="http://schemas.openxmlformats.org/officeDocument/2006/relationships/image" Target="../media/image15.emf"/></Relationships>
</file>

<file path=ppt/slideLayouts/_rels/slideLayout362.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Master" Target="../slideMasters/slideMaster7.xml"/><Relationship Id="rId1" Type="http://schemas.openxmlformats.org/officeDocument/2006/relationships/tags" Target="../tags/tag221.xml"/><Relationship Id="rId6" Type="http://schemas.openxmlformats.org/officeDocument/2006/relationships/image" Target="../media/image16.svg"/><Relationship Id="rId5" Type="http://schemas.openxmlformats.org/officeDocument/2006/relationships/image" Target="../media/image33.png"/><Relationship Id="rId4" Type="http://schemas.openxmlformats.org/officeDocument/2006/relationships/image" Target="../media/image15.emf"/></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16.svg"/><Relationship Id="rId2" Type="http://schemas.openxmlformats.org/officeDocument/2006/relationships/slideMaster" Target="../slideMasters/slideMaster7.xml"/><Relationship Id="rId1" Type="http://schemas.openxmlformats.org/officeDocument/2006/relationships/tags" Target="../tags/tag222.xml"/><Relationship Id="rId6" Type="http://schemas.openxmlformats.org/officeDocument/2006/relationships/image" Target="../media/image33.png"/><Relationship Id="rId5" Type="http://schemas.openxmlformats.org/officeDocument/2006/relationships/image" Target="../media/image15.emf"/><Relationship Id="rId4" Type="http://schemas.openxmlformats.org/officeDocument/2006/relationships/oleObject" Target="../embeddings/oleObject172.bin"/></Relationships>
</file>

<file path=ppt/slideLayouts/_rels/slideLayout364.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Master" Target="../slideMasters/slideMaster7.xml"/><Relationship Id="rId1" Type="http://schemas.openxmlformats.org/officeDocument/2006/relationships/tags" Target="../tags/tag223.xml"/><Relationship Id="rId4" Type="http://schemas.openxmlformats.org/officeDocument/2006/relationships/image" Target="../media/image14.emf"/></Relationships>
</file>

<file path=ppt/slideLayouts/_rels/slideLayout365.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Master" Target="../slideMasters/slideMaster7.xml"/><Relationship Id="rId1" Type="http://schemas.openxmlformats.org/officeDocument/2006/relationships/tags" Target="../tags/tag224.xml"/><Relationship Id="rId6" Type="http://schemas.openxmlformats.org/officeDocument/2006/relationships/image" Target="../media/image9.svg"/><Relationship Id="rId5" Type="http://schemas.openxmlformats.org/officeDocument/2006/relationships/image" Target="../media/image32.png"/><Relationship Id="rId4" Type="http://schemas.openxmlformats.org/officeDocument/2006/relationships/image" Target="../media/image15.emf"/></Relationships>
</file>

<file path=ppt/slideLayouts/_rels/slideLayout366.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Master" Target="../slideMasters/slideMaster7.xml"/><Relationship Id="rId1" Type="http://schemas.openxmlformats.org/officeDocument/2006/relationships/tags" Target="../tags/tag225.xml"/><Relationship Id="rId6" Type="http://schemas.openxmlformats.org/officeDocument/2006/relationships/image" Target="../media/image16.svg"/><Relationship Id="rId5" Type="http://schemas.openxmlformats.org/officeDocument/2006/relationships/image" Target="../media/image33.png"/><Relationship Id="rId4" Type="http://schemas.openxmlformats.org/officeDocument/2006/relationships/image" Target="../media/image15.emf"/></Relationships>
</file>

<file path=ppt/slideLayouts/_rels/slideLayout367.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Master" Target="../slideMasters/slideMaster7.xml"/><Relationship Id="rId1" Type="http://schemas.openxmlformats.org/officeDocument/2006/relationships/tags" Target="../tags/tag226.xml"/><Relationship Id="rId4" Type="http://schemas.openxmlformats.org/officeDocument/2006/relationships/image" Target="../media/image10.emf"/></Relationships>
</file>

<file path=ppt/slideLayouts/_rels/slideLayout368.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Master" Target="../slideMasters/slideMaster7.xml"/><Relationship Id="rId1" Type="http://schemas.openxmlformats.org/officeDocument/2006/relationships/tags" Target="../tags/tag227.xml"/><Relationship Id="rId4" Type="http://schemas.openxmlformats.org/officeDocument/2006/relationships/image" Target="../media/image7.emf"/></Relationships>
</file>

<file path=ppt/slideLayouts/_rels/slideLayout369.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Master" Target="../slideMasters/slideMaster7.xml"/><Relationship Id="rId1" Type="http://schemas.openxmlformats.org/officeDocument/2006/relationships/tags" Target="../tags/tag228.xml"/><Relationship Id="rId4" Type="http://schemas.openxmlformats.org/officeDocument/2006/relationships/image" Target="../media/image7.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Master" Target="../slideMasters/slideMaster7.xml"/><Relationship Id="rId1" Type="http://schemas.openxmlformats.org/officeDocument/2006/relationships/tags" Target="../tags/tag229.xml"/><Relationship Id="rId4" Type="http://schemas.openxmlformats.org/officeDocument/2006/relationships/image" Target="../media/image10.emf"/></Relationships>
</file>

<file path=ppt/slideLayouts/_rels/slideLayout371.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Master" Target="../slideMasters/slideMaster7.xml"/><Relationship Id="rId1" Type="http://schemas.openxmlformats.org/officeDocument/2006/relationships/tags" Target="../tags/tag230.xml"/><Relationship Id="rId4" Type="http://schemas.openxmlformats.org/officeDocument/2006/relationships/image" Target="../media/image20.emf"/></Relationships>
</file>

<file path=ppt/slideLayouts/_rels/slideLayout372.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Master" Target="../slideMasters/slideMaster7.xml"/><Relationship Id="rId1" Type="http://schemas.openxmlformats.org/officeDocument/2006/relationships/tags" Target="../tags/tag231.xml"/><Relationship Id="rId4" Type="http://schemas.openxmlformats.org/officeDocument/2006/relationships/image" Target="../media/image20.emf"/></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7.xml"/><Relationship Id="rId1" Type="http://schemas.openxmlformats.org/officeDocument/2006/relationships/tags" Target="../tags/tag232.xml"/><Relationship Id="rId5" Type="http://schemas.openxmlformats.org/officeDocument/2006/relationships/image" Target="../media/image20.emf"/><Relationship Id="rId4" Type="http://schemas.openxmlformats.org/officeDocument/2006/relationships/oleObject" Target="../embeddings/oleObject181.bin"/></Relationships>
</file>

<file path=ppt/slideLayouts/_rels/slideLayout374.xml.rels><?xml version="1.0" encoding="UTF-8" standalone="yes"?>
<Relationships xmlns="http://schemas.openxmlformats.org/package/2006/relationships"><Relationship Id="rId3" Type="http://schemas.openxmlformats.org/officeDocument/2006/relationships/oleObject" Target="../embeddings/oleObject182.bin"/><Relationship Id="rId2" Type="http://schemas.openxmlformats.org/officeDocument/2006/relationships/slideMaster" Target="../slideMasters/slideMaster7.xml"/><Relationship Id="rId1" Type="http://schemas.openxmlformats.org/officeDocument/2006/relationships/tags" Target="../tags/tag233.xml"/><Relationship Id="rId4" Type="http://schemas.openxmlformats.org/officeDocument/2006/relationships/image" Target="../media/image10.emf"/></Relationships>
</file>

<file path=ppt/slideLayouts/_rels/slideLayout375.xml.rels><?xml version="1.0" encoding="UTF-8" standalone="yes"?>
<Relationships xmlns="http://schemas.openxmlformats.org/package/2006/relationships"><Relationship Id="rId3" Type="http://schemas.openxmlformats.org/officeDocument/2006/relationships/oleObject" Target="../embeddings/oleObject183.bin"/><Relationship Id="rId2" Type="http://schemas.openxmlformats.org/officeDocument/2006/relationships/slideMaster" Target="../slideMasters/slideMaster7.xml"/><Relationship Id="rId1" Type="http://schemas.openxmlformats.org/officeDocument/2006/relationships/tags" Target="../tags/tag234.xml"/><Relationship Id="rId4" Type="http://schemas.openxmlformats.org/officeDocument/2006/relationships/image" Target="../media/image22.emf"/></Relationships>
</file>

<file path=ppt/slideLayouts/_rels/slideLayout376.xml.rels><?xml version="1.0" encoding="UTF-8" standalone="yes"?>
<Relationships xmlns="http://schemas.openxmlformats.org/package/2006/relationships"><Relationship Id="rId3" Type="http://schemas.openxmlformats.org/officeDocument/2006/relationships/oleObject" Target="../embeddings/oleObject184.bin"/><Relationship Id="rId2" Type="http://schemas.openxmlformats.org/officeDocument/2006/relationships/slideMaster" Target="../slideMasters/slideMaster7.xml"/><Relationship Id="rId1" Type="http://schemas.openxmlformats.org/officeDocument/2006/relationships/tags" Target="../tags/tag235.xml"/><Relationship Id="rId4" Type="http://schemas.openxmlformats.org/officeDocument/2006/relationships/image" Target="../media/image22.emf"/></Relationships>
</file>

<file path=ppt/slideLayouts/_rels/slideLayout377.xml.rels><?xml version="1.0" encoding="UTF-8" standalone="yes"?>
<Relationships xmlns="http://schemas.openxmlformats.org/package/2006/relationships"><Relationship Id="rId3" Type="http://schemas.openxmlformats.org/officeDocument/2006/relationships/oleObject" Target="../embeddings/oleObject185.bin"/><Relationship Id="rId2" Type="http://schemas.openxmlformats.org/officeDocument/2006/relationships/slideMaster" Target="../slideMasters/slideMaster7.xml"/><Relationship Id="rId1" Type="http://schemas.openxmlformats.org/officeDocument/2006/relationships/tags" Target="../tags/tag236.xml"/><Relationship Id="rId4" Type="http://schemas.openxmlformats.org/officeDocument/2006/relationships/image" Target="../media/image22.emf"/></Relationships>
</file>

<file path=ppt/slideLayouts/_rels/slideLayout378.xml.rels><?xml version="1.0" encoding="UTF-8" standalone="yes"?>
<Relationships xmlns="http://schemas.openxmlformats.org/package/2006/relationships"><Relationship Id="rId3" Type="http://schemas.openxmlformats.org/officeDocument/2006/relationships/oleObject" Target="../embeddings/oleObject186.bin"/><Relationship Id="rId2" Type="http://schemas.openxmlformats.org/officeDocument/2006/relationships/slideMaster" Target="../slideMasters/slideMaster7.xml"/><Relationship Id="rId1" Type="http://schemas.openxmlformats.org/officeDocument/2006/relationships/tags" Target="../tags/tag237.xml"/><Relationship Id="rId4" Type="http://schemas.openxmlformats.org/officeDocument/2006/relationships/image" Target="../media/image22.emf"/></Relationships>
</file>

<file path=ppt/slideLayouts/_rels/slideLayout379.xml.rels><?xml version="1.0" encoding="UTF-8" standalone="yes"?>
<Relationships xmlns="http://schemas.openxmlformats.org/package/2006/relationships"><Relationship Id="rId3" Type="http://schemas.openxmlformats.org/officeDocument/2006/relationships/oleObject" Target="../embeddings/oleObject186.bin"/><Relationship Id="rId2" Type="http://schemas.openxmlformats.org/officeDocument/2006/relationships/slideMaster" Target="../slideMasters/slideMaster7.xml"/><Relationship Id="rId1" Type="http://schemas.openxmlformats.org/officeDocument/2006/relationships/tags" Target="../tags/tag238.xml"/><Relationship Id="rId4" Type="http://schemas.openxmlformats.org/officeDocument/2006/relationships/image" Target="../media/image22.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3" Type="http://schemas.openxmlformats.org/officeDocument/2006/relationships/oleObject" Target="../embeddings/oleObject182.bin"/><Relationship Id="rId2" Type="http://schemas.openxmlformats.org/officeDocument/2006/relationships/slideMaster" Target="../slideMasters/slideMaster7.xml"/><Relationship Id="rId1" Type="http://schemas.openxmlformats.org/officeDocument/2006/relationships/tags" Target="../tags/tag239.xml"/><Relationship Id="rId4" Type="http://schemas.openxmlformats.org/officeDocument/2006/relationships/image" Target="../media/image10.emf"/></Relationships>
</file>

<file path=ppt/slideLayouts/_rels/slideLayout381.xml.rels><?xml version="1.0" encoding="UTF-8" standalone="yes"?>
<Relationships xmlns="http://schemas.openxmlformats.org/package/2006/relationships"><Relationship Id="rId3" Type="http://schemas.openxmlformats.org/officeDocument/2006/relationships/oleObject" Target="../embeddings/oleObject187.bin"/><Relationship Id="rId2" Type="http://schemas.openxmlformats.org/officeDocument/2006/relationships/slideMaster" Target="../slideMasters/slideMaster7.xml"/><Relationship Id="rId1" Type="http://schemas.openxmlformats.org/officeDocument/2006/relationships/tags" Target="../tags/tag240.xml"/><Relationship Id="rId4" Type="http://schemas.openxmlformats.org/officeDocument/2006/relationships/image" Target="../media/image23.emf"/></Relationships>
</file>

<file path=ppt/slideLayouts/_rels/slideLayout382.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Master" Target="../slideMasters/slideMaster7.xml"/><Relationship Id="rId1" Type="http://schemas.openxmlformats.org/officeDocument/2006/relationships/tags" Target="../tags/tag241.xml"/><Relationship Id="rId4" Type="http://schemas.openxmlformats.org/officeDocument/2006/relationships/image" Target="../media/image23.emf"/></Relationships>
</file>

<file path=ppt/slideLayouts/_rels/slideLayout383.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7.xml"/><Relationship Id="rId1" Type="http://schemas.openxmlformats.org/officeDocument/2006/relationships/tags" Target="../tags/tag242.xml"/><Relationship Id="rId4" Type="http://schemas.openxmlformats.org/officeDocument/2006/relationships/image" Target="../media/image14.emf"/></Relationships>
</file>

<file path=ppt/slideLayouts/_rels/slideLayout384.xml.rels><?xml version="1.0" encoding="UTF-8" standalone="yes"?>
<Relationships xmlns="http://schemas.openxmlformats.org/package/2006/relationships"><Relationship Id="rId3" Type="http://schemas.openxmlformats.org/officeDocument/2006/relationships/oleObject" Target="../embeddings/oleObject190.bin"/><Relationship Id="rId2" Type="http://schemas.openxmlformats.org/officeDocument/2006/relationships/slideMaster" Target="../slideMasters/slideMaster7.xml"/><Relationship Id="rId1" Type="http://schemas.openxmlformats.org/officeDocument/2006/relationships/tags" Target="../tags/tag243.xml"/><Relationship Id="rId4" Type="http://schemas.openxmlformats.org/officeDocument/2006/relationships/image" Target="../media/image12.emf"/></Relationships>
</file>

<file path=ppt/slideLayouts/_rels/slideLayout385.xml.rels><?xml version="1.0" encoding="UTF-8" standalone="yes"?>
<Relationships xmlns="http://schemas.openxmlformats.org/package/2006/relationships"><Relationship Id="rId3" Type="http://schemas.openxmlformats.org/officeDocument/2006/relationships/oleObject" Target="../embeddings/oleObject190.bin"/><Relationship Id="rId2" Type="http://schemas.openxmlformats.org/officeDocument/2006/relationships/slideMaster" Target="../slideMasters/slideMaster7.xml"/><Relationship Id="rId1" Type="http://schemas.openxmlformats.org/officeDocument/2006/relationships/tags" Target="../tags/tag244.xml"/><Relationship Id="rId4" Type="http://schemas.openxmlformats.org/officeDocument/2006/relationships/image" Target="../media/image12.emf"/></Relationships>
</file>

<file path=ppt/slideLayouts/_rels/slideLayout386.xml.rels><?xml version="1.0" encoding="UTF-8" standalone="yes"?>
<Relationships xmlns="http://schemas.openxmlformats.org/package/2006/relationships"><Relationship Id="rId3" Type="http://schemas.openxmlformats.org/officeDocument/2006/relationships/oleObject" Target="../embeddings/oleObject190.bin"/><Relationship Id="rId2" Type="http://schemas.openxmlformats.org/officeDocument/2006/relationships/slideMaster" Target="../slideMasters/slideMaster7.xml"/><Relationship Id="rId1" Type="http://schemas.openxmlformats.org/officeDocument/2006/relationships/tags" Target="../tags/tag245.xml"/><Relationship Id="rId4" Type="http://schemas.openxmlformats.org/officeDocument/2006/relationships/image" Target="../media/image12.emf"/></Relationships>
</file>

<file path=ppt/slideLayouts/_rels/slideLayout387.xml.rels><?xml version="1.0" encoding="UTF-8" standalone="yes"?>
<Relationships xmlns="http://schemas.openxmlformats.org/package/2006/relationships"><Relationship Id="rId3" Type="http://schemas.openxmlformats.org/officeDocument/2006/relationships/oleObject" Target="../embeddings/oleObject190.bin"/><Relationship Id="rId2" Type="http://schemas.openxmlformats.org/officeDocument/2006/relationships/slideMaster" Target="../slideMasters/slideMaster7.xml"/><Relationship Id="rId1" Type="http://schemas.openxmlformats.org/officeDocument/2006/relationships/tags" Target="../tags/tag246.xml"/><Relationship Id="rId4" Type="http://schemas.openxmlformats.org/officeDocument/2006/relationships/image" Target="../media/image12.emf"/></Relationships>
</file>

<file path=ppt/slideLayouts/_rels/slideLayout388.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7.xml"/><Relationship Id="rId1" Type="http://schemas.openxmlformats.org/officeDocument/2006/relationships/tags" Target="../tags/tag247.xml"/><Relationship Id="rId4" Type="http://schemas.openxmlformats.org/officeDocument/2006/relationships/image" Target="../media/image14.emf"/></Relationships>
</file>

<file path=ppt/slideLayouts/_rels/slideLayout389.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Master" Target="../slideMasters/slideMaster7.xml"/><Relationship Id="rId1" Type="http://schemas.openxmlformats.org/officeDocument/2006/relationships/tags" Target="../tags/tag248.xml"/><Relationship Id="rId6" Type="http://schemas.openxmlformats.org/officeDocument/2006/relationships/image" Target="../media/image9.svg"/><Relationship Id="rId5" Type="http://schemas.openxmlformats.org/officeDocument/2006/relationships/image" Target="../media/image32.png"/><Relationship Id="rId4" Type="http://schemas.openxmlformats.org/officeDocument/2006/relationships/image" Target="../media/image24.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3" Type="http://schemas.openxmlformats.org/officeDocument/2006/relationships/oleObject" Target="../embeddings/oleObject192.bin"/><Relationship Id="rId2" Type="http://schemas.openxmlformats.org/officeDocument/2006/relationships/slideMaster" Target="../slideMasters/slideMaster7.xml"/><Relationship Id="rId1" Type="http://schemas.openxmlformats.org/officeDocument/2006/relationships/tags" Target="../tags/tag249.xml"/><Relationship Id="rId6" Type="http://schemas.openxmlformats.org/officeDocument/2006/relationships/image" Target="../media/image16.svg"/><Relationship Id="rId5" Type="http://schemas.openxmlformats.org/officeDocument/2006/relationships/image" Target="../media/image33.png"/><Relationship Id="rId4" Type="http://schemas.openxmlformats.org/officeDocument/2006/relationships/image" Target="../media/image24.emf"/></Relationships>
</file>

<file path=ppt/slideLayouts/_rels/slideLayout391.xml.rels><?xml version="1.0" encoding="UTF-8" standalone="yes"?>
<Relationships xmlns="http://schemas.openxmlformats.org/package/2006/relationships"><Relationship Id="rId3" Type="http://schemas.openxmlformats.org/officeDocument/2006/relationships/oleObject" Target="../embeddings/oleObject192.bin"/><Relationship Id="rId7" Type="http://schemas.openxmlformats.org/officeDocument/2006/relationships/image" Target="../media/image35.png"/><Relationship Id="rId2" Type="http://schemas.openxmlformats.org/officeDocument/2006/relationships/slideMaster" Target="../slideMasters/slideMaster7.xml"/><Relationship Id="rId1" Type="http://schemas.openxmlformats.org/officeDocument/2006/relationships/tags" Target="../tags/tag250.xml"/><Relationship Id="rId6" Type="http://schemas.openxmlformats.org/officeDocument/2006/relationships/image" Target="../media/image16.svg"/><Relationship Id="rId5" Type="http://schemas.openxmlformats.org/officeDocument/2006/relationships/image" Target="../media/image33.png"/><Relationship Id="rId4" Type="http://schemas.openxmlformats.org/officeDocument/2006/relationships/image" Target="../media/image24.emf"/></Relationships>
</file>

<file path=ppt/slideLayouts/_rels/slideLayout392.xml.rels><?xml version="1.0" encoding="UTF-8" standalone="yes"?>
<Relationships xmlns="http://schemas.openxmlformats.org/package/2006/relationships"><Relationship Id="rId3" Type="http://schemas.openxmlformats.org/officeDocument/2006/relationships/oleObject" Target="../embeddings/oleObject193.bin"/><Relationship Id="rId2" Type="http://schemas.openxmlformats.org/officeDocument/2006/relationships/slideMaster" Target="../slideMasters/slideMaster7.xml"/><Relationship Id="rId1" Type="http://schemas.openxmlformats.org/officeDocument/2006/relationships/tags" Target="../tags/tag251.xml"/><Relationship Id="rId6" Type="http://schemas.openxmlformats.org/officeDocument/2006/relationships/image" Target="../media/image9.svg"/><Relationship Id="rId5" Type="http://schemas.openxmlformats.org/officeDocument/2006/relationships/image" Target="../media/image32.png"/><Relationship Id="rId4" Type="http://schemas.openxmlformats.org/officeDocument/2006/relationships/image" Target="../media/image24.emf"/></Relationships>
</file>

<file path=ppt/slideLayouts/_rels/slideLayout393.xml.rels><?xml version="1.0" encoding="UTF-8" standalone="yes"?>
<Relationships xmlns="http://schemas.openxmlformats.org/package/2006/relationships"><Relationship Id="rId3" Type="http://schemas.openxmlformats.org/officeDocument/2006/relationships/oleObject" Target="../embeddings/oleObject194.bin"/><Relationship Id="rId2" Type="http://schemas.openxmlformats.org/officeDocument/2006/relationships/slideMaster" Target="../slideMasters/slideMaster7.xml"/><Relationship Id="rId1" Type="http://schemas.openxmlformats.org/officeDocument/2006/relationships/tags" Target="../tags/tag252.xml"/><Relationship Id="rId6" Type="http://schemas.openxmlformats.org/officeDocument/2006/relationships/image" Target="../media/image16.svg"/><Relationship Id="rId5" Type="http://schemas.openxmlformats.org/officeDocument/2006/relationships/image" Target="../media/image33.png"/><Relationship Id="rId4" Type="http://schemas.openxmlformats.org/officeDocument/2006/relationships/image" Target="../media/image24.emf"/></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x">
  <p:cSld name="Contenido">
    <p:spTree>
      <p:nvGrpSpPr>
        <p:cNvPr id="1" name=""/>
        <p:cNvGrpSpPr/>
        <p:nvPr/>
      </p:nvGrpSpPr>
      <p:grpSpPr>
        <a:xfrm>
          <a:off x="0" y="0"/>
          <a:ext cx="0" cy="0"/>
          <a:chOff x="0" y="0"/>
          <a:chExt cx="0" cy="0"/>
        </a:xfrm>
      </p:grpSpPr>
      <p:sp>
        <p:nvSpPr>
          <p:cNvPr id="12" name="Shape 12"/>
          <p:cNvSpPr>
            <a:spLocks noGrp="1"/>
          </p:cNvSpPr>
          <p:nvPr>
            <p:ph type="sldNum" sz="quarter" idx="2"/>
          </p:nvPr>
        </p:nvSpPr>
        <p:spPr>
          <a:prstGeom prst="rect">
            <a:avLst/>
          </a:prstGeom>
        </p:spPr>
        <p:txBody>
          <a:bodyPr/>
          <a:lstStyle/>
          <a:p>
            <a:fld id="{86CB4B4D-7CA3-9044-876B-883B54F8677D}" type="slidenum">
              <a:t>‹Nº›</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x">
  <p:cSld name="Split callout">
    <p:bg>
      <p:bgPr>
        <a:solidFill>
          <a:srgbClr val="FFFFFF"/>
        </a:solidFill>
        <a:effectLst/>
      </p:bgPr>
    </p:bg>
    <p:spTree>
      <p:nvGrpSpPr>
        <p:cNvPr id="1" name=""/>
        <p:cNvGrpSpPr/>
        <p:nvPr/>
      </p:nvGrpSpPr>
      <p:grpSpPr>
        <a:xfrm>
          <a:off x="0" y="0"/>
          <a:ext cx="0" cy="0"/>
          <a:chOff x="0" y="0"/>
          <a:chExt cx="0" cy="0"/>
        </a:xfrm>
      </p:grpSpPr>
      <p:pic>
        <p:nvPicPr>
          <p:cNvPr id="122"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123" name="Shape 123"/>
          <p:cNvSpPr/>
          <p:nvPr/>
        </p:nvSpPr>
        <p:spPr>
          <a:xfrm>
            <a:off x="8130488" y="0"/>
            <a:ext cx="4061513" cy="685800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lnTo>
                  <a:pt x="0" y="21600"/>
                </a:lnTo>
                <a:lnTo>
                  <a:pt x="0" y="5868"/>
                </a:lnTo>
                <a:lnTo>
                  <a:pt x="691" y="5471"/>
                </a:lnTo>
                <a:lnTo>
                  <a:pt x="0" y="5074"/>
                </a:lnTo>
                <a:close/>
              </a:path>
            </a:pathLst>
          </a:custGeom>
          <a:solidFill>
            <a:srgbClr val="002C77"/>
          </a:solidFill>
          <a:ln w="12700">
            <a:miter lim="400000"/>
          </a:ln>
        </p:spPr>
        <p:txBody>
          <a:bodyPr lIns="0" tIns="0" rIns="0" bIns="0" anchor="ctr"/>
          <a:lstStyle/>
          <a:p>
            <a:pPr algn="ctr">
              <a:defRPr>
                <a:solidFill>
                  <a:srgbClr val="FFFFFF"/>
                </a:solidFill>
              </a:defRPr>
            </a:pPr>
            <a:endParaRPr/>
          </a:p>
        </p:txBody>
      </p:sp>
      <p:sp>
        <p:nvSpPr>
          <p:cNvPr id="124" name="Shape 124"/>
          <p:cNvSpPr>
            <a:spLocks noGrp="1"/>
          </p:cNvSpPr>
          <p:nvPr>
            <p:ph type="title"/>
          </p:nvPr>
        </p:nvSpPr>
        <p:spPr>
          <a:xfrm>
            <a:off x="457201" y="355600"/>
            <a:ext cx="7429501" cy="495300"/>
          </a:xfrm>
          <a:prstGeom prst="rect">
            <a:avLst/>
          </a:prstGeom>
        </p:spPr>
        <p:txBody>
          <a:bodyPr>
            <a:normAutofit/>
          </a:bodyPr>
          <a:lstStyle/>
          <a:p>
            <a:r>
              <a:t>Texto del título</a:t>
            </a:r>
          </a:p>
        </p:txBody>
      </p:sp>
      <p:sp>
        <p:nvSpPr>
          <p:cNvPr id="125" name="Shape 125"/>
          <p:cNvSpPr>
            <a:spLocks noGrp="1"/>
          </p:cNvSpPr>
          <p:nvPr>
            <p:ph type="body" sz="quarter" idx="1"/>
          </p:nvPr>
        </p:nvSpPr>
        <p:spPr>
          <a:xfrm>
            <a:off x="485776" y="806807"/>
            <a:ext cx="7400926" cy="318477"/>
          </a:xfrm>
          <a:prstGeom prst="rect">
            <a:avLst/>
          </a:prstGeom>
        </p:spPr>
        <p:txBody>
          <a:bodyPr>
            <a:normAutofit/>
          </a:bodyPr>
          <a:lstStyle>
            <a:lvl1pPr>
              <a:defRPr b="1">
                <a:solidFill>
                  <a:srgbClr val="002C77"/>
                </a:solidFill>
              </a:defRPr>
            </a:lvl1pPr>
            <a:lvl2pPr marL="0" indent="457200">
              <a:buSzTx/>
              <a:buNone/>
              <a:defRPr b="1">
                <a:solidFill>
                  <a:srgbClr val="002C77"/>
                </a:solidFill>
              </a:defRPr>
            </a:lvl2pPr>
            <a:lvl3pPr marL="0" indent="914400">
              <a:buSzTx/>
              <a:buNone/>
              <a:defRPr b="1">
                <a:solidFill>
                  <a:srgbClr val="002C77"/>
                </a:solidFill>
              </a:defRPr>
            </a:lvl3pPr>
            <a:lvl4pPr marL="0" indent="1371600">
              <a:buSzTx/>
              <a:buNone/>
              <a:defRPr b="1">
                <a:solidFill>
                  <a:srgbClr val="002C77"/>
                </a:solidFill>
              </a:defRPr>
            </a:lvl4pPr>
            <a:lvl5pPr marL="0" indent="1828800">
              <a:buSzTx/>
              <a:buNone/>
              <a:defRPr b="1">
                <a:solidFill>
                  <a:srgbClr val="002C77"/>
                </a:solidFill>
              </a:defRPr>
            </a:lvl5pPr>
          </a:lstStyle>
          <a:p>
            <a:r>
              <a:t>Nivel de texto 1</a:t>
            </a:r>
          </a:p>
          <a:p>
            <a:pPr lvl="1"/>
            <a:r>
              <a:t>Nivel de texto 2</a:t>
            </a:r>
          </a:p>
          <a:p>
            <a:pPr lvl="2"/>
            <a:r>
              <a:t>Nivel de texto 3</a:t>
            </a:r>
          </a:p>
          <a:p>
            <a:pPr lvl="3"/>
            <a:r>
              <a:t>Nivel de texto 4</a:t>
            </a:r>
          </a:p>
          <a:p>
            <a:pPr lvl="4"/>
            <a:r>
              <a:t>Nivel de texto 5</a:t>
            </a:r>
          </a:p>
        </p:txBody>
      </p:sp>
      <p:sp>
        <p:nvSpPr>
          <p:cNvPr id="126" name="Shape 126"/>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tx">
  <p:cSld name="AGENDA + CONTENTS">
    <p:spTree>
      <p:nvGrpSpPr>
        <p:cNvPr id="1" name=""/>
        <p:cNvGrpSpPr/>
        <p:nvPr/>
      </p:nvGrpSpPr>
      <p:grpSpPr>
        <a:xfrm>
          <a:off x="0" y="0"/>
          <a:ext cx="0" cy="0"/>
          <a:chOff x="0" y="0"/>
          <a:chExt cx="0" cy="0"/>
        </a:xfrm>
      </p:grpSpPr>
      <p:sp>
        <p:nvSpPr>
          <p:cNvPr id="409" name="Shape 409"/>
          <p:cNvSpPr/>
          <p:nvPr/>
        </p:nvSpPr>
        <p:spPr>
          <a:xfrm>
            <a:off x="374976" y="1701329"/>
            <a:ext cx="8185598" cy="3455343"/>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p>
            <a:pPr>
              <a:defRPr sz="12000" b="1">
                <a:solidFill>
                  <a:srgbClr val="FFFFFF"/>
                </a:solidFill>
              </a:defRPr>
            </a:pPr>
            <a:r>
              <a:t>Agendas +</a:t>
            </a:r>
          </a:p>
          <a:p>
            <a:pPr>
              <a:defRPr sz="12000" b="1">
                <a:solidFill>
                  <a:srgbClr val="FFFFFF"/>
                </a:solidFill>
              </a:defRPr>
            </a:pPr>
            <a:r>
              <a:t>Contents</a:t>
            </a:r>
          </a:p>
        </p:txBody>
      </p:sp>
      <p:sp>
        <p:nvSpPr>
          <p:cNvPr id="410" name="Shape 410"/>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3902286961"/>
      </p:ext>
    </p:extLst>
  </p:cSld>
  <p:clrMapOvr>
    <a:masterClrMapping/>
  </p:clrMapOvr>
  <p:transition spd="med"/>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tx">
  <p:cSld name="Agenda">
    <p:bg>
      <p:bgPr>
        <a:solidFill>
          <a:srgbClr val="FFFFFF"/>
        </a:solidFill>
        <a:effectLst/>
      </p:bgPr>
    </p:bg>
    <p:spTree>
      <p:nvGrpSpPr>
        <p:cNvPr id="1" name=""/>
        <p:cNvGrpSpPr/>
        <p:nvPr/>
      </p:nvGrpSpPr>
      <p:grpSpPr>
        <a:xfrm>
          <a:off x="0" y="0"/>
          <a:ext cx="0" cy="0"/>
          <a:chOff x="0" y="0"/>
          <a:chExt cx="0" cy="0"/>
        </a:xfrm>
      </p:grpSpPr>
      <p:sp>
        <p:nvSpPr>
          <p:cNvPr id="417" name="Shape 417"/>
          <p:cNvSpPr>
            <a:spLocks noGrp="1"/>
          </p:cNvSpPr>
          <p:nvPr>
            <p:ph type="title"/>
          </p:nvPr>
        </p:nvSpPr>
        <p:spPr>
          <a:xfrm>
            <a:off x="485775" y="4901386"/>
            <a:ext cx="11223626" cy="1846660"/>
          </a:xfrm>
          <a:prstGeom prst="rect">
            <a:avLst/>
          </a:prstGeom>
        </p:spPr>
        <p:txBody>
          <a:bodyPr>
            <a:normAutofit/>
          </a:bodyPr>
          <a:lstStyle>
            <a:lvl1pPr algn="r">
              <a:lnSpc>
                <a:spcPct val="100000"/>
              </a:lnSpc>
              <a:defRPr sz="12000"/>
            </a:lvl1pPr>
          </a:lstStyle>
          <a:p>
            <a:r>
              <a:t>Texto del título</a:t>
            </a:r>
          </a:p>
        </p:txBody>
      </p:sp>
      <p:sp>
        <p:nvSpPr>
          <p:cNvPr id="418" name="Shape 418"/>
          <p:cNvSpPr>
            <a:spLocks noGrp="1"/>
          </p:cNvSpPr>
          <p:nvPr>
            <p:ph type="body" sz="half" idx="1"/>
          </p:nvPr>
        </p:nvSpPr>
        <p:spPr>
          <a:xfrm>
            <a:off x="485775" y="361950"/>
            <a:ext cx="5495925" cy="5759450"/>
          </a:xfrm>
          <a:prstGeom prst="rect">
            <a:avLst/>
          </a:prstGeom>
        </p:spPr>
        <p:txBody>
          <a:bodyPr>
            <a:normAutofit/>
          </a:bodyPr>
          <a:lstStyle>
            <a:lvl1pPr marL="233363" indent="-233363">
              <a:lnSpc>
                <a:spcPct val="90000"/>
              </a:lnSpc>
              <a:spcBef>
                <a:spcPts val="600"/>
              </a:spcBef>
              <a:buSzPct val="100000"/>
              <a:buAutoNum type="arabicPeriod"/>
            </a:lvl1pPr>
            <a:lvl2pPr marL="508000" indent="-276225">
              <a:lnSpc>
                <a:spcPct val="90000"/>
              </a:lnSpc>
              <a:spcBef>
                <a:spcPts val="600"/>
              </a:spcBef>
            </a:lvl2pPr>
            <a:lvl3pPr marL="800100">
              <a:lnSpc>
                <a:spcPct val="90000"/>
              </a:lnSpc>
              <a:spcBef>
                <a:spcPts val="600"/>
              </a:spcBef>
            </a:lvl3pPr>
            <a:lvl4pPr marL="1028700">
              <a:lnSpc>
                <a:spcPct val="90000"/>
              </a:lnSpc>
              <a:spcBef>
                <a:spcPts val="600"/>
              </a:spcBef>
            </a:lvl4pPr>
            <a:lvl5pPr marL="1257300">
              <a:lnSpc>
                <a:spcPct val="90000"/>
              </a:lnSpc>
              <a:spcBef>
                <a:spcPts val="600"/>
              </a:spcBef>
            </a:lvl5pPr>
          </a:lstStyle>
          <a:p>
            <a:r>
              <a:t>Nivel de texto 1</a:t>
            </a:r>
          </a:p>
          <a:p>
            <a:pPr lvl="1"/>
            <a:r>
              <a:t>Nivel de texto 2</a:t>
            </a:r>
          </a:p>
          <a:p>
            <a:pPr lvl="2"/>
            <a:r>
              <a:t>Nivel de texto 3</a:t>
            </a:r>
          </a:p>
          <a:p>
            <a:pPr lvl="3"/>
            <a:r>
              <a:t>Nivel de texto 4</a:t>
            </a:r>
          </a:p>
          <a:p>
            <a:pPr lvl="4"/>
            <a:r>
              <a:t>Nivel de texto 5</a:t>
            </a:r>
          </a:p>
        </p:txBody>
      </p:sp>
      <p:sp>
        <p:nvSpPr>
          <p:cNvPr id="419" name="Shape 419"/>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2823258103"/>
      </p:ext>
    </p:extLst>
  </p:cSld>
  <p:clrMapOvr>
    <a:masterClrMapping/>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tx">
  <p:cSld name="Agenda: blue">
    <p:bg>
      <p:bgPr>
        <a:solidFill>
          <a:srgbClr val="002C77"/>
        </a:solidFill>
        <a:effectLst/>
      </p:bgPr>
    </p:bg>
    <p:spTree>
      <p:nvGrpSpPr>
        <p:cNvPr id="1" name=""/>
        <p:cNvGrpSpPr/>
        <p:nvPr/>
      </p:nvGrpSpPr>
      <p:grpSpPr>
        <a:xfrm>
          <a:off x="0" y="0"/>
          <a:ext cx="0" cy="0"/>
          <a:chOff x="0" y="0"/>
          <a:chExt cx="0" cy="0"/>
        </a:xfrm>
      </p:grpSpPr>
      <p:sp>
        <p:nvSpPr>
          <p:cNvPr id="426" name="Shape 426"/>
          <p:cNvSpPr>
            <a:spLocks noGrp="1"/>
          </p:cNvSpPr>
          <p:nvPr>
            <p:ph type="title"/>
          </p:nvPr>
        </p:nvSpPr>
        <p:spPr>
          <a:xfrm>
            <a:off x="485775" y="4901386"/>
            <a:ext cx="11223626" cy="1846660"/>
          </a:xfrm>
          <a:prstGeom prst="rect">
            <a:avLst/>
          </a:prstGeom>
        </p:spPr>
        <p:txBody>
          <a:bodyPr>
            <a:normAutofit/>
          </a:bodyPr>
          <a:lstStyle>
            <a:lvl1pPr algn="r">
              <a:lnSpc>
                <a:spcPct val="100000"/>
              </a:lnSpc>
              <a:defRPr sz="12000">
                <a:solidFill>
                  <a:srgbClr val="FFFFFF"/>
                </a:solidFill>
              </a:defRPr>
            </a:lvl1pPr>
          </a:lstStyle>
          <a:p>
            <a:r>
              <a:t>Texto del título</a:t>
            </a:r>
          </a:p>
        </p:txBody>
      </p:sp>
      <p:sp>
        <p:nvSpPr>
          <p:cNvPr id="427" name="Shape 427"/>
          <p:cNvSpPr>
            <a:spLocks noGrp="1"/>
          </p:cNvSpPr>
          <p:nvPr>
            <p:ph type="body" sz="half" idx="1"/>
          </p:nvPr>
        </p:nvSpPr>
        <p:spPr>
          <a:xfrm>
            <a:off x="485775" y="361950"/>
            <a:ext cx="5495925" cy="5759450"/>
          </a:xfrm>
          <a:prstGeom prst="rect">
            <a:avLst/>
          </a:prstGeom>
        </p:spPr>
        <p:txBody>
          <a:bodyPr>
            <a:normAutofit/>
          </a:bodyPr>
          <a:lstStyle>
            <a:lvl1pPr marL="233363" indent="-233363">
              <a:lnSpc>
                <a:spcPct val="90000"/>
              </a:lnSpc>
              <a:spcBef>
                <a:spcPts val="600"/>
              </a:spcBef>
              <a:buSzPct val="100000"/>
              <a:buAutoNum type="arabicPeriod"/>
              <a:defRPr>
                <a:solidFill>
                  <a:srgbClr val="FFFFFF"/>
                </a:solidFill>
              </a:defRPr>
            </a:lvl1pPr>
            <a:lvl2pPr marL="569912" indent="-342899">
              <a:lnSpc>
                <a:spcPct val="90000"/>
              </a:lnSpc>
              <a:spcBef>
                <a:spcPts val="600"/>
              </a:spcBef>
              <a:defRPr>
                <a:solidFill>
                  <a:srgbClr val="FFFFFF"/>
                </a:solidFill>
              </a:defRPr>
            </a:lvl2pPr>
            <a:lvl3pPr marL="800100">
              <a:lnSpc>
                <a:spcPct val="90000"/>
              </a:lnSpc>
              <a:spcBef>
                <a:spcPts val="600"/>
              </a:spcBef>
              <a:defRPr>
                <a:solidFill>
                  <a:srgbClr val="FFFFFF"/>
                </a:solidFill>
              </a:defRPr>
            </a:lvl3pPr>
            <a:lvl4pPr marL="1028700">
              <a:lnSpc>
                <a:spcPct val="90000"/>
              </a:lnSpc>
              <a:spcBef>
                <a:spcPts val="600"/>
              </a:spcBef>
              <a:defRPr>
                <a:solidFill>
                  <a:srgbClr val="FFFFFF"/>
                </a:solidFill>
              </a:defRPr>
            </a:lvl4pPr>
            <a:lvl5pPr marL="1257300">
              <a:lnSpc>
                <a:spcPct val="90000"/>
              </a:lnSpc>
              <a:spcBef>
                <a:spcPts val="600"/>
              </a:spcBef>
              <a:defRPr>
                <a:solidFill>
                  <a:srgbClr val="FFFFFF"/>
                </a:solidFill>
              </a:defRPr>
            </a:lvl5pPr>
          </a:lstStyle>
          <a:p>
            <a:r>
              <a:t>Nivel de texto 1</a:t>
            </a:r>
          </a:p>
          <a:p>
            <a:pPr lvl="1"/>
            <a:r>
              <a:t>Nivel de texto 2</a:t>
            </a:r>
          </a:p>
          <a:p>
            <a:pPr lvl="2"/>
            <a:r>
              <a:t>Nivel de texto 3</a:t>
            </a:r>
          </a:p>
          <a:p>
            <a:pPr lvl="3"/>
            <a:r>
              <a:t>Nivel de texto 4</a:t>
            </a:r>
          </a:p>
          <a:p>
            <a:pPr lvl="4"/>
            <a:r>
              <a:t>Nivel de texto 5</a:t>
            </a:r>
          </a:p>
        </p:txBody>
      </p:sp>
      <p:sp>
        <p:nvSpPr>
          <p:cNvPr id="428" name="Shape 428"/>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2085051787"/>
      </p:ext>
    </p:extLst>
  </p:cSld>
  <p:clrMapOvr>
    <a:masterClrMapping/>
  </p:clrMapOvr>
  <p:transition spd="med"/>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x">
  <p:cSld name="DIVIDERS">
    <p:spTree>
      <p:nvGrpSpPr>
        <p:cNvPr id="1" name=""/>
        <p:cNvGrpSpPr/>
        <p:nvPr/>
      </p:nvGrpSpPr>
      <p:grpSpPr>
        <a:xfrm>
          <a:off x="0" y="0"/>
          <a:ext cx="0" cy="0"/>
          <a:chOff x="0" y="0"/>
          <a:chExt cx="0" cy="0"/>
        </a:xfrm>
      </p:grpSpPr>
      <p:sp>
        <p:nvSpPr>
          <p:cNvPr id="435" name="Shape 435"/>
          <p:cNvSpPr/>
          <p:nvPr/>
        </p:nvSpPr>
        <p:spPr>
          <a:xfrm>
            <a:off x="374976" y="2577629"/>
            <a:ext cx="6026846" cy="1702744"/>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lvl1pPr>
              <a:defRPr sz="12000" b="1">
                <a:solidFill>
                  <a:srgbClr val="FFFFFF"/>
                </a:solidFill>
              </a:defRPr>
            </a:lvl1pPr>
          </a:lstStyle>
          <a:p>
            <a:r>
              <a:t>Dividers</a:t>
            </a:r>
          </a:p>
        </p:txBody>
      </p:sp>
      <p:sp>
        <p:nvSpPr>
          <p:cNvPr id="436" name="Shape 436"/>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16358988"/>
      </p:ext>
    </p:extLst>
  </p:cSld>
  <p:clrMapOvr>
    <a:masterClrMapping/>
  </p:clrMapOvr>
  <p:transition spd="med"/>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x">
  <p:cSld name="Divider">
    <p:bg>
      <p:bgPr>
        <a:solidFill>
          <a:srgbClr val="FFFFFF"/>
        </a:solidFill>
        <a:effectLst/>
      </p:bgPr>
    </p:bg>
    <p:spTree>
      <p:nvGrpSpPr>
        <p:cNvPr id="1" name=""/>
        <p:cNvGrpSpPr/>
        <p:nvPr/>
      </p:nvGrpSpPr>
      <p:grpSpPr>
        <a:xfrm>
          <a:off x="0" y="0"/>
          <a:ext cx="0" cy="0"/>
          <a:chOff x="0" y="0"/>
          <a:chExt cx="0" cy="0"/>
        </a:xfrm>
      </p:grpSpPr>
      <p:sp>
        <p:nvSpPr>
          <p:cNvPr id="443" name="Shape 443"/>
          <p:cNvSpPr>
            <a:spLocks noGrp="1"/>
          </p:cNvSpPr>
          <p:nvPr>
            <p:ph type="title"/>
          </p:nvPr>
        </p:nvSpPr>
        <p:spPr>
          <a:xfrm>
            <a:off x="482600" y="265694"/>
            <a:ext cx="8356600" cy="5855705"/>
          </a:xfrm>
          <a:prstGeom prst="rect">
            <a:avLst/>
          </a:prstGeom>
        </p:spPr>
        <p:txBody>
          <a:bodyPr>
            <a:normAutofit/>
          </a:bodyPr>
          <a:lstStyle>
            <a:lvl1pPr>
              <a:lnSpc>
                <a:spcPct val="90000"/>
              </a:lnSpc>
              <a:defRPr sz="5400"/>
            </a:lvl1pPr>
          </a:lstStyle>
          <a:p>
            <a:r>
              <a:t>Texto del título</a:t>
            </a:r>
          </a:p>
        </p:txBody>
      </p:sp>
      <p:sp>
        <p:nvSpPr>
          <p:cNvPr id="444" name="Shape 444"/>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1537412955"/>
      </p:ext>
    </p:extLst>
  </p:cSld>
  <p:clrMapOvr>
    <a:masterClrMapping/>
  </p:clrMapOvr>
  <p:transition spd="med"/>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tx">
  <p:cSld name="Divider: blue">
    <p:bg>
      <p:bgPr>
        <a:solidFill>
          <a:srgbClr val="002C77"/>
        </a:solidFill>
        <a:effectLst/>
      </p:bgPr>
    </p:bg>
    <p:spTree>
      <p:nvGrpSpPr>
        <p:cNvPr id="1" name=""/>
        <p:cNvGrpSpPr/>
        <p:nvPr/>
      </p:nvGrpSpPr>
      <p:grpSpPr>
        <a:xfrm>
          <a:off x="0" y="0"/>
          <a:ext cx="0" cy="0"/>
          <a:chOff x="0" y="0"/>
          <a:chExt cx="0" cy="0"/>
        </a:xfrm>
      </p:grpSpPr>
      <p:sp>
        <p:nvSpPr>
          <p:cNvPr id="451" name="Shape 451"/>
          <p:cNvSpPr>
            <a:spLocks noGrp="1"/>
          </p:cNvSpPr>
          <p:nvPr>
            <p:ph type="title"/>
          </p:nvPr>
        </p:nvSpPr>
        <p:spPr>
          <a:xfrm>
            <a:off x="482600" y="265694"/>
            <a:ext cx="8356600" cy="5855705"/>
          </a:xfrm>
          <a:prstGeom prst="rect">
            <a:avLst/>
          </a:prstGeom>
        </p:spPr>
        <p:txBody>
          <a:bodyPr>
            <a:normAutofit/>
          </a:bodyPr>
          <a:lstStyle>
            <a:lvl1pPr>
              <a:lnSpc>
                <a:spcPct val="90000"/>
              </a:lnSpc>
              <a:defRPr sz="5400">
                <a:solidFill>
                  <a:srgbClr val="FFFFFF"/>
                </a:solidFill>
              </a:defRPr>
            </a:lvl1pPr>
          </a:lstStyle>
          <a:p>
            <a:r>
              <a:t>Texto del título</a:t>
            </a:r>
          </a:p>
        </p:txBody>
      </p:sp>
      <p:sp>
        <p:nvSpPr>
          <p:cNvPr id="452" name="Shape 452"/>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1452335068"/>
      </p:ext>
    </p:extLst>
  </p:cSld>
  <p:clrMapOvr>
    <a:masterClrMapping/>
  </p:clrMapOvr>
  <p:transition spd="med"/>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tx">
  <p:cSld name="BIOS + PRESENTERS">
    <p:spTree>
      <p:nvGrpSpPr>
        <p:cNvPr id="1" name=""/>
        <p:cNvGrpSpPr/>
        <p:nvPr/>
      </p:nvGrpSpPr>
      <p:grpSpPr>
        <a:xfrm>
          <a:off x="0" y="0"/>
          <a:ext cx="0" cy="0"/>
          <a:chOff x="0" y="0"/>
          <a:chExt cx="0" cy="0"/>
        </a:xfrm>
      </p:grpSpPr>
      <p:sp>
        <p:nvSpPr>
          <p:cNvPr id="467" name="Shape 467"/>
          <p:cNvSpPr/>
          <p:nvPr/>
        </p:nvSpPr>
        <p:spPr>
          <a:xfrm>
            <a:off x="374976" y="1701329"/>
            <a:ext cx="7806086" cy="3455343"/>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p>
            <a:pPr>
              <a:defRPr sz="12000" b="1">
                <a:solidFill>
                  <a:srgbClr val="FFFFFF"/>
                </a:solidFill>
              </a:defRPr>
            </a:pPr>
            <a:r>
              <a:t>Bios + </a:t>
            </a:r>
          </a:p>
          <a:p>
            <a:pPr>
              <a:defRPr sz="12000" b="1">
                <a:solidFill>
                  <a:srgbClr val="FFFFFF"/>
                </a:solidFill>
              </a:defRPr>
            </a:pPr>
            <a:r>
              <a:t>presenters</a:t>
            </a:r>
          </a:p>
        </p:txBody>
      </p:sp>
      <p:sp>
        <p:nvSpPr>
          <p:cNvPr id="468" name="Shape 468"/>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2747524507"/>
      </p:ext>
    </p:extLst>
  </p:cSld>
  <p:clrMapOvr>
    <a:masterClrMapping/>
  </p:clrMapOvr>
  <p:transition spd="med"/>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tx">
  <p:cSld name="1 Square">
    <p:bg>
      <p:bgPr>
        <a:solidFill>
          <a:srgbClr val="FFFFFF"/>
        </a:solidFill>
        <a:effectLst/>
      </p:bgPr>
    </p:bg>
    <p:spTree>
      <p:nvGrpSpPr>
        <p:cNvPr id="1" name=""/>
        <p:cNvGrpSpPr/>
        <p:nvPr/>
      </p:nvGrpSpPr>
      <p:grpSpPr>
        <a:xfrm>
          <a:off x="0" y="0"/>
          <a:ext cx="0" cy="0"/>
          <a:chOff x="0" y="0"/>
          <a:chExt cx="0" cy="0"/>
        </a:xfrm>
      </p:grpSpPr>
      <p:pic>
        <p:nvPicPr>
          <p:cNvPr id="475"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476" name="Shape 476"/>
          <p:cNvSpPr>
            <a:spLocks noGrp="1"/>
          </p:cNvSpPr>
          <p:nvPr>
            <p:ph type="pic" sz="quarter" idx="13"/>
          </p:nvPr>
        </p:nvSpPr>
        <p:spPr>
          <a:xfrm>
            <a:off x="485776" y="1620837"/>
            <a:ext cx="3578224" cy="3578225"/>
          </a:xfrm>
          <a:prstGeom prst="rect">
            <a:avLst/>
          </a:prstGeom>
        </p:spPr>
        <p:txBody>
          <a:bodyPr lIns="91439" tIns="45719" rIns="91439" bIns="45719"/>
          <a:lstStyle/>
          <a:p>
            <a:endParaRPr/>
          </a:p>
        </p:txBody>
      </p:sp>
      <p:sp>
        <p:nvSpPr>
          <p:cNvPr id="477" name="Shape 477"/>
          <p:cNvSpPr>
            <a:spLocks noGrp="1"/>
          </p:cNvSpPr>
          <p:nvPr>
            <p:ph type="body" sz="half" idx="14"/>
          </p:nvPr>
        </p:nvSpPr>
        <p:spPr>
          <a:xfrm>
            <a:off x="4312994" y="2308118"/>
            <a:ext cx="7396406" cy="3813282"/>
          </a:xfrm>
          <a:prstGeom prst="rect">
            <a:avLst/>
          </a:prstGeom>
        </p:spPr>
        <p:txBody>
          <a:bodyPr/>
          <a:lstStyle>
            <a:lvl1pPr>
              <a:defRPr sz="1500"/>
            </a:lvl1pPr>
          </a:lstStyle>
          <a:p>
            <a:r>
              <a:t> </a:t>
            </a:r>
          </a:p>
        </p:txBody>
      </p:sp>
      <p:sp>
        <p:nvSpPr>
          <p:cNvPr id="478" name="Shape 478"/>
          <p:cNvSpPr>
            <a:spLocks noGrp="1"/>
          </p:cNvSpPr>
          <p:nvPr>
            <p:ph type="body" sz="quarter" idx="15"/>
          </p:nvPr>
        </p:nvSpPr>
        <p:spPr>
          <a:xfrm>
            <a:off x="4312994" y="1875117"/>
            <a:ext cx="7396407" cy="318477"/>
          </a:xfrm>
          <a:prstGeom prst="rect">
            <a:avLst/>
          </a:prstGeom>
        </p:spPr>
        <p:txBody>
          <a:bodyPr/>
          <a:lstStyle>
            <a:lvl1pPr>
              <a:spcBef>
                <a:spcPts val="0"/>
              </a:spcBef>
            </a:lvl1pPr>
          </a:lstStyle>
          <a:p>
            <a:r>
              <a:t> </a:t>
            </a:r>
          </a:p>
        </p:txBody>
      </p:sp>
      <p:sp>
        <p:nvSpPr>
          <p:cNvPr id="479" name="Shape 479"/>
          <p:cNvSpPr>
            <a:spLocks noGrp="1"/>
          </p:cNvSpPr>
          <p:nvPr>
            <p:ph type="body" sz="quarter" idx="16"/>
          </p:nvPr>
        </p:nvSpPr>
        <p:spPr>
          <a:xfrm>
            <a:off x="485775" y="806807"/>
            <a:ext cx="11223626" cy="318477"/>
          </a:xfrm>
          <a:prstGeom prst="rect">
            <a:avLst/>
          </a:prstGeom>
        </p:spPr>
        <p:txBody>
          <a:bodyPr/>
          <a:lstStyle>
            <a:lvl1pPr>
              <a:defRPr b="1">
                <a:solidFill>
                  <a:srgbClr val="002C77"/>
                </a:solidFill>
              </a:defRPr>
            </a:lvl1pPr>
          </a:lstStyle>
          <a:p>
            <a:r>
              <a:t> </a:t>
            </a:r>
          </a:p>
        </p:txBody>
      </p:sp>
      <p:sp>
        <p:nvSpPr>
          <p:cNvPr id="480" name="Shape 480"/>
          <p:cNvSpPr>
            <a:spLocks noGrp="1"/>
          </p:cNvSpPr>
          <p:nvPr>
            <p:ph type="title"/>
          </p:nvPr>
        </p:nvSpPr>
        <p:spPr>
          <a:xfrm>
            <a:off x="457200" y="355600"/>
            <a:ext cx="11252200" cy="495300"/>
          </a:xfrm>
          <a:prstGeom prst="rect">
            <a:avLst/>
          </a:prstGeom>
        </p:spPr>
        <p:txBody>
          <a:bodyPr>
            <a:normAutofit/>
          </a:bodyPr>
          <a:lstStyle/>
          <a:p>
            <a:r>
              <a:t>Texto del título</a:t>
            </a:r>
          </a:p>
        </p:txBody>
      </p:sp>
      <p:sp>
        <p:nvSpPr>
          <p:cNvPr id="481" name="Shape 481"/>
          <p:cNvSpPr>
            <a:spLocks noGrp="1"/>
          </p:cNvSpPr>
          <p:nvPr>
            <p:ph type="body" sz="quarter" idx="1"/>
          </p:nvPr>
        </p:nvSpPr>
        <p:spPr>
          <a:xfrm>
            <a:off x="4312994" y="1557462"/>
            <a:ext cx="7396407" cy="318477"/>
          </a:xfrm>
          <a:prstGeom prst="rect">
            <a:avLst/>
          </a:prstGeom>
        </p:spPr>
        <p:txBody>
          <a:bodyPr>
            <a:normAutofit/>
          </a:bodyPr>
          <a:lstStyle>
            <a:lvl1pPr>
              <a:spcBef>
                <a:spcPts val="0"/>
              </a:spcBef>
              <a:defRPr b="1"/>
            </a:lvl1pPr>
            <a:lvl2pPr marL="0" indent="457200">
              <a:spcBef>
                <a:spcPts val="0"/>
              </a:spcBef>
              <a:buSzTx/>
              <a:buNone/>
              <a:defRPr b="1"/>
            </a:lvl2pPr>
            <a:lvl3pPr marL="0" indent="914400">
              <a:spcBef>
                <a:spcPts val="0"/>
              </a:spcBef>
              <a:buSzTx/>
              <a:buNone/>
              <a:defRPr b="1"/>
            </a:lvl3pPr>
            <a:lvl4pPr marL="0" indent="1371600">
              <a:spcBef>
                <a:spcPts val="0"/>
              </a:spcBef>
              <a:buSzTx/>
              <a:buNone/>
              <a:defRPr b="1"/>
            </a:lvl4pPr>
            <a:lvl5pPr marL="0" indent="1828800">
              <a:spcBef>
                <a:spcPts val="0"/>
              </a:spcBef>
              <a:buSzTx/>
              <a:buNone/>
              <a:defRPr b="1"/>
            </a:lvl5pPr>
          </a:lstStyle>
          <a:p>
            <a:r>
              <a:t>Nivel de texto 1</a:t>
            </a:r>
          </a:p>
          <a:p>
            <a:pPr lvl="1"/>
            <a:r>
              <a:t>Nivel de texto 2</a:t>
            </a:r>
          </a:p>
          <a:p>
            <a:pPr lvl="2"/>
            <a:r>
              <a:t>Nivel de texto 3</a:t>
            </a:r>
          </a:p>
          <a:p>
            <a:pPr lvl="3"/>
            <a:r>
              <a:t>Nivel de texto 4</a:t>
            </a:r>
          </a:p>
          <a:p>
            <a:pPr lvl="4"/>
            <a:r>
              <a:t>Nivel de texto 5</a:t>
            </a:r>
          </a:p>
        </p:txBody>
      </p:sp>
      <p:sp>
        <p:nvSpPr>
          <p:cNvPr id="482" name="Shape 482"/>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extLst>
      <p:ext uri="{BB962C8B-B14F-4D97-AF65-F5344CB8AC3E}">
        <p14:creationId xmlns:p14="http://schemas.microsoft.com/office/powerpoint/2010/main" val="1252278794"/>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tx">
  <p:cSld name="2 Squares">
    <p:bg>
      <p:bgPr>
        <a:solidFill>
          <a:srgbClr val="FFFFFF"/>
        </a:solidFill>
        <a:effectLst/>
      </p:bgPr>
    </p:bg>
    <p:spTree>
      <p:nvGrpSpPr>
        <p:cNvPr id="1" name=""/>
        <p:cNvGrpSpPr/>
        <p:nvPr/>
      </p:nvGrpSpPr>
      <p:grpSpPr>
        <a:xfrm>
          <a:off x="0" y="0"/>
          <a:ext cx="0" cy="0"/>
          <a:chOff x="0" y="0"/>
          <a:chExt cx="0" cy="0"/>
        </a:xfrm>
      </p:grpSpPr>
      <p:pic>
        <p:nvPicPr>
          <p:cNvPr id="489"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490" name="Shape 490"/>
          <p:cNvSpPr>
            <a:spLocks noGrp="1"/>
          </p:cNvSpPr>
          <p:nvPr>
            <p:ph type="pic" sz="quarter" idx="13"/>
          </p:nvPr>
        </p:nvSpPr>
        <p:spPr>
          <a:xfrm>
            <a:off x="485776" y="1620837"/>
            <a:ext cx="1673225" cy="1704976"/>
          </a:xfrm>
          <a:prstGeom prst="rect">
            <a:avLst/>
          </a:prstGeom>
        </p:spPr>
        <p:txBody>
          <a:bodyPr lIns="91439" tIns="45719" rIns="91439" bIns="45719"/>
          <a:lstStyle/>
          <a:p>
            <a:endParaRPr/>
          </a:p>
        </p:txBody>
      </p:sp>
      <p:sp>
        <p:nvSpPr>
          <p:cNvPr id="491" name="Shape 491"/>
          <p:cNvSpPr>
            <a:spLocks noGrp="1"/>
          </p:cNvSpPr>
          <p:nvPr>
            <p:ph type="pic" sz="quarter" idx="14"/>
          </p:nvPr>
        </p:nvSpPr>
        <p:spPr>
          <a:xfrm>
            <a:off x="6217380" y="1620837"/>
            <a:ext cx="1669320" cy="1704976"/>
          </a:xfrm>
          <a:prstGeom prst="rect">
            <a:avLst/>
          </a:prstGeom>
        </p:spPr>
        <p:txBody>
          <a:bodyPr lIns="91439" tIns="45719" rIns="91439" bIns="45719"/>
          <a:lstStyle/>
          <a:p>
            <a:endParaRPr/>
          </a:p>
        </p:txBody>
      </p:sp>
      <p:sp>
        <p:nvSpPr>
          <p:cNvPr id="492" name="Shape 492"/>
          <p:cNvSpPr>
            <a:spLocks noGrp="1"/>
          </p:cNvSpPr>
          <p:nvPr>
            <p:ph type="body" sz="quarter" idx="15"/>
          </p:nvPr>
        </p:nvSpPr>
        <p:spPr>
          <a:xfrm>
            <a:off x="6226173" y="3548674"/>
            <a:ext cx="5495926" cy="318477"/>
          </a:xfrm>
          <a:prstGeom prst="rect">
            <a:avLst/>
          </a:prstGeom>
        </p:spPr>
        <p:txBody>
          <a:bodyPr/>
          <a:lstStyle>
            <a:lvl1pPr>
              <a:spcBef>
                <a:spcPts val="0"/>
              </a:spcBef>
              <a:defRPr b="1"/>
            </a:lvl1pPr>
          </a:lstStyle>
          <a:p>
            <a:r>
              <a:t> </a:t>
            </a:r>
          </a:p>
        </p:txBody>
      </p:sp>
      <p:sp>
        <p:nvSpPr>
          <p:cNvPr id="493" name="Shape 493"/>
          <p:cNvSpPr>
            <a:spLocks noGrp="1"/>
          </p:cNvSpPr>
          <p:nvPr>
            <p:ph type="body" sz="quarter" idx="16"/>
          </p:nvPr>
        </p:nvSpPr>
        <p:spPr>
          <a:xfrm>
            <a:off x="485776" y="3548674"/>
            <a:ext cx="5495926" cy="318477"/>
          </a:xfrm>
          <a:prstGeom prst="rect">
            <a:avLst/>
          </a:prstGeom>
        </p:spPr>
        <p:txBody>
          <a:bodyPr/>
          <a:lstStyle>
            <a:lvl1pPr>
              <a:spcBef>
                <a:spcPts val="0"/>
              </a:spcBef>
              <a:defRPr b="1"/>
            </a:lvl1pPr>
          </a:lstStyle>
          <a:p>
            <a:r>
              <a:t> </a:t>
            </a:r>
          </a:p>
        </p:txBody>
      </p:sp>
      <p:sp>
        <p:nvSpPr>
          <p:cNvPr id="494" name="Shape 494"/>
          <p:cNvSpPr>
            <a:spLocks noGrp="1"/>
          </p:cNvSpPr>
          <p:nvPr>
            <p:ph type="body" sz="quarter" idx="17"/>
          </p:nvPr>
        </p:nvSpPr>
        <p:spPr>
          <a:xfrm>
            <a:off x="6226176" y="4319151"/>
            <a:ext cx="5495923" cy="1802249"/>
          </a:xfrm>
          <a:prstGeom prst="rect">
            <a:avLst/>
          </a:prstGeom>
        </p:spPr>
        <p:txBody>
          <a:bodyPr/>
          <a:lstStyle>
            <a:lvl1pPr>
              <a:defRPr sz="1500"/>
            </a:lvl1pPr>
          </a:lstStyle>
          <a:p>
            <a:r>
              <a:t> </a:t>
            </a:r>
          </a:p>
        </p:txBody>
      </p:sp>
      <p:sp>
        <p:nvSpPr>
          <p:cNvPr id="495" name="Shape 495"/>
          <p:cNvSpPr>
            <a:spLocks noGrp="1"/>
          </p:cNvSpPr>
          <p:nvPr>
            <p:ph type="body" sz="quarter" idx="18"/>
          </p:nvPr>
        </p:nvSpPr>
        <p:spPr>
          <a:xfrm>
            <a:off x="6226173" y="3866329"/>
            <a:ext cx="5495926" cy="318477"/>
          </a:xfrm>
          <a:prstGeom prst="rect">
            <a:avLst/>
          </a:prstGeom>
        </p:spPr>
        <p:txBody>
          <a:bodyPr/>
          <a:lstStyle>
            <a:lvl1pPr>
              <a:spcBef>
                <a:spcPts val="0"/>
              </a:spcBef>
            </a:lvl1pPr>
          </a:lstStyle>
          <a:p>
            <a:r>
              <a:t> </a:t>
            </a:r>
          </a:p>
        </p:txBody>
      </p:sp>
      <p:sp>
        <p:nvSpPr>
          <p:cNvPr id="496" name="Shape 496"/>
          <p:cNvSpPr>
            <a:spLocks noGrp="1"/>
          </p:cNvSpPr>
          <p:nvPr>
            <p:ph type="body" sz="quarter" idx="19"/>
          </p:nvPr>
        </p:nvSpPr>
        <p:spPr>
          <a:xfrm>
            <a:off x="485779" y="4319151"/>
            <a:ext cx="5495922" cy="1802249"/>
          </a:xfrm>
          <a:prstGeom prst="rect">
            <a:avLst/>
          </a:prstGeom>
        </p:spPr>
        <p:txBody>
          <a:bodyPr/>
          <a:lstStyle>
            <a:lvl1pPr>
              <a:defRPr sz="1500"/>
            </a:lvl1pPr>
          </a:lstStyle>
          <a:p>
            <a:r>
              <a:t> </a:t>
            </a:r>
          </a:p>
        </p:txBody>
      </p:sp>
      <p:sp>
        <p:nvSpPr>
          <p:cNvPr id="497" name="Shape 497"/>
          <p:cNvSpPr>
            <a:spLocks noGrp="1"/>
          </p:cNvSpPr>
          <p:nvPr>
            <p:ph type="body" sz="quarter" idx="20"/>
          </p:nvPr>
        </p:nvSpPr>
        <p:spPr>
          <a:xfrm>
            <a:off x="485776" y="3866329"/>
            <a:ext cx="5495926" cy="318477"/>
          </a:xfrm>
          <a:prstGeom prst="rect">
            <a:avLst/>
          </a:prstGeom>
        </p:spPr>
        <p:txBody>
          <a:bodyPr/>
          <a:lstStyle>
            <a:lvl1pPr>
              <a:spcBef>
                <a:spcPts val="0"/>
              </a:spcBef>
            </a:lvl1pPr>
          </a:lstStyle>
          <a:p>
            <a:r>
              <a:t> </a:t>
            </a:r>
          </a:p>
        </p:txBody>
      </p:sp>
      <p:sp>
        <p:nvSpPr>
          <p:cNvPr id="498" name="Shape 498"/>
          <p:cNvSpPr>
            <a:spLocks noGrp="1"/>
          </p:cNvSpPr>
          <p:nvPr>
            <p:ph type="title"/>
          </p:nvPr>
        </p:nvSpPr>
        <p:spPr>
          <a:xfrm>
            <a:off x="457200" y="355600"/>
            <a:ext cx="11252200" cy="495300"/>
          </a:xfrm>
          <a:prstGeom prst="rect">
            <a:avLst/>
          </a:prstGeom>
        </p:spPr>
        <p:txBody>
          <a:bodyPr>
            <a:normAutofit/>
          </a:bodyPr>
          <a:lstStyle/>
          <a:p>
            <a:r>
              <a:t>Texto del título</a:t>
            </a:r>
          </a:p>
        </p:txBody>
      </p:sp>
      <p:sp>
        <p:nvSpPr>
          <p:cNvPr id="499" name="Shape 499"/>
          <p:cNvSpPr>
            <a:spLocks noGrp="1"/>
          </p:cNvSpPr>
          <p:nvPr>
            <p:ph type="body" sz="quarter" idx="1"/>
          </p:nvPr>
        </p:nvSpPr>
        <p:spPr>
          <a:xfrm>
            <a:off x="485776" y="806807"/>
            <a:ext cx="11223625" cy="318477"/>
          </a:xfrm>
          <a:prstGeom prst="rect">
            <a:avLst/>
          </a:prstGeom>
        </p:spPr>
        <p:txBody>
          <a:bodyPr>
            <a:normAutofit/>
          </a:bodyPr>
          <a:lstStyle>
            <a:lvl1pPr>
              <a:defRPr b="1">
                <a:solidFill>
                  <a:srgbClr val="002C77"/>
                </a:solidFill>
              </a:defRPr>
            </a:lvl1pPr>
            <a:lvl2pPr marL="0" indent="457200">
              <a:buSzTx/>
              <a:buNone/>
              <a:defRPr b="1">
                <a:solidFill>
                  <a:srgbClr val="002C77"/>
                </a:solidFill>
              </a:defRPr>
            </a:lvl2pPr>
            <a:lvl3pPr marL="0" indent="914400">
              <a:buSzTx/>
              <a:buNone/>
              <a:defRPr b="1">
                <a:solidFill>
                  <a:srgbClr val="002C77"/>
                </a:solidFill>
              </a:defRPr>
            </a:lvl3pPr>
            <a:lvl4pPr marL="0" indent="1371600">
              <a:buSzTx/>
              <a:buNone/>
              <a:defRPr b="1">
                <a:solidFill>
                  <a:srgbClr val="002C77"/>
                </a:solidFill>
              </a:defRPr>
            </a:lvl4pPr>
            <a:lvl5pPr marL="0" indent="1828800">
              <a:buSzTx/>
              <a:buNone/>
              <a:defRPr b="1">
                <a:solidFill>
                  <a:srgbClr val="002C77"/>
                </a:solidFill>
              </a:defRPr>
            </a:lvl5pPr>
          </a:lstStyle>
          <a:p>
            <a:r>
              <a:t>Nivel de texto 1</a:t>
            </a:r>
          </a:p>
          <a:p>
            <a:pPr lvl="1"/>
            <a:r>
              <a:t>Nivel de texto 2</a:t>
            </a:r>
          </a:p>
          <a:p>
            <a:pPr lvl="2"/>
            <a:r>
              <a:t>Nivel de texto 3</a:t>
            </a:r>
          </a:p>
          <a:p>
            <a:pPr lvl="3"/>
            <a:r>
              <a:t>Nivel de texto 4</a:t>
            </a:r>
          </a:p>
          <a:p>
            <a:pPr lvl="4"/>
            <a:r>
              <a:t>Nivel de texto 5</a:t>
            </a:r>
          </a:p>
        </p:txBody>
      </p:sp>
      <p:sp>
        <p:nvSpPr>
          <p:cNvPr id="500" name="Shape 500"/>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extLst>
      <p:ext uri="{BB962C8B-B14F-4D97-AF65-F5344CB8AC3E}">
        <p14:creationId xmlns:p14="http://schemas.microsoft.com/office/powerpoint/2010/main" val="4097319487"/>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tx">
  <p:cSld name="3 Squares">
    <p:bg>
      <p:bgPr>
        <a:solidFill>
          <a:srgbClr val="FFFFFF"/>
        </a:solidFill>
        <a:effectLst/>
      </p:bgPr>
    </p:bg>
    <p:spTree>
      <p:nvGrpSpPr>
        <p:cNvPr id="1" name=""/>
        <p:cNvGrpSpPr/>
        <p:nvPr/>
      </p:nvGrpSpPr>
      <p:grpSpPr>
        <a:xfrm>
          <a:off x="0" y="0"/>
          <a:ext cx="0" cy="0"/>
          <a:chOff x="0" y="0"/>
          <a:chExt cx="0" cy="0"/>
        </a:xfrm>
      </p:grpSpPr>
      <p:pic>
        <p:nvPicPr>
          <p:cNvPr id="507"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508" name="Shape 508"/>
          <p:cNvSpPr>
            <a:spLocks noGrp="1"/>
          </p:cNvSpPr>
          <p:nvPr>
            <p:ph type="pic" sz="quarter" idx="13"/>
          </p:nvPr>
        </p:nvSpPr>
        <p:spPr>
          <a:xfrm>
            <a:off x="485776" y="1620837"/>
            <a:ext cx="1673225" cy="1704976"/>
          </a:xfrm>
          <a:prstGeom prst="rect">
            <a:avLst/>
          </a:prstGeom>
        </p:spPr>
        <p:txBody>
          <a:bodyPr lIns="91439" tIns="45719" rIns="91439" bIns="45719"/>
          <a:lstStyle/>
          <a:p>
            <a:endParaRPr/>
          </a:p>
        </p:txBody>
      </p:sp>
      <p:sp>
        <p:nvSpPr>
          <p:cNvPr id="509" name="Shape 509"/>
          <p:cNvSpPr>
            <a:spLocks noGrp="1"/>
          </p:cNvSpPr>
          <p:nvPr>
            <p:ph type="pic" sz="quarter" idx="14"/>
          </p:nvPr>
        </p:nvSpPr>
        <p:spPr>
          <a:xfrm>
            <a:off x="4308478" y="1620837"/>
            <a:ext cx="1673223" cy="1704976"/>
          </a:xfrm>
          <a:prstGeom prst="rect">
            <a:avLst/>
          </a:prstGeom>
        </p:spPr>
        <p:txBody>
          <a:bodyPr lIns="91439" tIns="45719" rIns="91439" bIns="45719"/>
          <a:lstStyle/>
          <a:p>
            <a:endParaRPr/>
          </a:p>
        </p:txBody>
      </p:sp>
      <p:sp>
        <p:nvSpPr>
          <p:cNvPr id="510" name="Shape 510"/>
          <p:cNvSpPr>
            <a:spLocks noGrp="1"/>
          </p:cNvSpPr>
          <p:nvPr>
            <p:ph type="body" sz="quarter" idx="15"/>
          </p:nvPr>
        </p:nvSpPr>
        <p:spPr>
          <a:xfrm>
            <a:off x="485776" y="3548674"/>
            <a:ext cx="3578224" cy="318477"/>
          </a:xfrm>
          <a:prstGeom prst="rect">
            <a:avLst/>
          </a:prstGeom>
        </p:spPr>
        <p:txBody>
          <a:bodyPr/>
          <a:lstStyle>
            <a:lvl1pPr>
              <a:spcBef>
                <a:spcPts val="0"/>
              </a:spcBef>
              <a:defRPr b="1"/>
            </a:lvl1pPr>
          </a:lstStyle>
          <a:p>
            <a:r>
              <a:t> </a:t>
            </a:r>
          </a:p>
        </p:txBody>
      </p:sp>
      <p:sp>
        <p:nvSpPr>
          <p:cNvPr id="511" name="Shape 511"/>
          <p:cNvSpPr>
            <a:spLocks noGrp="1"/>
          </p:cNvSpPr>
          <p:nvPr>
            <p:ph type="body" sz="quarter" idx="16"/>
          </p:nvPr>
        </p:nvSpPr>
        <p:spPr>
          <a:xfrm>
            <a:off x="4305303" y="4319151"/>
            <a:ext cx="3581399" cy="1802249"/>
          </a:xfrm>
          <a:prstGeom prst="rect">
            <a:avLst/>
          </a:prstGeom>
        </p:spPr>
        <p:txBody>
          <a:bodyPr/>
          <a:lstStyle>
            <a:lvl1pPr>
              <a:defRPr sz="1500"/>
            </a:lvl1pPr>
          </a:lstStyle>
          <a:p>
            <a:r>
              <a:t> </a:t>
            </a:r>
          </a:p>
        </p:txBody>
      </p:sp>
      <p:sp>
        <p:nvSpPr>
          <p:cNvPr id="512" name="Shape 512"/>
          <p:cNvSpPr>
            <a:spLocks noGrp="1"/>
          </p:cNvSpPr>
          <p:nvPr>
            <p:ph type="body" sz="quarter" idx="17"/>
          </p:nvPr>
        </p:nvSpPr>
        <p:spPr>
          <a:xfrm>
            <a:off x="4305301" y="3866329"/>
            <a:ext cx="3581401" cy="318477"/>
          </a:xfrm>
          <a:prstGeom prst="rect">
            <a:avLst/>
          </a:prstGeom>
        </p:spPr>
        <p:txBody>
          <a:bodyPr/>
          <a:lstStyle>
            <a:lvl1pPr>
              <a:spcBef>
                <a:spcPts val="0"/>
              </a:spcBef>
              <a:defRPr sz="2000"/>
            </a:lvl1pPr>
          </a:lstStyle>
          <a:p>
            <a:r>
              <a:t> </a:t>
            </a:r>
          </a:p>
        </p:txBody>
      </p:sp>
      <p:sp>
        <p:nvSpPr>
          <p:cNvPr id="513" name="Shape 513"/>
          <p:cNvSpPr>
            <a:spLocks noGrp="1"/>
          </p:cNvSpPr>
          <p:nvPr>
            <p:ph type="body" sz="quarter" idx="18"/>
          </p:nvPr>
        </p:nvSpPr>
        <p:spPr>
          <a:xfrm>
            <a:off x="485779" y="4319151"/>
            <a:ext cx="3578222" cy="1802249"/>
          </a:xfrm>
          <a:prstGeom prst="rect">
            <a:avLst/>
          </a:prstGeom>
        </p:spPr>
        <p:txBody>
          <a:bodyPr/>
          <a:lstStyle>
            <a:lvl1pPr>
              <a:defRPr sz="1500"/>
            </a:lvl1pPr>
          </a:lstStyle>
          <a:p>
            <a:r>
              <a:t> </a:t>
            </a:r>
          </a:p>
        </p:txBody>
      </p:sp>
      <p:sp>
        <p:nvSpPr>
          <p:cNvPr id="514" name="Shape 514"/>
          <p:cNvSpPr>
            <a:spLocks noGrp="1"/>
          </p:cNvSpPr>
          <p:nvPr>
            <p:ph type="body" sz="quarter" idx="19"/>
          </p:nvPr>
        </p:nvSpPr>
        <p:spPr>
          <a:xfrm>
            <a:off x="485776" y="3866329"/>
            <a:ext cx="3578224" cy="318477"/>
          </a:xfrm>
          <a:prstGeom prst="rect">
            <a:avLst/>
          </a:prstGeom>
        </p:spPr>
        <p:txBody>
          <a:bodyPr/>
          <a:lstStyle>
            <a:lvl1pPr>
              <a:spcBef>
                <a:spcPts val="0"/>
              </a:spcBef>
            </a:lvl1pPr>
          </a:lstStyle>
          <a:p>
            <a:r>
              <a:t> </a:t>
            </a:r>
          </a:p>
        </p:txBody>
      </p:sp>
      <p:sp>
        <p:nvSpPr>
          <p:cNvPr id="515" name="Shape 515"/>
          <p:cNvSpPr>
            <a:spLocks noGrp="1"/>
          </p:cNvSpPr>
          <p:nvPr>
            <p:ph type="body" sz="quarter" idx="20"/>
          </p:nvPr>
        </p:nvSpPr>
        <p:spPr>
          <a:xfrm>
            <a:off x="8130667" y="3548674"/>
            <a:ext cx="3578734" cy="318477"/>
          </a:xfrm>
          <a:prstGeom prst="rect">
            <a:avLst/>
          </a:prstGeom>
        </p:spPr>
        <p:txBody>
          <a:bodyPr/>
          <a:lstStyle>
            <a:lvl1pPr>
              <a:spcBef>
                <a:spcPts val="0"/>
              </a:spcBef>
              <a:defRPr b="1"/>
            </a:lvl1pPr>
          </a:lstStyle>
          <a:p>
            <a:r>
              <a:t> </a:t>
            </a:r>
          </a:p>
        </p:txBody>
      </p:sp>
      <p:sp>
        <p:nvSpPr>
          <p:cNvPr id="516" name="Shape 516"/>
          <p:cNvSpPr>
            <a:spLocks noGrp="1"/>
          </p:cNvSpPr>
          <p:nvPr>
            <p:ph type="body" sz="quarter" idx="21"/>
          </p:nvPr>
        </p:nvSpPr>
        <p:spPr>
          <a:xfrm>
            <a:off x="8130670" y="4319151"/>
            <a:ext cx="3578733" cy="1802249"/>
          </a:xfrm>
          <a:prstGeom prst="rect">
            <a:avLst/>
          </a:prstGeom>
        </p:spPr>
        <p:txBody>
          <a:bodyPr/>
          <a:lstStyle>
            <a:lvl1pPr>
              <a:defRPr sz="1500"/>
            </a:lvl1pPr>
          </a:lstStyle>
          <a:p>
            <a:r>
              <a:t> </a:t>
            </a:r>
          </a:p>
        </p:txBody>
      </p:sp>
      <p:sp>
        <p:nvSpPr>
          <p:cNvPr id="517" name="Shape 517"/>
          <p:cNvSpPr>
            <a:spLocks noGrp="1"/>
          </p:cNvSpPr>
          <p:nvPr>
            <p:ph type="body" sz="quarter" idx="22"/>
          </p:nvPr>
        </p:nvSpPr>
        <p:spPr>
          <a:xfrm>
            <a:off x="8130667" y="3866329"/>
            <a:ext cx="3578734" cy="318477"/>
          </a:xfrm>
          <a:prstGeom prst="rect">
            <a:avLst/>
          </a:prstGeom>
        </p:spPr>
        <p:txBody>
          <a:bodyPr/>
          <a:lstStyle>
            <a:lvl1pPr>
              <a:spcBef>
                <a:spcPts val="0"/>
              </a:spcBef>
            </a:lvl1pPr>
          </a:lstStyle>
          <a:p>
            <a:r>
              <a:t> </a:t>
            </a:r>
          </a:p>
        </p:txBody>
      </p:sp>
      <p:sp>
        <p:nvSpPr>
          <p:cNvPr id="518" name="Shape 518"/>
          <p:cNvSpPr>
            <a:spLocks noGrp="1"/>
          </p:cNvSpPr>
          <p:nvPr>
            <p:ph type="pic" sz="quarter" idx="23"/>
          </p:nvPr>
        </p:nvSpPr>
        <p:spPr>
          <a:xfrm>
            <a:off x="8128000" y="1620837"/>
            <a:ext cx="1676400" cy="1704976"/>
          </a:xfrm>
          <a:prstGeom prst="rect">
            <a:avLst/>
          </a:prstGeom>
        </p:spPr>
        <p:txBody>
          <a:bodyPr lIns="91439" tIns="45719" rIns="91439" bIns="45719"/>
          <a:lstStyle/>
          <a:p>
            <a:endParaRPr/>
          </a:p>
        </p:txBody>
      </p:sp>
      <p:sp>
        <p:nvSpPr>
          <p:cNvPr id="519" name="Shape 519"/>
          <p:cNvSpPr>
            <a:spLocks noGrp="1"/>
          </p:cNvSpPr>
          <p:nvPr>
            <p:ph type="body" sz="quarter" idx="24"/>
          </p:nvPr>
        </p:nvSpPr>
        <p:spPr>
          <a:xfrm>
            <a:off x="485775" y="806807"/>
            <a:ext cx="11223626" cy="318477"/>
          </a:xfrm>
          <a:prstGeom prst="rect">
            <a:avLst/>
          </a:prstGeom>
        </p:spPr>
        <p:txBody>
          <a:bodyPr/>
          <a:lstStyle>
            <a:lvl1pPr>
              <a:defRPr b="1">
                <a:solidFill>
                  <a:srgbClr val="002C77"/>
                </a:solidFill>
              </a:defRPr>
            </a:lvl1pPr>
          </a:lstStyle>
          <a:p>
            <a:r>
              <a:t> </a:t>
            </a:r>
          </a:p>
        </p:txBody>
      </p:sp>
      <p:sp>
        <p:nvSpPr>
          <p:cNvPr id="520" name="Shape 520"/>
          <p:cNvSpPr>
            <a:spLocks noGrp="1"/>
          </p:cNvSpPr>
          <p:nvPr>
            <p:ph type="title"/>
          </p:nvPr>
        </p:nvSpPr>
        <p:spPr>
          <a:xfrm>
            <a:off x="457200" y="355600"/>
            <a:ext cx="11252200" cy="495300"/>
          </a:xfrm>
          <a:prstGeom prst="rect">
            <a:avLst/>
          </a:prstGeom>
        </p:spPr>
        <p:txBody>
          <a:bodyPr>
            <a:normAutofit/>
          </a:bodyPr>
          <a:lstStyle/>
          <a:p>
            <a:r>
              <a:t>Texto del título</a:t>
            </a:r>
          </a:p>
        </p:txBody>
      </p:sp>
      <p:sp>
        <p:nvSpPr>
          <p:cNvPr id="521" name="Shape 521"/>
          <p:cNvSpPr>
            <a:spLocks noGrp="1"/>
          </p:cNvSpPr>
          <p:nvPr>
            <p:ph type="body" sz="quarter" idx="1"/>
          </p:nvPr>
        </p:nvSpPr>
        <p:spPr>
          <a:xfrm>
            <a:off x="4305301" y="3548674"/>
            <a:ext cx="3581401" cy="318477"/>
          </a:xfrm>
          <a:prstGeom prst="rect">
            <a:avLst/>
          </a:prstGeom>
        </p:spPr>
        <p:txBody>
          <a:bodyPr>
            <a:normAutofit/>
          </a:bodyPr>
          <a:lstStyle>
            <a:lvl1pPr>
              <a:spcBef>
                <a:spcPts val="0"/>
              </a:spcBef>
              <a:defRPr b="1"/>
            </a:lvl1pPr>
            <a:lvl2pPr marL="0" indent="457200">
              <a:spcBef>
                <a:spcPts val="0"/>
              </a:spcBef>
              <a:buSzTx/>
              <a:buNone/>
              <a:defRPr b="1"/>
            </a:lvl2pPr>
            <a:lvl3pPr marL="0" indent="914400">
              <a:spcBef>
                <a:spcPts val="0"/>
              </a:spcBef>
              <a:buSzTx/>
              <a:buNone/>
              <a:defRPr b="1"/>
            </a:lvl3pPr>
            <a:lvl4pPr marL="0" indent="1371600">
              <a:spcBef>
                <a:spcPts val="0"/>
              </a:spcBef>
              <a:buSzTx/>
              <a:buNone/>
              <a:defRPr b="1"/>
            </a:lvl4pPr>
            <a:lvl5pPr marL="0" indent="1828800">
              <a:spcBef>
                <a:spcPts val="0"/>
              </a:spcBef>
              <a:buSzTx/>
              <a:buNone/>
              <a:defRPr b="1"/>
            </a:lvl5pPr>
          </a:lstStyle>
          <a:p>
            <a:r>
              <a:t>Nivel de texto 1</a:t>
            </a:r>
          </a:p>
          <a:p>
            <a:pPr lvl="1"/>
            <a:r>
              <a:t>Nivel de texto 2</a:t>
            </a:r>
          </a:p>
          <a:p>
            <a:pPr lvl="2"/>
            <a:r>
              <a:t>Nivel de texto 3</a:t>
            </a:r>
          </a:p>
          <a:p>
            <a:pPr lvl="3"/>
            <a:r>
              <a:t>Nivel de texto 4</a:t>
            </a:r>
          </a:p>
          <a:p>
            <a:pPr lvl="4"/>
            <a:r>
              <a:t>Nivel de texto 5</a:t>
            </a:r>
          </a:p>
        </p:txBody>
      </p:sp>
      <p:sp>
        <p:nvSpPr>
          <p:cNvPr id="522" name="Shape 522"/>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extLst>
      <p:ext uri="{BB962C8B-B14F-4D97-AF65-F5344CB8AC3E}">
        <p14:creationId xmlns:p14="http://schemas.microsoft.com/office/powerpoint/2010/main" val="2122337298"/>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x">
  <p:cSld name="Split callout gradient">
    <p:bg>
      <p:bgPr>
        <a:solidFill>
          <a:srgbClr val="FFFFFF"/>
        </a:solidFill>
        <a:effectLst/>
      </p:bgPr>
    </p:bg>
    <p:spTree>
      <p:nvGrpSpPr>
        <p:cNvPr id="1" name=""/>
        <p:cNvGrpSpPr/>
        <p:nvPr/>
      </p:nvGrpSpPr>
      <p:grpSpPr>
        <a:xfrm>
          <a:off x="0" y="0"/>
          <a:ext cx="0" cy="0"/>
          <a:chOff x="0" y="0"/>
          <a:chExt cx="0" cy="0"/>
        </a:xfrm>
      </p:grpSpPr>
      <p:pic>
        <p:nvPicPr>
          <p:cNvPr id="133"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134" name="Shape 134"/>
          <p:cNvSpPr/>
          <p:nvPr/>
        </p:nvSpPr>
        <p:spPr>
          <a:xfrm>
            <a:off x="8130488" y="0"/>
            <a:ext cx="4061513" cy="685800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lnTo>
                  <a:pt x="0" y="21600"/>
                </a:lnTo>
                <a:lnTo>
                  <a:pt x="0" y="5868"/>
                </a:lnTo>
                <a:lnTo>
                  <a:pt x="691" y="5471"/>
                </a:lnTo>
                <a:lnTo>
                  <a:pt x="0" y="5074"/>
                </a:lnTo>
                <a:close/>
              </a:path>
            </a:pathLst>
          </a:custGeom>
          <a:blipFill>
            <a:blip r:embed="rId3"/>
            <a:stretch>
              <a:fillRect/>
            </a:stretch>
          </a:blipFill>
          <a:ln w="12700">
            <a:miter lim="400000"/>
          </a:ln>
        </p:spPr>
        <p:txBody>
          <a:bodyPr lIns="0" tIns="0" rIns="0" bIns="0" anchor="ctr"/>
          <a:lstStyle/>
          <a:p>
            <a:pPr algn="ctr">
              <a:defRPr>
                <a:solidFill>
                  <a:srgbClr val="FFFFFF"/>
                </a:solidFill>
              </a:defRPr>
            </a:pPr>
            <a:endParaRPr/>
          </a:p>
        </p:txBody>
      </p:sp>
      <p:sp>
        <p:nvSpPr>
          <p:cNvPr id="135" name="Shape 135"/>
          <p:cNvSpPr>
            <a:spLocks noGrp="1"/>
          </p:cNvSpPr>
          <p:nvPr>
            <p:ph type="title"/>
          </p:nvPr>
        </p:nvSpPr>
        <p:spPr>
          <a:xfrm>
            <a:off x="457201" y="355600"/>
            <a:ext cx="7429501" cy="495300"/>
          </a:xfrm>
          <a:prstGeom prst="rect">
            <a:avLst/>
          </a:prstGeom>
        </p:spPr>
        <p:txBody>
          <a:bodyPr>
            <a:normAutofit/>
          </a:bodyPr>
          <a:lstStyle/>
          <a:p>
            <a:r>
              <a:t>Texto del título</a:t>
            </a:r>
          </a:p>
        </p:txBody>
      </p:sp>
      <p:sp>
        <p:nvSpPr>
          <p:cNvPr id="136" name="Shape 136"/>
          <p:cNvSpPr>
            <a:spLocks noGrp="1"/>
          </p:cNvSpPr>
          <p:nvPr>
            <p:ph type="body" sz="quarter" idx="1"/>
          </p:nvPr>
        </p:nvSpPr>
        <p:spPr>
          <a:xfrm>
            <a:off x="485776" y="806807"/>
            <a:ext cx="7400926" cy="318477"/>
          </a:xfrm>
          <a:prstGeom prst="rect">
            <a:avLst/>
          </a:prstGeom>
        </p:spPr>
        <p:txBody>
          <a:bodyPr>
            <a:normAutofit/>
          </a:bodyPr>
          <a:lstStyle>
            <a:lvl1pPr>
              <a:defRPr b="1">
                <a:solidFill>
                  <a:srgbClr val="002C77"/>
                </a:solidFill>
              </a:defRPr>
            </a:lvl1pPr>
            <a:lvl2pPr marL="0" indent="457200">
              <a:buSzTx/>
              <a:buNone/>
              <a:defRPr b="1">
                <a:solidFill>
                  <a:srgbClr val="002C77"/>
                </a:solidFill>
              </a:defRPr>
            </a:lvl2pPr>
            <a:lvl3pPr marL="0" indent="914400">
              <a:buSzTx/>
              <a:buNone/>
              <a:defRPr b="1">
                <a:solidFill>
                  <a:srgbClr val="002C77"/>
                </a:solidFill>
              </a:defRPr>
            </a:lvl3pPr>
            <a:lvl4pPr marL="0" indent="1371600">
              <a:buSzTx/>
              <a:buNone/>
              <a:defRPr b="1">
                <a:solidFill>
                  <a:srgbClr val="002C77"/>
                </a:solidFill>
              </a:defRPr>
            </a:lvl4pPr>
            <a:lvl5pPr marL="0" indent="1828800">
              <a:buSzTx/>
              <a:buNone/>
              <a:defRPr b="1">
                <a:solidFill>
                  <a:srgbClr val="002C77"/>
                </a:solidFill>
              </a:defRPr>
            </a:lvl5pPr>
          </a:lstStyle>
          <a:p>
            <a:r>
              <a:t>Nivel de texto 1</a:t>
            </a:r>
          </a:p>
          <a:p>
            <a:pPr lvl="1"/>
            <a:r>
              <a:t>Nivel de texto 2</a:t>
            </a:r>
          </a:p>
          <a:p>
            <a:pPr lvl="2"/>
            <a:r>
              <a:t>Nivel de texto 3</a:t>
            </a:r>
          </a:p>
          <a:p>
            <a:pPr lvl="3"/>
            <a:r>
              <a:t>Nivel de texto 4</a:t>
            </a:r>
          </a:p>
          <a:p>
            <a:pPr lvl="4"/>
            <a:r>
              <a:t>Nivel de texto 5</a:t>
            </a:r>
          </a:p>
        </p:txBody>
      </p:sp>
      <p:sp>
        <p:nvSpPr>
          <p:cNvPr id="137" name="Shape 137"/>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type="tx">
  <p:cSld name="4 Squares">
    <p:bg>
      <p:bgPr>
        <a:solidFill>
          <a:srgbClr val="FFFFFF"/>
        </a:solidFill>
        <a:effectLst/>
      </p:bgPr>
    </p:bg>
    <p:spTree>
      <p:nvGrpSpPr>
        <p:cNvPr id="1" name=""/>
        <p:cNvGrpSpPr/>
        <p:nvPr/>
      </p:nvGrpSpPr>
      <p:grpSpPr>
        <a:xfrm>
          <a:off x="0" y="0"/>
          <a:ext cx="0" cy="0"/>
          <a:chOff x="0" y="0"/>
          <a:chExt cx="0" cy="0"/>
        </a:xfrm>
      </p:grpSpPr>
      <p:pic>
        <p:nvPicPr>
          <p:cNvPr id="529"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530" name="Shape 530"/>
          <p:cNvSpPr>
            <a:spLocks noGrp="1"/>
          </p:cNvSpPr>
          <p:nvPr>
            <p:ph type="pic" sz="quarter" idx="13"/>
          </p:nvPr>
        </p:nvSpPr>
        <p:spPr>
          <a:xfrm>
            <a:off x="485776" y="1620837"/>
            <a:ext cx="1673225" cy="1704976"/>
          </a:xfrm>
          <a:prstGeom prst="rect">
            <a:avLst/>
          </a:prstGeom>
        </p:spPr>
        <p:txBody>
          <a:bodyPr lIns="91439" tIns="45719" rIns="91439" bIns="45719"/>
          <a:lstStyle/>
          <a:p>
            <a:endParaRPr/>
          </a:p>
        </p:txBody>
      </p:sp>
      <p:sp>
        <p:nvSpPr>
          <p:cNvPr id="531" name="Shape 531"/>
          <p:cNvSpPr>
            <a:spLocks noGrp="1"/>
          </p:cNvSpPr>
          <p:nvPr>
            <p:ph type="pic" sz="quarter" idx="14"/>
          </p:nvPr>
        </p:nvSpPr>
        <p:spPr>
          <a:xfrm>
            <a:off x="6226173" y="1620837"/>
            <a:ext cx="1660527" cy="1704976"/>
          </a:xfrm>
          <a:prstGeom prst="rect">
            <a:avLst/>
          </a:prstGeom>
        </p:spPr>
        <p:txBody>
          <a:bodyPr lIns="91439" tIns="45719" rIns="91439" bIns="45719"/>
          <a:lstStyle/>
          <a:p>
            <a:endParaRPr/>
          </a:p>
        </p:txBody>
      </p:sp>
      <p:sp>
        <p:nvSpPr>
          <p:cNvPr id="532" name="Shape 532"/>
          <p:cNvSpPr>
            <a:spLocks noGrp="1"/>
          </p:cNvSpPr>
          <p:nvPr>
            <p:ph type="body" sz="quarter" idx="15"/>
          </p:nvPr>
        </p:nvSpPr>
        <p:spPr>
          <a:xfrm>
            <a:off x="2387599" y="3800319"/>
            <a:ext cx="3594102" cy="318477"/>
          </a:xfrm>
          <a:prstGeom prst="rect">
            <a:avLst/>
          </a:prstGeom>
        </p:spPr>
        <p:txBody>
          <a:bodyPr/>
          <a:lstStyle>
            <a:lvl1pPr>
              <a:spcBef>
                <a:spcPts val="0"/>
              </a:spcBef>
              <a:defRPr b="1"/>
            </a:lvl1pPr>
          </a:lstStyle>
          <a:p>
            <a:r>
              <a:t> </a:t>
            </a:r>
          </a:p>
        </p:txBody>
      </p:sp>
      <p:sp>
        <p:nvSpPr>
          <p:cNvPr id="533" name="Shape 533"/>
          <p:cNvSpPr>
            <a:spLocks noGrp="1"/>
          </p:cNvSpPr>
          <p:nvPr>
            <p:ph type="body" sz="quarter" idx="16"/>
          </p:nvPr>
        </p:nvSpPr>
        <p:spPr>
          <a:xfrm>
            <a:off x="8128000" y="4502460"/>
            <a:ext cx="3581401" cy="1114116"/>
          </a:xfrm>
          <a:prstGeom prst="rect">
            <a:avLst/>
          </a:prstGeom>
        </p:spPr>
        <p:txBody>
          <a:bodyPr/>
          <a:lstStyle>
            <a:lvl1pPr>
              <a:defRPr sz="1500"/>
            </a:lvl1pPr>
          </a:lstStyle>
          <a:p>
            <a:r>
              <a:t> </a:t>
            </a:r>
          </a:p>
        </p:txBody>
      </p:sp>
      <p:sp>
        <p:nvSpPr>
          <p:cNvPr id="534" name="Shape 534"/>
          <p:cNvSpPr>
            <a:spLocks noGrp="1"/>
          </p:cNvSpPr>
          <p:nvPr>
            <p:ph type="body" sz="quarter" idx="17"/>
          </p:nvPr>
        </p:nvSpPr>
        <p:spPr>
          <a:xfrm>
            <a:off x="8127999" y="4117975"/>
            <a:ext cx="3581402" cy="318477"/>
          </a:xfrm>
          <a:prstGeom prst="rect">
            <a:avLst/>
          </a:prstGeom>
        </p:spPr>
        <p:txBody>
          <a:bodyPr/>
          <a:lstStyle>
            <a:lvl1pPr>
              <a:spcBef>
                <a:spcPts val="0"/>
              </a:spcBef>
            </a:lvl1pPr>
          </a:lstStyle>
          <a:p>
            <a:r>
              <a:t> </a:t>
            </a:r>
          </a:p>
        </p:txBody>
      </p:sp>
      <p:sp>
        <p:nvSpPr>
          <p:cNvPr id="535" name="Shape 535"/>
          <p:cNvSpPr>
            <a:spLocks noGrp="1"/>
          </p:cNvSpPr>
          <p:nvPr>
            <p:ph type="body" sz="quarter" idx="18"/>
          </p:nvPr>
        </p:nvSpPr>
        <p:spPr>
          <a:xfrm>
            <a:off x="2387600" y="4502460"/>
            <a:ext cx="3594101" cy="1114116"/>
          </a:xfrm>
          <a:prstGeom prst="rect">
            <a:avLst/>
          </a:prstGeom>
        </p:spPr>
        <p:txBody>
          <a:bodyPr/>
          <a:lstStyle>
            <a:lvl1pPr>
              <a:defRPr sz="1500"/>
            </a:lvl1pPr>
          </a:lstStyle>
          <a:p>
            <a:r>
              <a:t> </a:t>
            </a:r>
          </a:p>
        </p:txBody>
      </p:sp>
      <p:sp>
        <p:nvSpPr>
          <p:cNvPr id="536" name="Shape 536"/>
          <p:cNvSpPr>
            <a:spLocks noGrp="1"/>
          </p:cNvSpPr>
          <p:nvPr>
            <p:ph type="body" sz="quarter" idx="19"/>
          </p:nvPr>
        </p:nvSpPr>
        <p:spPr>
          <a:xfrm>
            <a:off x="2387599" y="4117975"/>
            <a:ext cx="3594102" cy="318477"/>
          </a:xfrm>
          <a:prstGeom prst="rect">
            <a:avLst/>
          </a:prstGeom>
        </p:spPr>
        <p:txBody>
          <a:bodyPr/>
          <a:lstStyle>
            <a:lvl1pPr>
              <a:spcBef>
                <a:spcPts val="0"/>
              </a:spcBef>
            </a:lvl1pPr>
          </a:lstStyle>
          <a:p>
            <a:r>
              <a:t> </a:t>
            </a:r>
          </a:p>
        </p:txBody>
      </p:sp>
      <p:sp>
        <p:nvSpPr>
          <p:cNvPr id="537" name="Shape 537"/>
          <p:cNvSpPr>
            <a:spLocks noGrp="1"/>
          </p:cNvSpPr>
          <p:nvPr>
            <p:ph type="body" sz="quarter" idx="20"/>
          </p:nvPr>
        </p:nvSpPr>
        <p:spPr>
          <a:xfrm>
            <a:off x="8127999" y="1564114"/>
            <a:ext cx="3581402" cy="318477"/>
          </a:xfrm>
          <a:prstGeom prst="rect">
            <a:avLst/>
          </a:prstGeom>
        </p:spPr>
        <p:txBody>
          <a:bodyPr/>
          <a:lstStyle>
            <a:lvl1pPr>
              <a:spcBef>
                <a:spcPts val="0"/>
              </a:spcBef>
              <a:defRPr b="1"/>
            </a:lvl1pPr>
          </a:lstStyle>
          <a:p>
            <a:r>
              <a:t> </a:t>
            </a:r>
          </a:p>
        </p:txBody>
      </p:sp>
      <p:sp>
        <p:nvSpPr>
          <p:cNvPr id="538" name="Shape 538"/>
          <p:cNvSpPr>
            <a:spLocks noGrp="1"/>
          </p:cNvSpPr>
          <p:nvPr>
            <p:ph type="body" sz="quarter" idx="21"/>
          </p:nvPr>
        </p:nvSpPr>
        <p:spPr>
          <a:xfrm>
            <a:off x="2387599" y="1564114"/>
            <a:ext cx="3594102" cy="318477"/>
          </a:xfrm>
          <a:prstGeom prst="rect">
            <a:avLst/>
          </a:prstGeom>
        </p:spPr>
        <p:txBody>
          <a:bodyPr/>
          <a:lstStyle>
            <a:lvl1pPr>
              <a:spcBef>
                <a:spcPts val="0"/>
              </a:spcBef>
              <a:defRPr b="1"/>
            </a:lvl1pPr>
          </a:lstStyle>
          <a:p>
            <a:r>
              <a:t> </a:t>
            </a:r>
          </a:p>
        </p:txBody>
      </p:sp>
      <p:sp>
        <p:nvSpPr>
          <p:cNvPr id="539" name="Shape 539"/>
          <p:cNvSpPr>
            <a:spLocks noGrp="1"/>
          </p:cNvSpPr>
          <p:nvPr>
            <p:ph type="body" sz="quarter" idx="22"/>
          </p:nvPr>
        </p:nvSpPr>
        <p:spPr>
          <a:xfrm>
            <a:off x="8128000" y="2266255"/>
            <a:ext cx="3581401" cy="1114116"/>
          </a:xfrm>
          <a:prstGeom prst="rect">
            <a:avLst/>
          </a:prstGeom>
        </p:spPr>
        <p:txBody>
          <a:bodyPr/>
          <a:lstStyle>
            <a:lvl1pPr>
              <a:defRPr sz="1500"/>
            </a:lvl1pPr>
          </a:lstStyle>
          <a:p>
            <a:r>
              <a:t> </a:t>
            </a:r>
          </a:p>
        </p:txBody>
      </p:sp>
      <p:sp>
        <p:nvSpPr>
          <p:cNvPr id="540" name="Shape 540"/>
          <p:cNvSpPr>
            <a:spLocks noGrp="1"/>
          </p:cNvSpPr>
          <p:nvPr>
            <p:ph type="body" sz="quarter" idx="23"/>
          </p:nvPr>
        </p:nvSpPr>
        <p:spPr>
          <a:xfrm>
            <a:off x="8127999" y="1881770"/>
            <a:ext cx="3581402" cy="318477"/>
          </a:xfrm>
          <a:prstGeom prst="rect">
            <a:avLst/>
          </a:prstGeom>
        </p:spPr>
        <p:txBody>
          <a:bodyPr/>
          <a:lstStyle>
            <a:lvl1pPr>
              <a:spcBef>
                <a:spcPts val="0"/>
              </a:spcBef>
            </a:lvl1pPr>
          </a:lstStyle>
          <a:p>
            <a:r>
              <a:t> </a:t>
            </a:r>
          </a:p>
        </p:txBody>
      </p:sp>
      <p:sp>
        <p:nvSpPr>
          <p:cNvPr id="541" name="Shape 541"/>
          <p:cNvSpPr>
            <a:spLocks noGrp="1"/>
          </p:cNvSpPr>
          <p:nvPr>
            <p:ph type="body" sz="quarter" idx="24"/>
          </p:nvPr>
        </p:nvSpPr>
        <p:spPr>
          <a:xfrm>
            <a:off x="2387600" y="2266255"/>
            <a:ext cx="3594101" cy="1114116"/>
          </a:xfrm>
          <a:prstGeom prst="rect">
            <a:avLst/>
          </a:prstGeom>
        </p:spPr>
        <p:txBody>
          <a:bodyPr/>
          <a:lstStyle>
            <a:lvl1pPr>
              <a:defRPr sz="1500"/>
            </a:lvl1pPr>
          </a:lstStyle>
          <a:p>
            <a:r>
              <a:t> </a:t>
            </a:r>
          </a:p>
        </p:txBody>
      </p:sp>
      <p:sp>
        <p:nvSpPr>
          <p:cNvPr id="542" name="Shape 542"/>
          <p:cNvSpPr>
            <a:spLocks noGrp="1"/>
          </p:cNvSpPr>
          <p:nvPr>
            <p:ph type="body" sz="quarter" idx="25"/>
          </p:nvPr>
        </p:nvSpPr>
        <p:spPr>
          <a:xfrm>
            <a:off x="2387599" y="1881770"/>
            <a:ext cx="3594102" cy="318477"/>
          </a:xfrm>
          <a:prstGeom prst="rect">
            <a:avLst/>
          </a:prstGeom>
        </p:spPr>
        <p:txBody>
          <a:bodyPr/>
          <a:lstStyle>
            <a:lvl1pPr>
              <a:spcBef>
                <a:spcPts val="0"/>
              </a:spcBef>
            </a:lvl1pPr>
          </a:lstStyle>
          <a:p>
            <a:r>
              <a:t> </a:t>
            </a:r>
          </a:p>
        </p:txBody>
      </p:sp>
      <p:sp>
        <p:nvSpPr>
          <p:cNvPr id="543" name="Shape 543"/>
          <p:cNvSpPr>
            <a:spLocks noGrp="1"/>
          </p:cNvSpPr>
          <p:nvPr>
            <p:ph type="pic" sz="quarter" idx="26"/>
          </p:nvPr>
        </p:nvSpPr>
        <p:spPr>
          <a:xfrm>
            <a:off x="485776" y="3879091"/>
            <a:ext cx="1673225" cy="1704975"/>
          </a:xfrm>
          <a:prstGeom prst="rect">
            <a:avLst/>
          </a:prstGeom>
        </p:spPr>
        <p:txBody>
          <a:bodyPr lIns="91439" tIns="45719" rIns="91439" bIns="45719"/>
          <a:lstStyle/>
          <a:p>
            <a:endParaRPr/>
          </a:p>
        </p:txBody>
      </p:sp>
      <p:sp>
        <p:nvSpPr>
          <p:cNvPr id="544" name="Shape 544"/>
          <p:cNvSpPr>
            <a:spLocks noGrp="1"/>
          </p:cNvSpPr>
          <p:nvPr>
            <p:ph type="pic" sz="quarter" idx="27"/>
          </p:nvPr>
        </p:nvSpPr>
        <p:spPr>
          <a:xfrm>
            <a:off x="6226173" y="3879091"/>
            <a:ext cx="1660527" cy="1704975"/>
          </a:xfrm>
          <a:prstGeom prst="rect">
            <a:avLst/>
          </a:prstGeom>
        </p:spPr>
        <p:txBody>
          <a:bodyPr lIns="91439" tIns="45719" rIns="91439" bIns="45719"/>
          <a:lstStyle/>
          <a:p>
            <a:endParaRPr/>
          </a:p>
        </p:txBody>
      </p:sp>
      <p:sp>
        <p:nvSpPr>
          <p:cNvPr id="545" name="Shape 545"/>
          <p:cNvSpPr>
            <a:spLocks noGrp="1"/>
          </p:cNvSpPr>
          <p:nvPr>
            <p:ph type="body" sz="quarter" idx="28"/>
          </p:nvPr>
        </p:nvSpPr>
        <p:spPr>
          <a:xfrm>
            <a:off x="485775" y="806807"/>
            <a:ext cx="11223626" cy="318477"/>
          </a:xfrm>
          <a:prstGeom prst="rect">
            <a:avLst/>
          </a:prstGeom>
        </p:spPr>
        <p:txBody>
          <a:bodyPr/>
          <a:lstStyle>
            <a:lvl1pPr>
              <a:defRPr b="1">
                <a:solidFill>
                  <a:srgbClr val="002C77"/>
                </a:solidFill>
              </a:defRPr>
            </a:lvl1pPr>
          </a:lstStyle>
          <a:p>
            <a:r>
              <a:t> </a:t>
            </a:r>
          </a:p>
        </p:txBody>
      </p:sp>
      <p:sp>
        <p:nvSpPr>
          <p:cNvPr id="546" name="Shape 546"/>
          <p:cNvSpPr>
            <a:spLocks noGrp="1"/>
          </p:cNvSpPr>
          <p:nvPr>
            <p:ph type="title"/>
          </p:nvPr>
        </p:nvSpPr>
        <p:spPr>
          <a:xfrm>
            <a:off x="457200" y="355600"/>
            <a:ext cx="11252200" cy="495300"/>
          </a:xfrm>
          <a:prstGeom prst="rect">
            <a:avLst/>
          </a:prstGeom>
        </p:spPr>
        <p:txBody>
          <a:bodyPr>
            <a:normAutofit/>
          </a:bodyPr>
          <a:lstStyle/>
          <a:p>
            <a:r>
              <a:t>Texto del título</a:t>
            </a:r>
          </a:p>
        </p:txBody>
      </p:sp>
      <p:sp>
        <p:nvSpPr>
          <p:cNvPr id="547" name="Shape 547"/>
          <p:cNvSpPr>
            <a:spLocks noGrp="1"/>
          </p:cNvSpPr>
          <p:nvPr>
            <p:ph type="body" sz="quarter" idx="1"/>
          </p:nvPr>
        </p:nvSpPr>
        <p:spPr>
          <a:xfrm>
            <a:off x="8127999" y="3800319"/>
            <a:ext cx="3581402" cy="318477"/>
          </a:xfrm>
          <a:prstGeom prst="rect">
            <a:avLst/>
          </a:prstGeom>
        </p:spPr>
        <p:txBody>
          <a:bodyPr>
            <a:normAutofit/>
          </a:bodyPr>
          <a:lstStyle>
            <a:lvl1pPr>
              <a:spcBef>
                <a:spcPts val="0"/>
              </a:spcBef>
              <a:defRPr b="1"/>
            </a:lvl1pPr>
            <a:lvl2pPr marL="0" indent="457200">
              <a:spcBef>
                <a:spcPts val="0"/>
              </a:spcBef>
              <a:buSzTx/>
              <a:buNone/>
              <a:defRPr b="1"/>
            </a:lvl2pPr>
            <a:lvl3pPr marL="0" indent="914400">
              <a:spcBef>
                <a:spcPts val="0"/>
              </a:spcBef>
              <a:buSzTx/>
              <a:buNone/>
              <a:defRPr b="1"/>
            </a:lvl3pPr>
            <a:lvl4pPr marL="0" indent="1371600">
              <a:spcBef>
                <a:spcPts val="0"/>
              </a:spcBef>
              <a:buSzTx/>
              <a:buNone/>
              <a:defRPr b="1"/>
            </a:lvl4pPr>
            <a:lvl5pPr marL="0" indent="1828800">
              <a:spcBef>
                <a:spcPts val="0"/>
              </a:spcBef>
              <a:buSzTx/>
              <a:buNone/>
              <a:defRPr b="1"/>
            </a:lvl5pPr>
          </a:lstStyle>
          <a:p>
            <a:r>
              <a:t>Nivel de texto 1</a:t>
            </a:r>
          </a:p>
          <a:p>
            <a:pPr lvl="1"/>
            <a:r>
              <a:t>Nivel de texto 2</a:t>
            </a:r>
          </a:p>
          <a:p>
            <a:pPr lvl="2"/>
            <a:r>
              <a:t>Nivel de texto 3</a:t>
            </a:r>
          </a:p>
          <a:p>
            <a:pPr lvl="3"/>
            <a:r>
              <a:t>Nivel de texto 4</a:t>
            </a:r>
          </a:p>
          <a:p>
            <a:pPr lvl="4"/>
            <a:r>
              <a:t>Nivel de texto 5</a:t>
            </a:r>
          </a:p>
        </p:txBody>
      </p:sp>
      <p:sp>
        <p:nvSpPr>
          <p:cNvPr id="548" name="Shape 548"/>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extLst>
      <p:ext uri="{BB962C8B-B14F-4D97-AF65-F5344CB8AC3E}">
        <p14:creationId xmlns:p14="http://schemas.microsoft.com/office/powerpoint/2010/main" val="2586188661"/>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tx">
  <p:cSld name="8 Squares">
    <p:bg>
      <p:bgPr>
        <a:solidFill>
          <a:srgbClr val="FFFFFF"/>
        </a:solidFill>
        <a:effectLst/>
      </p:bgPr>
    </p:bg>
    <p:spTree>
      <p:nvGrpSpPr>
        <p:cNvPr id="1" name=""/>
        <p:cNvGrpSpPr/>
        <p:nvPr/>
      </p:nvGrpSpPr>
      <p:grpSpPr>
        <a:xfrm>
          <a:off x="0" y="0"/>
          <a:ext cx="0" cy="0"/>
          <a:chOff x="0" y="0"/>
          <a:chExt cx="0" cy="0"/>
        </a:xfrm>
      </p:grpSpPr>
      <p:pic>
        <p:nvPicPr>
          <p:cNvPr id="555"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556" name="Shape 556"/>
          <p:cNvSpPr>
            <a:spLocks noGrp="1"/>
          </p:cNvSpPr>
          <p:nvPr>
            <p:ph type="pic" sz="quarter" idx="13"/>
          </p:nvPr>
        </p:nvSpPr>
        <p:spPr>
          <a:xfrm>
            <a:off x="485776" y="1620837"/>
            <a:ext cx="1271904" cy="1271905"/>
          </a:xfrm>
          <a:prstGeom prst="rect">
            <a:avLst/>
          </a:prstGeom>
        </p:spPr>
        <p:txBody>
          <a:bodyPr lIns="91439" tIns="45719" rIns="91439" bIns="45719"/>
          <a:lstStyle/>
          <a:p>
            <a:endParaRPr/>
          </a:p>
        </p:txBody>
      </p:sp>
      <p:sp>
        <p:nvSpPr>
          <p:cNvPr id="557" name="Shape 557"/>
          <p:cNvSpPr>
            <a:spLocks noGrp="1"/>
          </p:cNvSpPr>
          <p:nvPr>
            <p:ph type="body" sz="quarter" idx="14"/>
          </p:nvPr>
        </p:nvSpPr>
        <p:spPr>
          <a:xfrm>
            <a:off x="485776" y="3310128"/>
            <a:ext cx="2625726" cy="317656"/>
          </a:xfrm>
          <a:prstGeom prst="rect">
            <a:avLst/>
          </a:prstGeom>
        </p:spPr>
        <p:txBody>
          <a:bodyPr/>
          <a:lstStyle>
            <a:lvl1pPr>
              <a:spcBef>
                <a:spcPts val="0"/>
              </a:spcBef>
              <a:defRPr sz="1600"/>
            </a:lvl1pPr>
          </a:lstStyle>
          <a:p>
            <a:r>
              <a:t> </a:t>
            </a:r>
          </a:p>
        </p:txBody>
      </p:sp>
      <p:sp>
        <p:nvSpPr>
          <p:cNvPr id="558" name="Shape 558"/>
          <p:cNvSpPr>
            <a:spLocks noGrp="1"/>
          </p:cNvSpPr>
          <p:nvPr>
            <p:ph type="body" sz="quarter" idx="15"/>
          </p:nvPr>
        </p:nvSpPr>
        <p:spPr>
          <a:xfrm>
            <a:off x="485775" y="806807"/>
            <a:ext cx="11223626" cy="318477"/>
          </a:xfrm>
          <a:prstGeom prst="rect">
            <a:avLst/>
          </a:prstGeom>
        </p:spPr>
        <p:txBody>
          <a:bodyPr/>
          <a:lstStyle>
            <a:lvl1pPr>
              <a:defRPr b="1">
                <a:solidFill>
                  <a:srgbClr val="002C77"/>
                </a:solidFill>
              </a:defRPr>
            </a:lvl1pPr>
          </a:lstStyle>
          <a:p>
            <a:r>
              <a:t> </a:t>
            </a:r>
          </a:p>
        </p:txBody>
      </p:sp>
      <p:sp>
        <p:nvSpPr>
          <p:cNvPr id="559" name="Shape 559"/>
          <p:cNvSpPr>
            <a:spLocks noGrp="1"/>
          </p:cNvSpPr>
          <p:nvPr>
            <p:ph type="pic" sz="quarter" idx="16"/>
          </p:nvPr>
        </p:nvSpPr>
        <p:spPr>
          <a:xfrm>
            <a:off x="3361056" y="1620837"/>
            <a:ext cx="1271905" cy="1271905"/>
          </a:xfrm>
          <a:prstGeom prst="rect">
            <a:avLst/>
          </a:prstGeom>
        </p:spPr>
        <p:txBody>
          <a:bodyPr lIns="91439" tIns="45719" rIns="91439" bIns="45719"/>
          <a:lstStyle/>
          <a:p>
            <a:endParaRPr/>
          </a:p>
        </p:txBody>
      </p:sp>
      <p:sp>
        <p:nvSpPr>
          <p:cNvPr id="560" name="Shape 560"/>
          <p:cNvSpPr>
            <a:spLocks noGrp="1"/>
          </p:cNvSpPr>
          <p:nvPr>
            <p:ph type="pic" sz="quarter" idx="17"/>
          </p:nvPr>
        </p:nvSpPr>
        <p:spPr>
          <a:xfrm>
            <a:off x="6210300" y="1620837"/>
            <a:ext cx="1271904" cy="1271905"/>
          </a:xfrm>
          <a:prstGeom prst="rect">
            <a:avLst/>
          </a:prstGeom>
        </p:spPr>
        <p:txBody>
          <a:bodyPr lIns="91439" tIns="45719" rIns="91439" bIns="45719"/>
          <a:lstStyle/>
          <a:p>
            <a:endParaRPr/>
          </a:p>
        </p:txBody>
      </p:sp>
      <p:sp>
        <p:nvSpPr>
          <p:cNvPr id="561" name="Shape 561"/>
          <p:cNvSpPr>
            <a:spLocks noGrp="1"/>
          </p:cNvSpPr>
          <p:nvPr>
            <p:ph type="pic" sz="quarter" idx="18"/>
          </p:nvPr>
        </p:nvSpPr>
        <p:spPr>
          <a:xfrm>
            <a:off x="9080500" y="1620837"/>
            <a:ext cx="1271904" cy="1271905"/>
          </a:xfrm>
          <a:prstGeom prst="rect">
            <a:avLst/>
          </a:prstGeom>
        </p:spPr>
        <p:txBody>
          <a:bodyPr lIns="91439" tIns="45719" rIns="91439" bIns="45719"/>
          <a:lstStyle/>
          <a:p>
            <a:endParaRPr/>
          </a:p>
        </p:txBody>
      </p:sp>
      <p:sp>
        <p:nvSpPr>
          <p:cNvPr id="562" name="Shape 562"/>
          <p:cNvSpPr>
            <a:spLocks noGrp="1"/>
          </p:cNvSpPr>
          <p:nvPr>
            <p:ph type="body" sz="quarter" idx="19"/>
          </p:nvPr>
        </p:nvSpPr>
        <p:spPr>
          <a:xfrm>
            <a:off x="3361056" y="2992473"/>
            <a:ext cx="2625725" cy="317656"/>
          </a:xfrm>
          <a:prstGeom prst="rect">
            <a:avLst/>
          </a:prstGeom>
        </p:spPr>
        <p:txBody>
          <a:bodyPr/>
          <a:lstStyle>
            <a:lvl1pPr>
              <a:spcBef>
                <a:spcPts val="0"/>
              </a:spcBef>
              <a:defRPr sz="1600" b="1"/>
            </a:lvl1pPr>
          </a:lstStyle>
          <a:p>
            <a:r>
              <a:t> </a:t>
            </a:r>
          </a:p>
        </p:txBody>
      </p:sp>
      <p:sp>
        <p:nvSpPr>
          <p:cNvPr id="563" name="Shape 563"/>
          <p:cNvSpPr>
            <a:spLocks noGrp="1"/>
          </p:cNvSpPr>
          <p:nvPr>
            <p:ph type="body" sz="quarter" idx="20"/>
          </p:nvPr>
        </p:nvSpPr>
        <p:spPr>
          <a:xfrm>
            <a:off x="3361056" y="3310128"/>
            <a:ext cx="2625725" cy="317656"/>
          </a:xfrm>
          <a:prstGeom prst="rect">
            <a:avLst/>
          </a:prstGeom>
        </p:spPr>
        <p:txBody>
          <a:bodyPr/>
          <a:lstStyle>
            <a:lvl1pPr>
              <a:spcBef>
                <a:spcPts val="0"/>
              </a:spcBef>
              <a:defRPr sz="1600"/>
            </a:lvl1pPr>
          </a:lstStyle>
          <a:p>
            <a:r>
              <a:t> </a:t>
            </a:r>
          </a:p>
        </p:txBody>
      </p:sp>
      <p:sp>
        <p:nvSpPr>
          <p:cNvPr id="564" name="Shape 564"/>
          <p:cNvSpPr>
            <a:spLocks noGrp="1"/>
          </p:cNvSpPr>
          <p:nvPr>
            <p:ph type="body" sz="quarter" idx="21"/>
          </p:nvPr>
        </p:nvSpPr>
        <p:spPr>
          <a:xfrm>
            <a:off x="6205856" y="2992473"/>
            <a:ext cx="2625725" cy="317656"/>
          </a:xfrm>
          <a:prstGeom prst="rect">
            <a:avLst/>
          </a:prstGeom>
        </p:spPr>
        <p:txBody>
          <a:bodyPr/>
          <a:lstStyle>
            <a:lvl1pPr>
              <a:spcBef>
                <a:spcPts val="0"/>
              </a:spcBef>
              <a:defRPr sz="1600" b="1"/>
            </a:lvl1pPr>
          </a:lstStyle>
          <a:p>
            <a:r>
              <a:t> </a:t>
            </a:r>
          </a:p>
        </p:txBody>
      </p:sp>
      <p:sp>
        <p:nvSpPr>
          <p:cNvPr id="565" name="Shape 565"/>
          <p:cNvSpPr>
            <a:spLocks noGrp="1"/>
          </p:cNvSpPr>
          <p:nvPr>
            <p:ph type="body" sz="quarter" idx="22"/>
          </p:nvPr>
        </p:nvSpPr>
        <p:spPr>
          <a:xfrm>
            <a:off x="6205856" y="3310128"/>
            <a:ext cx="2625725" cy="317656"/>
          </a:xfrm>
          <a:prstGeom prst="rect">
            <a:avLst/>
          </a:prstGeom>
        </p:spPr>
        <p:txBody>
          <a:bodyPr/>
          <a:lstStyle>
            <a:lvl1pPr>
              <a:spcBef>
                <a:spcPts val="0"/>
              </a:spcBef>
              <a:defRPr sz="1600"/>
            </a:lvl1pPr>
          </a:lstStyle>
          <a:p>
            <a:r>
              <a:t> </a:t>
            </a:r>
          </a:p>
        </p:txBody>
      </p:sp>
      <p:sp>
        <p:nvSpPr>
          <p:cNvPr id="566" name="Shape 566"/>
          <p:cNvSpPr>
            <a:spLocks noGrp="1"/>
          </p:cNvSpPr>
          <p:nvPr>
            <p:ph type="body" sz="quarter" idx="23"/>
          </p:nvPr>
        </p:nvSpPr>
        <p:spPr>
          <a:xfrm>
            <a:off x="9081137" y="2992473"/>
            <a:ext cx="2625725" cy="317656"/>
          </a:xfrm>
          <a:prstGeom prst="rect">
            <a:avLst/>
          </a:prstGeom>
        </p:spPr>
        <p:txBody>
          <a:bodyPr/>
          <a:lstStyle>
            <a:lvl1pPr>
              <a:spcBef>
                <a:spcPts val="0"/>
              </a:spcBef>
              <a:defRPr sz="1600" b="1"/>
            </a:lvl1pPr>
          </a:lstStyle>
          <a:p>
            <a:r>
              <a:t> </a:t>
            </a:r>
          </a:p>
        </p:txBody>
      </p:sp>
      <p:sp>
        <p:nvSpPr>
          <p:cNvPr id="567" name="Shape 567"/>
          <p:cNvSpPr>
            <a:spLocks noGrp="1"/>
          </p:cNvSpPr>
          <p:nvPr>
            <p:ph type="body" sz="quarter" idx="24"/>
          </p:nvPr>
        </p:nvSpPr>
        <p:spPr>
          <a:xfrm>
            <a:off x="9081137" y="3310128"/>
            <a:ext cx="2625725" cy="317656"/>
          </a:xfrm>
          <a:prstGeom prst="rect">
            <a:avLst/>
          </a:prstGeom>
        </p:spPr>
        <p:txBody>
          <a:bodyPr/>
          <a:lstStyle>
            <a:lvl1pPr>
              <a:spcBef>
                <a:spcPts val="0"/>
              </a:spcBef>
              <a:defRPr sz="1600"/>
            </a:lvl1pPr>
          </a:lstStyle>
          <a:p>
            <a:r>
              <a:t> </a:t>
            </a:r>
          </a:p>
        </p:txBody>
      </p:sp>
      <p:sp>
        <p:nvSpPr>
          <p:cNvPr id="568" name="Shape 568"/>
          <p:cNvSpPr>
            <a:spLocks noGrp="1"/>
          </p:cNvSpPr>
          <p:nvPr>
            <p:ph type="pic" sz="quarter" idx="25"/>
          </p:nvPr>
        </p:nvSpPr>
        <p:spPr>
          <a:xfrm>
            <a:off x="485776" y="3916998"/>
            <a:ext cx="1271904" cy="1271905"/>
          </a:xfrm>
          <a:prstGeom prst="rect">
            <a:avLst/>
          </a:prstGeom>
        </p:spPr>
        <p:txBody>
          <a:bodyPr lIns="91439" tIns="45719" rIns="91439" bIns="45719"/>
          <a:lstStyle/>
          <a:p>
            <a:endParaRPr/>
          </a:p>
        </p:txBody>
      </p:sp>
      <p:sp>
        <p:nvSpPr>
          <p:cNvPr id="569" name="Shape 569"/>
          <p:cNvSpPr>
            <a:spLocks noGrp="1"/>
          </p:cNvSpPr>
          <p:nvPr>
            <p:ph type="body" sz="quarter" idx="26"/>
          </p:nvPr>
        </p:nvSpPr>
        <p:spPr>
          <a:xfrm>
            <a:off x="485776" y="5288634"/>
            <a:ext cx="2625726" cy="317656"/>
          </a:xfrm>
          <a:prstGeom prst="rect">
            <a:avLst/>
          </a:prstGeom>
        </p:spPr>
        <p:txBody>
          <a:bodyPr/>
          <a:lstStyle>
            <a:lvl1pPr>
              <a:spcBef>
                <a:spcPts val="0"/>
              </a:spcBef>
              <a:defRPr sz="1600" b="1"/>
            </a:lvl1pPr>
          </a:lstStyle>
          <a:p>
            <a:r>
              <a:t> </a:t>
            </a:r>
          </a:p>
        </p:txBody>
      </p:sp>
      <p:sp>
        <p:nvSpPr>
          <p:cNvPr id="570" name="Shape 570"/>
          <p:cNvSpPr>
            <a:spLocks noGrp="1"/>
          </p:cNvSpPr>
          <p:nvPr>
            <p:ph type="body" sz="quarter" idx="27"/>
          </p:nvPr>
        </p:nvSpPr>
        <p:spPr>
          <a:xfrm>
            <a:off x="485776" y="5606289"/>
            <a:ext cx="2625726" cy="317656"/>
          </a:xfrm>
          <a:prstGeom prst="rect">
            <a:avLst/>
          </a:prstGeom>
        </p:spPr>
        <p:txBody>
          <a:bodyPr/>
          <a:lstStyle>
            <a:lvl1pPr>
              <a:spcBef>
                <a:spcPts val="0"/>
              </a:spcBef>
              <a:defRPr sz="1600"/>
            </a:lvl1pPr>
          </a:lstStyle>
          <a:p>
            <a:r>
              <a:t> </a:t>
            </a:r>
          </a:p>
        </p:txBody>
      </p:sp>
      <p:sp>
        <p:nvSpPr>
          <p:cNvPr id="571" name="Shape 571"/>
          <p:cNvSpPr>
            <a:spLocks noGrp="1"/>
          </p:cNvSpPr>
          <p:nvPr>
            <p:ph type="pic" sz="quarter" idx="28"/>
          </p:nvPr>
        </p:nvSpPr>
        <p:spPr>
          <a:xfrm>
            <a:off x="3361056" y="3916998"/>
            <a:ext cx="1271905" cy="1271905"/>
          </a:xfrm>
          <a:prstGeom prst="rect">
            <a:avLst/>
          </a:prstGeom>
        </p:spPr>
        <p:txBody>
          <a:bodyPr lIns="91439" tIns="45719" rIns="91439" bIns="45719"/>
          <a:lstStyle/>
          <a:p>
            <a:endParaRPr/>
          </a:p>
        </p:txBody>
      </p:sp>
      <p:sp>
        <p:nvSpPr>
          <p:cNvPr id="572" name="Shape 572"/>
          <p:cNvSpPr>
            <a:spLocks noGrp="1"/>
          </p:cNvSpPr>
          <p:nvPr>
            <p:ph type="pic" sz="quarter" idx="29"/>
          </p:nvPr>
        </p:nvSpPr>
        <p:spPr>
          <a:xfrm>
            <a:off x="6210300" y="3916998"/>
            <a:ext cx="1271904" cy="1271905"/>
          </a:xfrm>
          <a:prstGeom prst="rect">
            <a:avLst/>
          </a:prstGeom>
        </p:spPr>
        <p:txBody>
          <a:bodyPr lIns="91439" tIns="45719" rIns="91439" bIns="45719"/>
          <a:lstStyle/>
          <a:p>
            <a:endParaRPr/>
          </a:p>
        </p:txBody>
      </p:sp>
      <p:sp>
        <p:nvSpPr>
          <p:cNvPr id="573" name="Shape 573"/>
          <p:cNvSpPr>
            <a:spLocks noGrp="1"/>
          </p:cNvSpPr>
          <p:nvPr>
            <p:ph type="pic" sz="quarter" idx="30"/>
          </p:nvPr>
        </p:nvSpPr>
        <p:spPr>
          <a:xfrm>
            <a:off x="9080500" y="3916998"/>
            <a:ext cx="1271904" cy="1271905"/>
          </a:xfrm>
          <a:prstGeom prst="rect">
            <a:avLst/>
          </a:prstGeom>
        </p:spPr>
        <p:txBody>
          <a:bodyPr lIns="91439" tIns="45719" rIns="91439" bIns="45719"/>
          <a:lstStyle/>
          <a:p>
            <a:endParaRPr/>
          </a:p>
        </p:txBody>
      </p:sp>
      <p:sp>
        <p:nvSpPr>
          <p:cNvPr id="574" name="Shape 574"/>
          <p:cNvSpPr>
            <a:spLocks noGrp="1"/>
          </p:cNvSpPr>
          <p:nvPr>
            <p:ph type="body" sz="quarter" idx="31"/>
          </p:nvPr>
        </p:nvSpPr>
        <p:spPr>
          <a:xfrm>
            <a:off x="3361056" y="5288634"/>
            <a:ext cx="2625725" cy="317656"/>
          </a:xfrm>
          <a:prstGeom prst="rect">
            <a:avLst/>
          </a:prstGeom>
        </p:spPr>
        <p:txBody>
          <a:bodyPr/>
          <a:lstStyle>
            <a:lvl1pPr>
              <a:spcBef>
                <a:spcPts val="0"/>
              </a:spcBef>
              <a:defRPr sz="1600" b="1"/>
            </a:lvl1pPr>
          </a:lstStyle>
          <a:p>
            <a:r>
              <a:t> </a:t>
            </a:r>
          </a:p>
        </p:txBody>
      </p:sp>
      <p:sp>
        <p:nvSpPr>
          <p:cNvPr id="575" name="Shape 575"/>
          <p:cNvSpPr>
            <a:spLocks noGrp="1"/>
          </p:cNvSpPr>
          <p:nvPr>
            <p:ph type="body" sz="quarter" idx="32"/>
          </p:nvPr>
        </p:nvSpPr>
        <p:spPr>
          <a:xfrm>
            <a:off x="3361056" y="5606289"/>
            <a:ext cx="2625725" cy="317656"/>
          </a:xfrm>
          <a:prstGeom prst="rect">
            <a:avLst/>
          </a:prstGeom>
        </p:spPr>
        <p:txBody>
          <a:bodyPr/>
          <a:lstStyle>
            <a:lvl1pPr>
              <a:spcBef>
                <a:spcPts val="0"/>
              </a:spcBef>
              <a:defRPr sz="1600"/>
            </a:lvl1pPr>
          </a:lstStyle>
          <a:p>
            <a:r>
              <a:t> </a:t>
            </a:r>
          </a:p>
        </p:txBody>
      </p:sp>
      <p:sp>
        <p:nvSpPr>
          <p:cNvPr id="576" name="Shape 576"/>
          <p:cNvSpPr>
            <a:spLocks noGrp="1"/>
          </p:cNvSpPr>
          <p:nvPr>
            <p:ph type="body" sz="quarter" idx="33"/>
          </p:nvPr>
        </p:nvSpPr>
        <p:spPr>
          <a:xfrm>
            <a:off x="6205856" y="5288634"/>
            <a:ext cx="2625725" cy="317656"/>
          </a:xfrm>
          <a:prstGeom prst="rect">
            <a:avLst/>
          </a:prstGeom>
        </p:spPr>
        <p:txBody>
          <a:bodyPr/>
          <a:lstStyle>
            <a:lvl1pPr>
              <a:spcBef>
                <a:spcPts val="0"/>
              </a:spcBef>
              <a:defRPr sz="1600" b="1"/>
            </a:lvl1pPr>
          </a:lstStyle>
          <a:p>
            <a:r>
              <a:t> </a:t>
            </a:r>
          </a:p>
        </p:txBody>
      </p:sp>
      <p:sp>
        <p:nvSpPr>
          <p:cNvPr id="577" name="Shape 577"/>
          <p:cNvSpPr>
            <a:spLocks noGrp="1"/>
          </p:cNvSpPr>
          <p:nvPr>
            <p:ph type="body" sz="quarter" idx="34"/>
          </p:nvPr>
        </p:nvSpPr>
        <p:spPr>
          <a:xfrm>
            <a:off x="6205856" y="5606289"/>
            <a:ext cx="2625725" cy="317656"/>
          </a:xfrm>
          <a:prstGeom prst="rect">
            <a:avLst/>
          </a:prstGeom>
        </p:spPr>
        <p:txBody>
          <a:bodyPr/>
          <a:lstStyle>
            <a:lvl1pPr>
              <a:spcBef>
                <a:spcPts val="0"/>
              </a:spcBef>
              <a:defRPr sz="1600"/>
            </a:lvl1pPr>
          </a:lstStyle>
          <a:p>
            <a:r>
              <a:t> </a:t>
            </a:r>
          </a:p>
        </p:txBody>
      </p:sp>
      <p:sp>
        <p:nvSpPr>
          <p:cNvPr id="578" name="Shape 578"/>
          <p:cNvSpPr>
            <a:spLocks noGrp="1"/>
          </p:cNvSpPr>
          <p:nvPr>
            <p:ph type="body" sz="quarter" idx="35"/>
          </p:nvPr>
        </p:nvSpPr>
        <p:spPr>
          <a:xfrm>
            <a:off x="9081137" y="5288634"/>
            <a:ext cx="2625725" cy="317656"/>
          </a:xfrm>
          <a:prstGeom prst="rect">
            <a:avLst/>
          </a:prstGeom>
        </p:spPr>
        <p:txBody>
          <a:bodyPr/>
          <a:lstStyle>
            <a:lvl1pPr>
              <a:spcBef>
                <a:spcPts val="0"/>
              </a:spcBef>
              <a:defRPr sz="1600" b="1"/>
            </a:lvl1pPr>
          </a:lstStyle>
          <a:p>
            <a:r>
              <a:t> </a:t>
            </a:r>
          </a:p>
        </p:txBody>
      </p:sp>
      <p:sp>
        <p:nvSpPr>
          <p:cNvPr id="579" name="Shape 579"/>
          <p:cNvSpPr>
            <a:spLocks noGrp="1"/>
          </p:cNvSpPr>
          <p:nvPr>
            <p:ph type="body" sz="quarter" idx="36"/>
          </p:nvPr>
        </p:nvSpPr>
        <p:spPr>
          <a:xfrm>
            <a:off x="9081137" y="5606289"/>
            <a:ext cx="2625725" cy="317656"/>
          </a:xfrm>
          <a:prstGeom prst="rect">
            <a:avLst/>
          </a:prstGeom>
        </p:spPr>
        <p:txBody>
          <a:bodyPr/>
          <a:lstStyle>
            <a:lvl1pPr>
              <a:spcBef>
                <a:spcPts val="0"/>
              </a:spcBef>
              <a:defRPr sz="1600"/>
            </a:lvl1pPr>
          </a:lstStyle>
          <a:p>
            <a:r>
              <a:t> </a:t>
            </a:r>
          </a:p>
        </p:txBody>
      </p:sp>
      <p:sp>
        <p:nvSpPr>
          <p:cNvPr id="580" name="Shape 580"/>
          <p:cNvSpPr>
            <a:spLocks noGrp="1"/>
          </p:cNvSpPr>
          <p:nvPr>
            <p:ph type="title"/>
          </p:nvPr>
        </p:nvSpPr>
        <p:spPr>
          <a:xfrm>
            <a:off x="457200" y="355600"/>
            <a:ext cx="11252200" cy="495300"/>
          </a:xfrm>
          <a:prstGeom prst="rect">
            <a:avLst/>
          </a:prstGeom>
        </p:spPr>
        <p:txBody>
          <a:bodyPr>
            <a:normAutofit/>
          </a:bodyPr>
          <a:lstStyle/>
          <a:p>
            <a:r>
              <a:t>Texto del título</a:t>
            </a:r>
          </a:p>
        </p:txBody>
      </p:sp>
      <p:sp>
        <p:nvSpPr>
          <p:cNvPr id="581" name="Shape 581"/>
          <p:cNvSpPr>
            <a:spLocks noGrp="1"/>
          </p:cNvSpPr>
          <p:nvPr>
            <p:ph type="body" sz="quarter" idx="1"/>
          </p:nvPr>
        </p:nvSpPr>
        <p:spPr>
          <a:xfrm>
            <a:off x="485776" y="2992473"/>
            <a:ext cx="2625726" cy="317656"/>
          </a:xfrm>
          <a:prstGeom prst="rect">
            <a:avLst/>
          </a:prstGeom>
        </p:spPr>
        <p:txBody>
          <a:bodyPr>
            <a:normAutofit/>
          </a:bodyPr>
          <a:lstStyle>
            <a:lvl1pPr>
              <a:spcBef>
                <a:spcPts val="0"/>
              </a:spcBef>
              <a:defRPr sz="1600" b="1"/>
            </a:lvl1pPr>
            <a:lvl2pPr marL="0" indent="457200">
              <a:spcBef>
                <a:spcPts val="0"/>
              </a:spcBef>
              <a:buSzTx/>
              <a:buNone/>
              <a:defRPr sz="1600" b="1"/>
            </a:lvl2pPr>
            <a:lvl3pPr marL="0" indent="914400">
              <a:spcBef>
                <a:spcPts val="0"/>
              </a:spcBef>
              <a:buSzTx/>
              <a:buNone/>
              <a:defRPr sz="1600" b="1"/>
            </a:lvl3pPr>
            <a:lvl4pPr marL="0" indent="1371600">
              <a:spcBef>
                <a:spcPts val="0"/>
              </a:spcBef>
              <a:buSzTx/>
              <a:buNone/>
              <a:defRPr sz="1600" b="1"/>
            </a:lvl4pPr>
            <a:lvl5pPr marL="0" indent="1828800">
              <a:spcBef>
                <a:spcPts val="0"/>
              </a:spcBef>
              <a:buSzTx/>
              <a:buNone/>
              <a:defRPr sz="1600" b="1"/>
            </a:lvl5pPr>
          </a:lstStyle>
          <a:p>
            <a:r>
              <a:t>Nivel de texto 1</a:t>
            </a:r>
          </a:p>
          <a:p>
            <a:pPr lvl="1"/>
            <a:r>
              <a:t>Nivel de texto 2</a:t>
            </a:r>
          </a:p>
          <a:p>
            <a:pPr lvl="2"/>
            <a:r>
              <a:t>Nivel de texto 3</a:t>
            </a:r>
          </a:p>
          <a:p>
            <a:pPr lvl="3"/>
            <a:r>
              <a:t>Nivel de texto 4</a:t>
            </a:r>
          </a:p>
          <a:p>
            <a:pPr lvl="4"/>
            <a:r>
              <a:t>Nivel de texto 5</a:t>
            </a:r>
          </a:p>
        </p:txBody>
      </p:sp>
      <p:sp>
        <p:nvSpPr>
          <p:cNvPr id="582" name="Shape 582"/>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extLst>
      <p:ext uri="{BB962C8B-B14F-4D97-AF65-F5344CB8AC3E}">
        <p14:creationId xmlns:p14="http://schemas.microsoft.com/office/powerpoint/2010/main" val="2510261750"/>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tx">
  <p:cSld name="QUOTES">
    <p:spTree>
      <p:nvGrpSpPr>
        <p:cNvPr id="1" name=""/>
        <p:cNvGrpSpPr/>
        <p:nvPr/>
      </p:nvGrpSpPr>
      <p:grpSpPr>
        <a:xfrm>
          <a:off x="0" y="0"/>
          <a:ext cx="0" cy="0"/>
          <a:chOff x="0" y="0"/>
          <a:chExt cx="0" cy="0"/>
        </a:xfrm>
      </p:grpSpPr>
      <p:sp>
        <p:nvSpPr>
          <p:cNvPr id="589" name="Shape 589"/>
          <p:cNvSpPr/>
          <p:nvPr/>
        </p:nvSpPr>
        <p:spPr>
          <a:xfrm>
            <a:off x="374976" y="2577629"/>
            <a:ext cx="5262614" cy="1702744"/>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lvl1pPr>
              <a:defRPr sz="12000" b="1">
                <a:solidFill>
                  <a:srgbClr val="FFFFFF"/>
                </a:solidFill>
              </a:defRPr>
            </a:lvl1pPr>
          </a:lstStyle>
          <a:p>
            <a:r>
              <a:t>Quotes</a:t>
            </a:r>
          </a:p>
        </p:txBody>
      </p:sp>
      <p:sp>
        <p:nvSpPr>
          <p:cNvPr id="590" name="Shape 590"/>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2164433949"/>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x">
  <p:cSld name="Quote">
    <p:bg>
      <p:bgPr>
        <a:solidFill>
          <a:srgbClr val="FFFFFF"/>
        </a:solidFill>
        <a:effectLst/>
      </p:bgPr>
    </p:bg>
    <p:spTree>
      <p:nvGrpSpPr>
        <p:cNvPr id="1" name=""/>
        <p:cNvGrpSpPr/>
        <p:nvPr/>
      </p:nvGrpSpPr>
      <p:grpSpPr>
        <a:xfrm>
          <a:off x="0" y="0"/>
          <a:ext cx="0" cy="0"/>
          <a:chOff x="0" y="0"/>
          <a:chExt cx="0" cy="0"/>
        </a:xfrm>
      </p:grpSpPr>
      <p:pic>
        <p:nvPicPr>
          <p:cNvPr id="597" name="image7.png"/>
          <p:cNvPicPr>
            <a:picLocks noChangeAspect="1"/>
          </p:cNvPicPr>
          <p:nvPr/>
        </p:nvPicPr>
        <p:blipFill>
          <a:blip r:embed="rId2"/>
          <a:stretch>
            <a:fillRect/>
          </a:stretch>
        </p:blipFill>
        <p:spPr>
          <a:xfrm>
            <a:off x="485776" y="6437257"/>
            <a:ext cx="1401283" cy="126176"/>
          </a:xfrm>
          <a:prstGeom prst="rect">
            <a:avLst/>
          </a:prstGeom>
          <a:ln w="12700">
            <a:miter lim="400000"/>
          </a:ln>
        </p:spPr>
      </p:pic>
      <p:sp>
        <p:nvSpPr>
          <p:cNvPr id="598" name="Shape 598"/>
          <p:cNvSpPr>
            <a:spLocks noGrp="1"/>
          </p:cNvSpPr>
          <p:nvPr>
            <p:ph type="title"/>
          </p:nvPr>
        </p:nvSpPr>
        <p:spPr>
          <a:xfrm>
            <a:off x="482600" y="1807778"/>
            <a:ext cx="7404101" cy="3061086"/>
          </a:xfrm>
          <a:prstGeom prst="rect">
            <a:avLst/>
          </a:prstGeom>
        </p:spPr>
        <p:txBody>
          <a:bodyPr>
            <a:normAutofit/>
          </a:bodyPr>
          <a:lstStyle>
            <a:lvl1pPr>
              <a:defRPr sz="5400"/>
            </a:lvl1pPr>
          </a:lstStyle>
          <a:p>
            <a:r>
              <a:t>Texto del título</a:t>
            </a:r>
          </a:p>
        </p:txBody>
      </p:sp>
      <p:sp>
        <p:nvSpPr>
          <p:cNvPr id="599" name="Shape 599"/>
          <p:cNvSpPr>
            <a:spLocks noGrp="1"/>
          </p:cNvSpPr>
          <p:nvPr>
            <p:ph type="body" sz="quarter" idx="1"/>
          </p:nvPr>
        </p:nvSpPr>
        <p:spPr>
          <a:xfrm>
            <a:off x="485776" y="4979815"/>
            <a:ext cx="3578224" cy="803620"/>
          </a:xfrm>
          <a:prstGeom prst="rect">
            <a:avLst/>
          </a:prstGeom>
        </p:spPr>
        <p:txBody>
          <a:bodyPr>
            <a:normAutofit/>
          </a:bodyPr>
          <a:lstStyle>
            <a:lvl1pPr marL="179388" indent="-179388">
              <a:spcBef>
                <a:spcPts val="0"/>
              </a:spcBef>
              <a:buSzPct val="100000"/>
              <a:buFont typeface="Helvetica"/>
              <a:buChar char="–"/>
              <a:defRPr sz="1600">
                <a:solidFill>
                  <a:srgbClr val="002C77"/>
                </a:solidFill>
              </a:defRPr>
            </a:lvl1pPr>
            <a:lvl2pPr marL="0" indent="457200">
              <a:spcBef>
                <a:spcPts val="0"/>
              </a:spcBef>
              <a:buSzTx/>
              <a:buFont typeface="Helvetica"/>
              <a:buNone/>
              <a:defRPr sz="1600">
                <a:solidFill>
                  <a:srgbClr val="002C77"/>
                </a:solidFill>
              </a:defRPr>
            </a:lvl2pPr>
            <a:lvl3pPr marL="0" indent="914400">
              <a:spcBef>
                <a:spcPts val="0"/>
              </a:spcBef>
              <a:buSzTx/>
              <a:buFont typeface="Helvetica"/>
              <a:buNone/>
              <a:defRPr sz="1600">
                <a:solidFill>
                  <a:srgbClr val="002C77"/>
                </a:solidFill>
              </a:defRPr>
            </a:lvl3pPr>
            <a:lvl4pPr marL="0" indent="1371600">
              <a:spcBef>
                <a:spcPts val="0"/>
              </a:spcBef>
              <a:buSzTx/>
              <a:buFont typeface="Helvetica"/>
              <a:buNone/>
              <a:defRPr sz="1600">
                <a:solidFill>
                  <a:srgbClr val="002C77"/>
                </a:solidFill>
              </a:defRPr>
            </a:lvl4pPr>
            <a:lvl5pPr marL="0" indent="1828800">
              <a:spcBef>
                <a:spcPts val="0"/>
              </a:spcBef>
              <a:buSzTx/>
              <a:buFont typeface="Helvetica"/>
              <a:buNone/>
              <a:defRPr sz="1600">
                <a:solidFill>
                  <a:srgbClr val="002C77"/>
                </a:solidFill>
              </a:defRPr>
            </a:lvl5pPr>
          </a:lstStyle>
          <a:p>
            <a:r>
              <a:t>Nivel de texto 1</a:t>
            </a:r>
          </a:p>
          <a:p>
            <a:pPr lvl="1"/>
            <a:r>
              <a:t>Nivel de texto 2</a:t>
            </a:r>
          </a:p>
          <a:p>
            <a:pPr lvl="2"/>
            <a:r>
              <a:t>Nivel de texto 3</a:t>
            </a:r>
          </a:p>
          <a:p>
            <a:pPr lvl="3"/>
            <a:r>
              <a:t>Nivel de texto 4</a:t>
            </a:r>
          </a:p>
          <a:p>
            <a:pPr lvl="4"/>
            <a:r>
              <a:t>Nivel de texto 5</a:t>
            </a:r>
          </a:p>
        </p:txBody>
      </p:sp>
      <p:sp>
        <p:nvSpPr>
          <p:cNvPr id="600" name="Shape 600"/>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1786445239"/>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tx">
  <p:cSld name="Quote Blue">
    <p:bg>
      <p:bgPr>
        <a:solidFill>
          <a:srgbClr val="002C77"/>
        </a:solidFill>
        <a:effectLst/>
      </p:bgPr>
    </p:bg>
    <p:spTree>
      <p:nvGrpSpPr>
        <p:cNvPr id="1" name=""/>
        <p:cNvGrpSpPr/>
        <p:nvPr/>
      </p:nvGrpSpPr>
      <p:grpSpPr>
        <a:xfrm>
          <a:off x="0" y="0"/>
          <a:ext cx="0" cy="0"/>
          <a:chOff x="0" y="0"/>
          <a:chExt cx="0" cy="0"/>
        </a:xfrm>
      </p:grpSpPr>
      <p:sp>
        <p:nvSpPr>
          <p:cNvPr id="607" name="Shape 607"/>
          <p:cNvSpPr>
            <a:spLocks noGrp="1"/>
          </p:cNvSpPr>
          <p:nvPr>
            <p:ph type="title"/>
          </p:nvPr>
        </p:nvSpPr>
        <p:spPr>
          <a:xfrm>
            <a:off x="482600" y="1807778"/>
            <a:ext cx="7404101" cy="3061086"/>
          </a:xfrm>
          <a:prstGeom prst="rect">
            <a:avLst/>
          </a:prstGeom>
        </p:spPr>
        <p:txBody>
          <a:bodyPr>
            <a:normAutofit/>
          </a:bodyPr>
          <a:lstStyle>
            <a:lvl1pPr>
              <a:defRPr sz="5400">
                <a:solidFill>
                  <a:srgbClr val="FFFFFF"/>
                </a:solidFill>
              </a:defRPr>
            </a:lvl1pPr>
          </a:lstStyle>
          <a:p>
            <a:r>
              <a:t>Texto del título</a:t>
            </a:r>
          </a:p>
        </p:txBody>
      </p:sp>
      <p:sp>
        <p:nvSpPr>
          <p:cNvPr id="608" name="Shape 608"/>
          <p:cNvSpPr>
            <a:spLocks noGrp="1"/>
          </p:cNvSpPr>
          <p:nvPr>
            <p:ph type="body" sz="quarter" idx="1"/>
          </p:nvPr>
        </p:nvSpPr>
        <p:spPr>
          <a:xfrm>
            <a:off x="485776" y="4979815"/>
            <a:ext cx="3578224" cy="803620"/>
          </a:xfrm>
          <a:prstGeom prst="rect">
            <a:avLst/>
          </a:prstGeom>
        </p:spPr>
        <p:txBody>
          <a:bodyPr>
            <a:normAutofit/>
          </a:bodyPr>
          <a:lstStyle>
            <a:lvl1pPr marL="179388" indent="-179388">
              <a:spcBef>
                <a:spcPts val="0"/>
              </a:spcBef>
              <a:buSzPct val="100000"/>
              <a:buFont typeface="Helvetica"/>
              <a:buChar char="–"/>
              <a:defRPr sz="1600">
                <a:solidFill>
                  <a:srgbClr val="FFFFFF"/>
                </a:solidFill>
              </a:defRPr>
            </a:lvl1pPr>
            <a:lvl2pPr marL="0" indent="457200">
              <a:spcBef>
                <a:spcPts val="0"/>
              </a:spcBef>
              <a:buSzTx/>
              <a:buFont typeface="Helvetica"/>
              <a:buNone/>
              <a:defRPr sz="1600">
                <a:solidFill>
                  <a:srgbClr val="FFFFFF"/>
                </a:solidFill>
              </a:defRPr>
            </a:lvl2pPr>
            <a:lvl3pPr marL="0" indent="914400">
              <a:spcBef>
                <a:spcPts val="0"/>
              </a:spcBef>
              <a:buSzTx/>
              <a:buFont typeface="Helvetica"/>
              <a:buNone/>
              <a:defRPr sz="1600">
                <a:solidFill>
                  <a:srgbClr val="FFFFFF"/>
                </a:solidFill>
              </a:defRPr>
            </a:lvl3pPr>
            <a:lvl4pPr marL="0" indent="1371600">
              <a:spcBef>
                <a:spcPts val="0"/>
              </a:spcBef>
              <a:buSzTx/>
              <a:buFont typeface="Helvetica"/>
              <a:buNone/>
              <a:defRPr sz="1600">
                <a:solidFill>
                  <a:srgbClr val="FFFFFF"/>
                </a:solidFill>
              </a:defRPr>
            </a:lvl4pPr>
            <a:lvl5pPr marL="0" indent="1828800">
              <a:spcBef>
                <a:spcPts val="0"/>
              </a:spcBef>
              <a:buSzTx/>
              <a:buFont typeface="Helvetica"/>
              <a:buNone/>
              <a:defRPr sz="1600">
                <a:solidFill>
                  <a:srgbClr val="FFFFFF"/>
                </a:solidFill>
              </a:defRPr>
            </a:lvl5pPr>
          </a:lstStyle>
          <a:p>
            <a:r>
              <a:t>Nivel de texto 1</a:t>
            </a:r>
          </a:p>
          <a:p>
            <a:pPr lvl="1"/>
            <a:r>
              <a:t>Nivel de texto 2</a:t>
            </a:r>
          </a:p>
          <a:p>
            <a:pPr lvl="2"/>
            <a:r>
              <a:t>Nivel de texto 3</a:t>
            </a:r>
          </a:p>
          <a:p>
            <a:pPr lvl="3"/>
            <a:r>
              <a:t>Nivel de texto 4</a:t>
            </a:r>
          </a:p>
          <a:p>
            <a:pPr lvl="4"/>
            <a:r>
              <a:t>Nivel de texto 5</a:t>
            </a:r>
          </a:p>
        </p:txBody>
      </p:sp>
      <p:sp>
        <p:nvSpPr>
          <p:cNvPr id="609" name="Shape 609"/>
          <p:cNvSpPr>
            <a:spLocks noGrp="1"/>
          </p:cNvSpPr>
          <p:nvPr>
            <p:ph type="sldNum" sz="quarter" idx="2"/>
          </p:nvPr>
        </p:nvSpPr>
        <p:spPr>
          <a:xfrm>
            <a:off x="10439400" y="6516006"/>
            <a:ext cx="1270000" cy="1270001"/>
          </a:xfrm>
          <a:prstGeom prst="rect">
            <a:avLst/>
          </a:prstGeom>
        </p:spPr>
        <p:txBody>
          <a:bodyPr lIns="0" tIns="0" rIns="0" bIns="0" anchor="t"/>
          <a:lstStyle>
            <a:lvl1pPr>
              <a:defRPr sz="800">
                <a:solidFill>
                  <a:srgbClr val="FFFFFF"/>
                </a:solidFill>
              </a:defRPr>
            </a:lvl1pPr>
          </a:lstStyle>
          <a:p>
            <a:fld id="{86CB4B4D-7CA3-9044-876B-883B54F8677D}" type="slidenum">
              <a:t>‹Nº›</a:t>
            </a:fld>
            <a:endParaRPr/>
          </a:p>
        </p:txBody>
      </p:sp>
    </p:spTree>
    <p:extLst>
      <p:ext uri="{BB962C8B-B14F-4D97-AF65-F5344CB8AC3E}">
        <p14:creationId xmlns:p14="http://schemas.microsoft.com/office/powerpoint/2010/main" val="3954072216"/>
      </p:ext>
    </p:extLst>
  </p:cSld>
  <p:clrMapOvr>
    <a:masterClrMapping/>
  </p:clrMapOvr>
  <p:transition spd="med"/>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x">
  <p:cSld name="INTERACTIVE ELEMENTS">
    <p:spTree>
      <p:nvGrpSpPr>
        <p:cNvPr id="1" name=""/>
        <p:cNvGrpSpPr/>
        <p:nvPr/>
      </p:nvGrpSpPr>
      <p:grpSpPr>
        <a:xfrm>
          <a:off x="0" y="0"/>
          <a:ext cx="0" cy="0"/>
          <a:chOff x="0" y="0"/>
          <a:chExt cx="0" cy="0"/>
        </a:xfrm>
      </p:grpSpPr>
      <p:sp>
        <p:nvSpPr>
          <p:cNvPr id="616" name="Shape 616"/>
          <p:cNvSpPr/>
          <p:nvPr/>
        </p:nvSpPr>
        <p:spPr>
          <a:xfrm>
            <a:off x="374976" y="1701329"/>
            <a:ext cx="8059838" cy="3455343"/>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p>
            <a:pPr>
              <a:defRPr sz="12000" b="1">
                <a:solidFill>
                  <a:srgbClr val="FFFFFF"/>
                </a:solidFill>
              </a:defRPr>
            </a:pPr>
            <a:r>
              <a:t>Interactive</a:t>
            </a:r>
          </a:p>
          <a:p>
            <a:pPr>
              <a:defRPr sz="12000" b="1">
                <a:solidFill>
                  <a:srgbClr val="FFFFFF"/>
                </a:solidFill>
              </a:defRPr>
            </a:pPr>
            <a:r>
              <a:t>elements</a:t>
            </a:r>
          </a:p>
        </p:txBody>
      </p:sp>
      <p:sp>
        <p:nvSpPr>
          <p:cNvPr id="617" name="Shape 617"/>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4163920111"/>
      </p:ext>
    </p:extLst>
  </p:cSld>
  <p:clrMapOvr>
    <a:masterClrMapping/>
  </p:clrMapOvr>
  <p:transition spd="med"/>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tx">
  <p:cSld name="Interactive top">
    <p:bg>
      <p:bgPr>
        <a:solidFill>
          <a:srgbClr val="FFFFFF"/>
        </a:solidFill>
        <a:effectLst/>
      </p:bgPr>
    </p:bg>
    <p:spTree>
      <p:nvGrpSpPr>
        <p:cNvPr id="1" name=""/>
        <p:cNvGrpSpPr/>
        <p:nvPr/>
      </p:nvGrpSpPr>
      <p:grpSpPr>
        <a:xfrm>
          <a:off x="0" y="0"/>
          <a:ext cx="0" cy="0"/>
          <a:chOff x="0" y="0"/>
          <a:chExt cx="0" cy="0"/>
        </a:xfrm>
      </p:grpSpPr>
      <p:pic>
        <p:nvPicPr>
          <p:cNvPr id="624"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625" name="Shape 625"/>
          <p:cNvSpPr/>
          <p:nvPr/>
        </p:nvSpPr>
        <p:spPr>
          <a:xfrm>
            <a:off x="2814" y="-1"/>
            <a:ext cx="12189187" cy="613702"/>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sp>
        <p:nvSpPr>
          <p:cNvPr id="626" name="Shape 626"/>
          <p:cNvSpPr/>
          <p:nvPr/>
        </p:nvSpPr>
        <p:spPr>
          <a:xfrm>
            <a:off x="485775" y="163049"/>
            <a:ext cx="1704975" cy="29210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algn="ctr">
              <a:defRPr sz="1400">
                <a:solidFill>
                  <a:srgbClr val="FFFFFF"/>
                </a:solidFill>
              </a:defRPr>
            </a:lvl1pPr>
          </a:lstStyle>
          <a:p>
            <a:r>
              <a:t>Section 1</a:t>
            </a:r>
          </a:p>
        </p:txBody>
      </p:sp>
      <p:sp>
        <p:nvSpPr>
          <p:cNvPr id="627" name="Shape 627"/>
          <p:cNvSpPr/>
          <p:nvPr/>
        </p:nvSpPr>
        <p:spPr>
          <a:xfrm>
            <a:off x="2437449" y="163049"/>
            <a:ext cx="1704974" cy="29210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algn="ctr">
              <a:defRPr sz="1400">
                <a:solidFill>
                  <a:srgbClr val="FFFFFF"/>
                </a:solidFill>
              </a:defRPr>
            </a:lvl1pPr>
          </a:lstStyle>
          <a:p>
            <a:r>
              <a:t>Section 2</a:t>
            </a:r>
          </a:p>
        </p:txBody>
      </p:sp>
      <p:sp>
        <p:nvSpPr>
          <p:cNvPr id="628" name="Shape 628"/>
          <p:cNvSpPr/>
          <p:nvPr/>
        </p:nvSpPr>
        <p:spPr>
          <a:xfrm>
            <a:off x="4389122" y="163049"/>
            <a:ext cx="1704974" cy="29210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algn="ctr">
              <a:defRPr sz="1400">
                <a:solidFill>
                  <a:srgbClr val="FFFFFF"/>
                </a:solidFill>
              </a:defRPr>
            </a:lvl1pPr>
          </a:lstStyle>
          <a:p>
            <a:r>
              <a:t>Section 3</a:t>
            </a:r>
          </a:p>
        </p:txBody>
      </p:sp>
      <p:sp>
        <p:nvSpPr>
          <p:cNvPr id="629" name="Shape 629"/>
          <p:cNvSpPr/>
          <p:nvPr/>
        </p:nvSpPr>
        <p:spPr>
          <a:xfrm>
            <a:off x="6340795" y="163049"/>
            <a:ext cx="1704974" cy="29210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algn="ctr">
              <a:defRPr sz="1400">
                <a:solidFill>
                  <a:srgbClr val="FFFFFF"/>
                </a:solidFill>
              </a:defRPr>
            </a:lvl1pPr>
          </a:lstStyle>
          <a:p>
            <a:r>
              <a:t>Section 4</a:t>
            </a:r>
          </a:p>
        </p:txBody>
      </p:sp>
      <p:sp>
        <p:nvSpPr>
          <p:cNvPr id="630" name="Shape 630"/>
          <p:cNvSpPr/>
          <p:nvPr/>
        </p:nvSpPr>
        <p:spPr>
          <a:xfrm>
            <a:off x="8292468" y="163049"/>
            <a:ext cx="1704974" cy="29210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algn="ctr">
              <a:defRPr sz="1400">
                <a:solidFill>
                  <a:srgbClr val="FFFFFF"/>
                </a:solidFill>
              </a:defRPr>
            </a:lvl1pPr>
          </a:lstStyle>
          <a:p>
            <a:r>
              <a:t>Section 5</a:t>
            </a:r>
          </a:p>
        </p:txBody>
      </p:sp>
      <p:sp>
        <p:nvSpPr>
          <p:cNvPr id="631" name="Shape 631"/>
          <p:cNvSpPr/>
          <p:nvPr/>
        </p:nvSpPr>
        <p:spPr>
          <a:xfrm>
            <a:off x="10244138" y="163049"/>
            <a:ext cx="1704974" cy="29210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algn="ctr">
              <a:defRPr sz="1400">
                <a:solidFill>
                  <a:srgbClr val="FFFFFF"/>
                </a:solidFill>
              </a:defRPr>
            </a:lvl1pPr>
          </a:lstStyle>
          <a:p>
            <a:r>
              <a:t>Section 6</a:t>
            </a:r>
          </a:p>
        </p:txBody>
      </p:sp>
      <p:sp>
        <p:nvSpPr>
          <p:cNvPr id="632" name="Shape 632"/>
          <p:cNvSpPr/>
          <p:nvPr/>
        </p:nvSpPr>
        <p:spPr>
          <a:xfrm>
            <a:off x="2314099" y="114647"/>
            <a:ext cx="1" cy="381036"/>
          </a:xfrm>
          <a:prstGeom prst="line">
            <a:avLst/>
          </a:prstGeom>
          <a:ln w="6350">
            <a:solidFill>
              <a:srgbClr val="565656"/>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633" name="Shape 633"/>
          <p:cNvSpPr/>
          <p:nvPr/>
        </p:nvSpPr>
        <p:spPr>
          <a:xfrm>
            <a:off x="4265772" y="114647"/>
            <a:ext cx="1" cy="381036"/>
          </a:xfrm>
          <a:prstGeom prst="line">
            <a:avLst/>
          </a:prstGeom>
          <a:ln w="6350">
            <a:solidFill>
              <a:srgbClr val="565656"/>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634" name="Shape 634"/>
          <p:cNvSpPr/>
          <p:nvPr/>
        </p:nvSpPr>
        <p:spPr>
          <a:xfrm>
            <a:off x="6217444" y="114647"/>
            <a:ext cx="1" cy="381036"/>
          </a:xfrm>
          <a:prstGeom prst="line">
            <a:avLst/>
          </a:prstGeom>
          <a:ln w="6350">
            <a:solidFill>
              <a:srgbClr val="565656"/>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635" name="Shape 635"/>
          <p:cNvSpPr/>
          <p:nvPr/>
        </p:nvSpPr>
        <p:spPr>
          <a:xfrm>
            <a:off x="8169117" y="114647"/>
            <a:ext cx="1" cy="381036"/>
          </a:xfrm>
          <a:prstGeom prst="line">
            <a:avLst/>
          </a:prstGeom>
          <a:ln w="6350">
            <a:solidFill>
              <a:srgbClr val="565656"/>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636" name="Shape 636"/>
          <p:cNvSpPr/>
          <p:nvPr/>
        </p:nvSpPr>
        <p:spPr>
          <a:xfrm>
            <a:off x="10120790" y="114647"/>
            <a:ext cx="1" cy="381036"/>
          </a:xfrm>
          <a:prstGeom prst="line">
            <a:avLst/>
          </a:prstGeom>
          <a:ln w="6350">
            <a:solidFill>
              <a:srgbClr val="565656"/>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637" name="Shape 637"/>
          <p:cNvSpPr/>
          <p:nvPr/>
        </p:nvSpPr>
        <p:spPr>
          <a:xfrm>
            <a:off x="482600" y="3069021"/>
            <a:ext cx="4533900" cy="9779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a:defRPr sz="1000">
                <a:solidFill>
                  <a:srgbClr val="FF2600"/>
                </a:solidFill>
              </a:defRPr>
            </a:pPr>
            <a:r>
              <a:t>These slides provide options to create a clickable navigation elements to jump to different sections of your presentation. To create clickable elements (and to remove this note) choose “Slide Master” from the “View” tab.</a:t>
            </a:r>
          </a:p>
          <a:p>
            <a:pPr>
              <a:defRPr sz="1000">
                <a:solidFill>
                  <a:srgbClr val="FF2600"/>
                </a:solidFill>
              </a:defRPr>
            </a:pPr>
            <a:endParaRPr/>
          </a:p>
          <a:p>
            <a:pPr>
              <a:defRPr sz="1000">
                <a:solidFill>
                  <a:srgbClr val="FF2600"/>
                </a:solidFill>
              </a:defRPr>
            </a:pPr>
            <a:r>
              <a:t>To create hyperlinks on the navigation elements, select the element and choose “Hyperlink” from the “Insert” tab. Then choose “Place in This Document” from the dialog box and select a slide.</a:t>
            </a:r>
          </a:p>
        </p:txBody>
      </p:sp>
      <p:sp>
        <p:nvSpPr>
          <p:cNvPr id="638" name="Shape 638"/>
          <p:cNvSpPr>
            <a:spLocks noGrp="1"/>
          </p:cNvSpPr>
          <p:nvPr>
            <p:ph type="body" sz="quarter" idx="13"/>
          </p:nvPr>
        </p:nvSpPr>
        <p:spPr>
          <a:xfrm>
            <a:off x="485776" y="1311631"/>
            <a:ext cx="11461751" cy="318477"/>
          </a:xfrm>
          <a:prstGeom prst="rect">
            <a:avLst/>
          </a:prstGeom>
        </p:spPr>
        <p:txBody>
          <a:bodyPr/>
          <a:lstStyle>
            <a:lvl1pPr>
              <a:defRPr sz="2000" b="1">
                <a:solidFill>
                  <a:srgbClr val="002C77"/>
                </a:solidFill>
              </a:defRPr>
            </a:lvl1pPr>
          </a:lstStyle>
          <a:p>
            <a:r>
              <a:t> </a:t>
            </a:r>
          </a:p>
        </p:txBody>
      </p:sp>
      <p:sp>
        <p:nvSpPr>
          <p:cNvPr id="639" name="Shape 639"/>
          <p:cNvSpPr>
            <a:spLocks noGrp="1"/>
          </p:cNvSpPr>
          <p:nvPr>
            <p:ph type="title"/>
          </p:nvPr>
        </p:nvSpPr>
        <p:spPr>
          <a:xfrm>
            <a:off x="485776" y="866775"/>
            <a:ext cx="11461751" cy="504825"/>
          </a:xfrm>
          <a:prstGeom prst="rect">
            <a:avLst/>
          </a:prstGeom>
        </p:spPr>
        <p:txBody>
          <a:bodyPr>
            <a:normAutofit/>
          </a:bodyPr>
          <a:lstStyle/>
          <a:p>
            <a:r>
              <a:t>Texto del título</a:t>
            </a:r>
          </a:p>
        </p:txBody>
      </p:sp>
      <p:sp>
        <p:nvSpPr>
          <p:cNvPr id="640" name="Shape 640"/>
          <p:cNvSpPr>
            <a:spLocks noGrp="1"/>
          </p:cNvSpPr>
          <p:nvPr>
            <p:ph type="body" sz="quarter" idx="1"/>
          </p:nvPr>
        </p:nvSpPr>
        <p:spPr>
          <a:xfrm>
            <a:off x="6394451" y="6388100"/>
            <a:ext cx="4603751" cy="247650"/>
          </a:xfrm>
          <a:prstGeom prst="rect">
            <a:avLst/>
          </a:prstGeom>
        </p:spPr>
        <p:txBody>
          <a:bodyPr anchor="b">
            <a:normAutofit/>
          </a:bodyPr>
          <a:lstStyle>
            <a:lvl1pPr algn="r">
              <a:spcBef>
                <a:spcPts val="0"/>
              </a:spcBef>
              <a:defRPr sz="800"/>
            </a:lvl1pPr>
            <a:lvl2pPr marL="0" indent="457200" algn="r">
              <a:spcBef>
                <a:spcPts val="0"/>
              </a:spcBef>
              <a:buSzTx/>
              <a:buNone/>
              <a:defRPr sz="800"/>
            </a:lvl2pPr>
            <a:lvl3pPr marL="0" indent="914400" algn="r">
              <a:spcBef>
                <a:spcPts val="0"/>
              </a:spcBef>
              <a:buSzTx/>
              <a:buNone/>
              <a:defRPr sz="800"/>
            </a:lvl3pPr>
            <a:lvl4pPr marL="0" indent="1371600" algn="r">
              <a:spcBef>
                <a:spcPts val="0"/>
              </a:spcBef>
              <a:buSzTx/>
              <a:buNone/>
              <a:defRPr sz="800"/>
            </a:lvl4pPr>
            <a:lvl5pPr marL="0" indent="1828800" algn="r">
              <a:spcBef>
                <a:spcPts val="0"/>
              </a:spcBef>
              <a:buSzTx/>
              <a:buNone/>
              <a:defRPr sz="800"/>
            </a:lvl5pPr>
          </a:lstStyle>
          <a:p>
            <a:r>
              <a:t>Nivel de texto 1</a:t>
            </a:r>
          </a:p>
          <a:p>
            <a:pPr lvl="1"/>
            <a:r>
              <a:t>Nivel de texto 2</a:t>
            </a:r>
          </a:p>
          <a:p>
            <a:pPr lvl="2"/>
            <a:r>
              <a:t>Nivel de texto 3</a:t>
            </a:r>
          </a:p>
          <a:p>
            <a:pPr lvl="3"/>
            <a:r>
              <a:t>Nivel de texto 4</a:t>
            </a:r>
          </a:p>
          <a:p>
            <a:pPr lvl="4"/>
            <a:r>
              <a:t>Nivel de texto 5</a:t>
            </a:r>
          </a:p>
        </p:txBody>
      </p:sp>
      <p:sp>
        <p:nvSpPr>
          <p:cNvPr id="641" name="Shape 641"/>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extLst>
      <p:ext uri="{BB962C8B-B14F-4D97-AF65-F5344CB8AC3E}">
        <p14:creationId xmlns:p14="http://schemas.microsoft.com/office/powerpoint/2010/main" val="2616697517"/>
      </p:ext>
    </p:extLst>
  </p:cSld>
  <p:clrMapOvr>
    <a:masterClrMapping/>
  </p:clrMapOvr>
  <p:transition spd="med"/>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tx">
  <p:cSld name="Interactive right">
    <p:bg>
      <p:bgPr>
        <a:solidFill>
          <a:srgbClr val="FFFFFF"/>
        </a:solidFill>
        <a:effectLst/>
      </p:bgPr>
    </p:bg>
    <p:spTree>
      <p:nvGrpSpPr>
        <p:cNvPr id="1" name=""/>
        <p:cNvGrpSpPr/>
        <p:nvPr/>
      </p:nvGrpSpPr>
      <p:grpSpPr>
        <a:xfrm>
          <a:off x="0" y="0"/>
          <a:ext cx="0" cy="0"/>
          <a:chOff x="0" y="0"/>
          <a:chExt cx="0" cy="0"/>
        </a:xfrm>
      </p:grpSpPr>
      <p:pic>
        <p:nvPicPr>
          <p:cNvPr id="648"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grpSp>
        <p:nvGrpSpPr>
          <p:cNvPr id="651" name="Group 651"/>
          <p:cNvGrpSpPr/>
          <p:nvPr/>
        </p:nvGrpSpPr>
        <p:grpSpPr>
          <a:xfrm>
            <a:off x="10239375" y="3176"/>
            <a:ext cx="1952625" cy="1139452"/>
            <a:chOff x="0" y="0"/>
            <a:chExt cx="1952625" cy="1139451"/>
          </a:xfrm>
        </p:grpSpPr>
        <p:sp>
          <p:nvSpPr>
            <p:cNvPr id="649" name="Shape 649"/>
            <p:cNvSpPr/>
            <p:nvPr/>
          </p:nvSpPr>
          <p:spPr>
            <a:xfrm>
              <a:off x="0" y="0"/>
              <a:ext cx="1952625" cy="1139452"/>
            </a:xfrm>
            <a:prstGeom prst="rect">
              <a:avLst/>
            </a:prstGeom>
            <a:solidFill>
              <a:srgbClr val="002C77"/>
            </a:solidFill>
            <a:ln w="3175" cap="flat">
              <a:solidFill>
                <a:srgbClr val="146BFF">
                  <a:alpha val="10000"/>
                </a:srgbClr>
              </a:solidFill>
              <a:prstDash val="solid"/>
              <a:round/>
            </a:ln>
            <a:effectLst/>
          </p:spPr>
          <p:txBody>
            <a:bodyPr wrap="square" lIns="0" tIns="0" rIns="0" bIns="0" numCol="1" anchor="b">
              <a:noAutofit/>
            </a:bodyPr>
            <a:lstStyle/>
            <a:p>
              <a:pPr algn="ctr">
                <a:defRPr sz="1400">
                  <a:solidFill>
                    <a:srgbClr val="FFFFFF"/>
                  </a:solidFill>
                </a:defRPr>
              </a:pPr>
              <a:endParaRPr/>
            </a:p>
          </p:txBody>
        </p:sp>
        <p:sp>
          <p:nvSpPr>
            <p:cNvPr id="650" name="Shape 650"/>
            <p:cNvSpPr/>
            <p:nvPr/>
          </p:nvSpPr>
          <p:spPr>
            <a:xfrm>
              <a:off x="0" y="798068"/>
              <a:ext cx="1952625" cy="3413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0" tIns="72000" rIns="72000" bIns="72000" numCol="1" anchor="b">
              <a:spAutoFit/>
            </a:bodyPr>
            <a:lstStyle>
              <a:lvl1pPr algn="ctr">
                <a:defRPr sz="1400">
                  <a:solidFill>
                    <a:srgbClr val="FFFFFF"/>
                  </a:solidFill>
                </a:defRPr>
              </a:lvl1pPr>
            </a:lstStyle>
            <a:p>
              <a:r>
                <a:t>Section 1</a:t>
              </a:r>
            </a:p>
          </p:txBody>
        </p:sp>
      </p:grpSp>
      <p:grpSp>
        <p:nvGrpSpPr>
          <p:cNvPr id="654" name="Group 654"/>
          <p:cNvGrpSpPr/>
          <p:nvPr/>
        </p:nvGrpSpPr>
        <p:grpSpPr>
          <a:xfrm>
            <a:off x="10239375" y="1146251"/>
            <a:ext cx="1952625" cy="1139452"/>
            <a:chOff x="0" y="0"/>
            <a:chExt cx="1952625" cy="1139451"/>
          </a:xfrm>
        </p:grpSpPr>
        <p:sp>
          <p:nvSpPr>
            <p:cNvPr id="652" name="Shape 652"/>
            <p:cNvSpPr/>
            <p:nvPr/>
          </p:nvSpPr>
          <p:spPr>
            <a:xfrm>
              <a:off x="0" y="0"/>
              <a:ext cx="1952625" cy="1139452"/>
            </a:xfrm>
            <a:prstGeom prst="rect">
              <a:avLst/>
            </a:prstGeom>
            <a:solidFill>
              <a:srgbClr val="002C77"/>
            </a:solidFill>
            <a:ln w="3175" cap="flat">
              <a:solidFill>
                <a:srgbClr val="146BFF">
                  <a:alpha val="10000"/>
                </a:srgbClr>
              </a:solidFill>
              <a:prstDash val="solid"/>
              <a:round/>
            </a:ln>
            <a:effectLst/>
          </p:spPr>
          <p:txBody>
            <a:bodyPr wrap="square" lIns="0" tIns="0" rIns="0" bIns="0" numCol="1" anchor="b">
              <a:noAutofit/>
            </a:bodyPr>
            <a:lstStyle/>
            <a:p>
              <a:pPr algn="ctr">
                <a:defRPr sz="1400">
                  <a:solidFill>
                    <a:srgbClr val="FFFFFF"/>
                  </a:solidFill>
                </a:defRPr>
              </a:pPr>
              <a:endParaRPr/>
            </a:p>
          </p:txBody>
        </p:sp>
        <p:sp>
          <p:nvSpPr>
            <p:cNvPr id="653" name="Shape 653"/>
            <p:cNvSpPr/>
            <p:nvPr/>
          </p:nvSpPr>
          <p:spPr>
            <a:xfrm>
              <a:off x="0" y="798068"/>
              <a:ext cx="1952625" cy="3413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0" tIns="72000" rIns="72000" bIns="72000" numCol="1" anchor="b">
              <a:spAutoFit/>
            </a:bodyPr>
            <a:lstStyle>
              <a:lvl1pPr algn="ctr">
                <a:defRPr sz="1400">
                  <a:solidFill>
                    <a:srgbClr val="FFFFFF"/>
                  </a:solidFill>
                </a:defRPr>
              </a:lvl1pPr>
            </a:lstStyle>
            <a:p>
              <a:r>
                <a:t>Section 2</a:t>
              </a:r>
            </a:p>
          </p:txBody>
        </p:sp>
      </p:grpSp>
      <p:grpSp>
        <p:nvGrpSpPr>
          <p:cNvPr id="657" name="Group 657"/>
          <p:cNvGrpSpPr/>
          <p:nvPr/>
        </p:nvGrpSpPr>
        <p:grpSpPr>
          <a:xfrm>
            <a:off x="10239375" y="2289325"/>
            <a:ext cx="1952625" cy="1139452"/>
            <a:chOff x="0" y="0"/>
            <a:chExt cx="1952625" cy="1139451"/>
          </a:xfrm>
        </p:grpSpPr>
        <p:sp>
          <p:nvSpPr>
            <p:cNvPr id="655" name="Shape 655"/>
            <p:cNvSpPr/>
            <p:nvPr/>
          </p:nvSpPr>
          <p:spPr>
            <a:xfrm>
              <a:off x="0" y="0"/>
              <a:ext cx="1952625" cy="1139452"/>
            </a:xfrm>
            <a:prstGeom prst="rect">
              <a:avLst/>
            </a:prstGeom>
            <a:solidFill>
              <a:srgbClr val="002C77"/>
            </a:solidFill>
            <a:ln w="3175" cap="flat">
              <a:solidFill>
                <a:srgbClr val="146BFF">
                  <a:alpha val="10000"/>
                </a:srgbClr>
              </a:solidFill>
              <a:prstDash val="solid"/>
              <a:round/>
            </a:ln>
            <a:effectLst/>
          </p:spPr>
          <p:txBody>
            <a:bodyPr wrap="square" lIns="0" tIns="0" rIns="0" bIns="0" numCol="1" anchor="b">
              <a:noAutofit/>
            </a:bodyPr>
            <a:lstStyle/>
            <a:p>
              <a:pPr algn="ctr">
                <a:defRPr sz="1400">
                  <a:solidFill>
                    <a:srgbClr val="FFFFFF"/>
                  </a:solidFill>
                </a:defRPr>
              </a:pPr>
              <a:endParaRPr/>
            </a:p>
          </p:txBody>
        </p:sp>
        <p:sp>
          <p:nvSpPr>
            <p:cNvPr id="656" name="Shape 656"/>
            <p:cNvSpPr/>
            <p:nvPr/>
          </p:nvSpPr>
          <p:spPr>
            <a:xfrm>
              <a:off x="0" y="798068"/>
              <a:ext cx="1952625" cy="3413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0" tIns="72000" rIns="72000" bIns="72000" numCol="1" anchor="b">
              <a:spAutoFit/>
            </a:bodyPr>
            <a:lstStyle>
              <a:lvl1pPr algn="ctr">
                <a:defRPr sz="1400">
                  <a:solidFill>
                    <a:srgbClr val="FFFFFF"/>
                  </a:solidFill>
                </a:defRPr>
              </a:lvl1pPr>
            </a:lstStyle>
            <a:p>
              <a:r>
                <a:t>Section 3</a:t>
              </a:r>
            </a:p>
          </p:txBody>
        </p:sp>
      </p:grpSp>
      <p:grpSp>
        <p:nvGrpSpPr>
          <p:cNvPr id="660" name="Group 660"/>
          <p:cNvGrpSpPr/>
          <p:nvPr/>
        </p:nvGrpSpPr>
        <p:grpSpPr>
          <a:xfrm>
            <a:off x="10239375" y="3432400"/>
            <a:ext cx="1952625" cy="1139453"/>
            <a:chOff x="0" y="0"/>
            <a:chExt cx="1952625" cy="1139451"/>
          </a:xfrm>
        </p:grpSpPr>
        <p:sp>
          <p:nvSpPr>
            <p:cNvPr id="658" name="Shape 658"/>
            <p:cNvSpPr/>
            <p:nvPr/>
          </p:nvSpPr>
          <p:spPr>
            <a:xfrm>
              <a:off x="0" y="0"/>
              <a:ext cx="1952625" cy="1139452"/>
            </a:xfrm>
            <a:prstGeom prst="rect">
              <a:avLst/>
            </a:prstGeom>
            <a:solidFill>
              <a:srgbClr val="002C77"/>
            </a:solidFill>
            <a:ln w="3175" cap="flat">
              <a:solidFill>
                <a:srgbClr val="146BFF">
                  <a:alpha val="10000"/>
                </a:srgbClr>
              </a:solidFill>
              <a:prstDash val="solid"/>
              <a:round/>
            </a:ln>
            <a:effectLst/>
          </p:spPr>
          <p:txBody>
            <a:bodyPr wrap="square" lIns="0" tIns="0" rIns="0" bIns="0" numCol="1" anchor="b">
              <a:noAutofit/>
            </a:bodyPr>
            <a:lstStyle/>
            <a:p>
              <a:pPr algn="ctr">
                <a:defRPr sz="1400">
                  <a:solidFill>
                    <a:srgbClr val="FFFFFF"/>
                  </a:solidFill>
                </a:defRPr>
              </a:pPr>
              <a:endParaRPr/>
            </a:p>
          </p:txBody>
        </p:sp>
        <p:sp>
          <p:nvSpPr>
            <p:cNvPr id="659" name="Shape 659"/>
            <p:cNvSpPr/>
            <p:nvPr/>
          </p:nvSpPr>
          <p:spPr>
            <a:xfrm>
              <a:off x="0" y="798068"/>
              <a:ext cx="1952625" cy="3413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0" tIns="72000" rIns="72000" bIns="72000" numCol="1" anchor="b">
              <a:spAutoFit/>
            </a:bodyPr>
            <a:lstStyle>
              <a:lvl1pPr algn="ctr">
                <a:defRPr sz="1400">
                  <a:solidFill>
                    <a:srgbClr val="FFFFFF"/>
                  </a:solidFill>
                </a:defRPr>
              </a:lvl1pPr>
            </a:lstStyle>
            <a:p>
              <a:r>
                <a:t>Section 4</a:t>
              </a:r>
            </a:p>
          </p:txBody>
        </p:sp>
      </p:grpSp>
      <p:grpSp>
        <p:nvGrpSpPr>
          <p:cNvPr id="663" name="Group 663"/>
          <p:cNvGrpSpPr/>
          <p:nvPr/>
        </p:nvGrpSpPr>
        <p:grpSpPr>
          <a:xfrm>
            <a:off x="10239375" y="4575475"/>
            <a:ext cx="1952625" cy="1139452"/>
            <a:chOff x="0" y="0"/>
            <a:chExt cx="1952625" cy="1139451"/>
          </a:xfrm>
        </p:grpSpPr>
        <p:sp>
          <p:nvSpPr>
            <p:cNvPr id="661" name="Shape 661"/>
            <p:cNvSpPr/>
            <p:nvPr/>
          </p:nvSpPr>
          <p:spPr>
            <a:xfrm>
              <a:off x="0" y="0"/>
              <a:ext cx="1952625" cy="1139452"/>
            </a:xfrm>
            <a:prstGeom prst="rect">
              <a:avLst/>
            </a:prstGeom>
            <a:solidFill>
              <a:srgbClr val="002C77"/>
            </a:solidFill>
            <a:ln w="3175" cap="flat">
              <a:solidFill>
                <a:srgbClr val="146BFF">
                  <a:alpha val="10000"/>
                </a:srgbClr>
              </a:solidFill>
              <a:prstDash val="solid"/>
              <a:round/>
            </a:ln>
            <a:effectLst/>
          </p:spPr>
          <p:txBody>
            <a:bodyPr wrap="square" lIns="0" tIns="0" rIns="0" bIns="0" numCol="1" anchor="b">
              <a:noAutofit/>
            </a:bodyPr>
            <a:lstStyle/>
            <a:p>
              <a:pPr algn="ctr">
                <a:defRPr sz="1400">
                  <a:solidFill>
                    <a:srgbClr val="FFFFFF"/>
                  </a:solidFill>
                </a:defRPr>
              </a:pPr>
              <a:endParaRPr/>
            </a:p>
          </p:txBody>
        </p:sp>
        <p:sp>
          <p:nvSpPr>
            <p:cNvPr id="662" name="Shape 662"/>
            <p:cNvSpPr/>
            <p:nvPr/>
          </p:nvSpPr>
          <p:spPr>
            <a:xfrm>
              <a:off x="0" y="798068"/>
              <a:ext cx="1952625" cy="3413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0" tIns="72000" rIns="72000" bIns="72000" numCol="1" anchor="b">
              <a:spAutoFit/>
            </a:bodyPr>
            <a:lstStyle>
              <a:lvl1pPr algn="ctr">
                <a:defRPr sz="1400">
                  <a:solidFill>
                    <a:srgbClr val="FFFFFF"/>
                  </a:solidFill>
                </a:defRPr>
              </a:lvl1pPr>
            </a:lstStyle>
            <a:p>
              <a:r>
                <a:t>Section 5</a:t>
              </a:r>
            </a:p>
          </p:txBody>
        </p:sp>
      </p:grpSp>
      <p:grpSp>
        <p:nvGrpSpPr>
          <p:cNvPr id="666" name="Group 666"/>
          <p:cNvGrpSpPr/>
          <p:nvPr/>
        </p:nvGrpSpPr>
        <p:grpSpPr>
          <a:xfrm>
            <a:off x="10239375" y="5718547"/>
            <a:ext cx="1952625" cy="1139453"/>
            <a:chOff x="0" y="0"/>
            <a:chExt cx="1952625" cy="1139451"/>
          </a:xfrm>
        </p:grpSpPr>
        <p:sp>
          <p:nvSpPr>
            <p:cNvPr id="664" name="Shape 664"/>
            <p:cNvSpPr/>
            <p:nvPr/>
          </p:nvSpPr>
          <p:spPr>
            <a:xfrm>
              <a:off x="0" y="0"/>
              <a:ext cx="1952625" cy="1139452"/>
            </a:xfrm>
            <a:prstGeom prst="rect">
              <a:avLst/>
            </a:prstGeom>
            <a:solidFill>
              <a:srgbClr val="002C77"/>
            </a:solidFill>
            <a:ln w="3175" cap="flat">
              <a:solidFill>
                <a:srgbClr val="146BFF">
                  <a:alpha val="10000"/>
                </a:srgbClr>
              </a:solidFill>
              <a:prstDash val="solid"/>
              <a:round/>
            </a:ln>
            <a:effectLst/>
          </p:spPr>
          <p:txBody>
            <a:bodyPr wrap="square" lIns="0" tIns="0" rIns="0" bIns="0" numCol="1" anchor="b">
              <a:noAutofit/>
            </a:bodyPr>
            <a:lstStyle/>
            <a:p>
              <a:pPr algn="ctr">
                <a:defRPr sz="1400">
                  <a:solidFill>
                    <a:srgbClr val="FFFFFF"/>
                  </a:solidFill>
                </a:defRPr>
              </a:pPr>
              <a:endParaRPr/>
            </a:p>
          </p:txBody>
        </p:sp>
        <p:sp>
          <p:nvSpPr>
            <p:cNvPr id="665" name="Shape 665"/>
            <p:cNvSpPr/>
            <p:nvPr/>
          </p:nvSpPr>
          <p:spPr>
            <a:xfrm>
              <a:off x="0" y="798068"/>
              <a:ext cx="1952625" cy="3413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0" tIns="72000" rIns="72000" bIns="72000" numCol="1" anchor="b">
              <a:spAutoFit/>
            </a:bodyPr>
            <a:lstStyle>
              <a:lvl1pPr algn="ctr">
                <a:defRPr sz="1400">
                  <a:solidFill>
                    <a:srgbClr val="FFFFFF"/>
                  </a:solidFill>
                </a:defRPr>
              </a:lvl1pPr>
            </a:lstStyle>
            <a:p>
              <a:r>
                <a:t>Section 6</a:t>
              </a:r>
            </a:p>
          </p:txBody>
        </p:sp>
      </p:grpSp>
      <p:sp>
        <p:nvSpPr>
          <p:cNvPr id="667" name="Shape 667"/>
          <p:cNvSpPr/>
          <p:nvPr/>
        </p:nvSpPr>
        <p:spPr>
          <a:xfrm>
            <a:off x="11070164" y="1425265"/>
            <a:ext cx="283731" cy="268102"/>
          </a:xfrm>
          <a:custGeom>
            <a:avLst/>
            <a:gdLst/>
            <a:ahLst/>
            <a:cxnLst>
              <a:cxn ang="0">
                <a:pos x="wd2" y="hd2"/>
              </a:cxn>
              <a:cxn ang="5400000">
                <a:pos x="wd2" y="hd2"/>
              </a:cxn>
              <a:cxn ang="10800000">
                <a:pos x="wd2" y="hd2"/>
              </a:cxn>
              <a:cxn ang="16200000">
                <a:pos x="wd2" y="hd2"/>
              </a:cxn>
            </a:cxnLst>
            <a:rect l="0" t="0" r="r" b="b"/>
            <a:pathLst>
              <a:path w="20937" h="21532" extrusionOk="0">
                <a:moveTo>
                  <a:pt x="18594" y="21532"/>
                </a:moveTo>
                <a:cubicBezTo>
                  <a:pt x="18348" y="21532"/>
                  <a:pt x="18103" y="21532"/>
                  <a:pt x="17857" y="21262"/>
                </a:cubicBezTo>
                <a:cubicBezTo>
                  <a:pt x="14912" y="18022"/>
                  <a:pt x="14912" y="18022"/>
                  <a:pt x="14912" y="18022"/>
                </a:cubicBezTo>
                <a:cubicBezTo>
                  <a:pt x="14666" y="17482"/>
                  <a:pt x="14666" y="16942"/>
                  <a:pt x="14912" y="16402"/>
                </a:cubicBezTo>
                <a:cubicBezTo>
                  <a:pt x="15403" y="16132"/>
                  <a:pt x="15894" y="16132"/>
                  <a:pt x="16384" y="16402"/>
                </a:cubicBezTo>
                <a:cubicBezTo>
                  <a:pt x="19330" y="19642"/>
                  <a:pt x="19330" y="19642"/>
                  <a:pt x="19330" y="19642"/>
                </a:cubicBezTo>
                <a:cubicBezTo>
                  <a:pt x="19575" y="20182"/>
                  <a:pt x="19575" y="20722"/>
                  <a:pt x="19330" y="21262"/>
                </a:cubicBezTo>
                <a:cubicBezTo>
                  <a:pt x="19084" y="21532"/>
                  <a:pt x="18839" y="21532"/>
                  <a:pt x="18594" y="21532"/>
                </a:cubicBezTo>
                <a:close/>
                <a:moveTo>
                  <a:pt x="2884" y="21532"/>
                </a:moveTo>
                <a:cubicBezTo>
                  <a:pt x="2639" y="21532"/>
                  <a:pt x="2394" y="21532"/>
                  <a:pt x="2148" y="21262"/>
                </a:cubicBezTo>
                <a:cubicBezTo>
                  <a:pt x="1903" y="20722"/>
                  <a:pt x="1903" y="20182"/>
                  <a:pt x="2148" y="19642"/>
                </a:cubicBezTo>
                <a:cubicBezTo>
                  <a:pt x="9266" y="11812"/>
                  <a:pt x="9266" y="11812"/>
                  <a:pt x="9266" y="11812"/>
                </a:cubicBezTo>
                <a:cubicBezTo>
                  <a:pt x="7794" y="10192"/>
                  <a:pt x="7794" y="10192"/>
                  <a:pt x="7794" y="10192"/>
                </a:cubicBezTo>
                <a:cubicBezTo>
                  <a:pt x="6566" y="11542"/>
                  <a:pt x="6566" y="11542"/>
                  <a:pt x="6566" y="11542"/>
                </a:cubicBezTo>
                <a:cubicBezTo>
                  <a:pt x="6075" y="11812"/>
                  <a:pt x="5584" y="11812"/>
                  <a:pt x="5094" y="11542"/>
                </a:cubicBezTo>
                <a:cubicBezTo>
                  <a:pt x="184" y="6142"/>
                  <a:pt x="184" y="6142"/>
                  <a:pt x="184" y="6142"/>
                </a:cubicBezTo>
                <a:cubicBezTo>
                  <a:pt x="-61" y="5602"/>
                  <a:pt x="-61" y="5062"/>
                  <a:pt x="184" y="4522"/>
                </a:cubicBezTo>
                <a:cubicBezTo>
                  <a:pt x="675" y="4252"/>
                  <a:pt x="1166" y="4252"/>
                  <a:pt x="1657" y="4522"/>
                </a:cubicBezTo>
                <a:cubicBezTo>
                  <a:pt x="5830" y="9112"/>
                  <a:pt x="5830" y="9112"/>
                  <a:pt x="5830" y="9112"/>
                </a:cubicBezTo>
                <a:cubicBezTo>
                  <a:pt x="6321" y="8572"/>
                  <a:pt x="6321" y="8572"/>
                  <a:pt x="6321" y="8572"/>
                </a:cubicBezTo>
                <a:cubicBezTo>
                  <a:pt x="2148" y="3982"/>
                  <a:pt x="2148" y="3982"/>
                  <a:pt x="2148" y="3982"/>
                </a:cubicBezTo>
                <a:cubicBezTo>
                  <a:pt x="1903" y="3442"/>
                  <a:pt x="1903" y="2902"/>
                  <a:pt x="2148" y="2362"/>
                </a:cubicBezTo>
                <a:cubicBezTo>
                  <a:pt x="2639" y="2092"/>
                  <a:pt x="3130" y="2092"/>
                  <a:pt x="3621" y="2362"/>
                </a:cubicBezTo>
                <a:cubicBezTo>
                  <a:pt x="7794" y="6952"/>
                  <a:pt x="7794" y="6952"/>
                  <a:pt x="7794" y="6952"/>
                </a:cubicBezTo>
                <a:cubicBezTo>
                  <a:pt x="8284" y="6412"/>
                  <a:pt x="8284" y="6412"/>
                  <a:pt x="8284" y="6412"/>
                </a:cubicBezTo>
                <a:cubicBezTo>
                  <a:pt x="4112" y="1822"/>
                  <a:pt x="4112" y="1822"/>
                  <a:pt x="4112" y="1822"/>
                </a:cubicBezTo>
                <a:cubicBezTo>
                  <a:pt x="3866" y="1282"/>
                  <a:pt x="3866" y="742"/>
                  <a:pt x="4112" y="202"/>
                </a:cubicBezTo>
                <a:cubicBezTo>
                  <a:pt x="4603" y="-68"/>
                  <a:pt x="5094" y="-68"/>
                  <a:pt x="5584" y="202"/>
                </a:cubicBezTo>
                <a:cubicBezTo>
                  <a:pt x="10494" y="5602"/>
                  <a:pt x="10494" y="5602"/>
                  <a:pt x="10494" y="5602"/>
                </a:cubicBezTo>
                <a:cubicBezTo>
                  <a:pt x="10739" y="6142"/>
                  <a:pt x="10739" y="6682"/>
                  <a:pt x="10494" y="7222"/>
                </a:cubicBezTo>
                <a:cubicBezTo>
                  <a:pt x="9266" y="8572"/>
                  <a:pt x="9266" y="8572"/>
                  <a:pt x="9266" y="8572"/>
                </a:cubicBezTo>
                <a:cubicBezTo>
                  <a:pt x="10739" y="10192"/>
                  <a:pt x="10739" y="10192"/>
                  <a:pt x="10739" y="10192"/>
                </a:cubicBezTo>
                <a:cubicBezTo>
                  <a:pt x="18839" y="1282"/>
                  <a:pt x="18839" y="1282"/>
                  <a:pt x="18839" y="1282"/>
                </a:cubicBezTo>
                <a:cubicBezTo>
                  <a:pt x="19084" y="1012"/>
                  <a:pt x="19575" y="1012"/>
                  <a:pt x="19821" y="1012"/>
                </a:cubicBezTo>
                <a:cubicBezTo>
                  <a:pt x="20066" y="1012"/>
                  <a:pt x="20312" y="1552"/>
                  <a:pt x="20557" y="1822"/>
                </a:cubicBezTo>
                <a:cubicBezTo>
                  <a:pt x="21539" y="5332"/>
                  <a:pt x="20557" y="9112"/>
                  <a:pt x="18348" y="11542"/>
                </a:cubicBezTo>
                <a:cubicBezTo>
                  <a:pt x="14666" y="15592"/>
                  <a:pt x="11966" y="16132"/>
                  <a:pt x="11966" y="16132"/>
                </a:cubicBezTo>
                <a:cubicBezTo>
                  <a:pt x="11475" y="16132"/>
                  <a:pt x="10984" y="15862"/>
                  <a:pt x="10739" y="15322"/>
                </a:cubicBezTo>
                <a:cubicBezTo>
                  <a:pt x="10739" y="14782"/>
                  <a:pt x="10984" y="14242"/>
                  <a:pt x="11475" y="13972"/>
                </a:cubicBezTo>
                <a:cubicBezTo>
                  <a:pt x="11475" y="13972"/>
                  <a:pt x="13684" y="13432"/>
                  <a:pt x="16875" y="9922"/>
                </a:cubicBezTo>
                <a:cubicBezTo>
                  <a:pt x="18348" y="8572"/>
                  <a:pt x="19084" y="6412"/>
                  <a:pt x="18839" y="4252"/>
                </a:cubicBezTo>
                <a:cubicBezTo>
                  <a:pt x="3621" y="21262"/>
                  <a:pt x="3621" y="21262"/>
                  <a:pt x="3621" y="21262"/>
                </a:cubicBezTo>
                <a:cubicBezTo>
                  <a:pt x="3375" y="21532"/>
                  <a:pt x="3130" y="21532"/>
                  <a:pt x="2884" y="21532"/>
                </a:cubicBezTo>
                <a:close/>
              </a:path>
            </a:pathLst>
          </a:custGeom>
          <a:solidFill>
            <a:srgbClr val="FFFFFF"/>
          </a:solidFill>
          <a:ln w="12700">
            <a:miter lim="400000"/>
          </a:ln>
        </p:spPr>
        <p:txBody>
          <a:bodyPr lIns="0" tIns="0" rIns="0" bIns="0"/>
          <a:lstStyle/>
          <a:p>
            <a:endParaRPr/>
          </a:p>
        </p:txBody>
      </p:sp>
      <p:sp>
        <p:nvSpPr>
          <p:cNvPr id="668" name="Shape 668"/>
          <p:cNvSpPr/>
          <p:nvPr/>
        </p:nvSpPr>
        <p:spPr>
          <a:xfrm>
            <a:off x="11081842" y="4837714"/>
            <a:ext cx="267692" cy="317728"/>
          </a:xfrm>
          <a:custGeom>
            <a:avLst/>
            <a:gdLst/>
            <a:ahLst/>
            <a:cxnLst>
              <a:cxn ang="0">
                <a:pos x="wd2" y="hd2"/>
              </a:cxn>
              <a:cxn ang="5400000">
                <a:pos x="wd2" y="hd2"/>
              </a:cxn>
              <a:cxn ang="10800000">
                <a:pos x="wd2" y="hd2"/>
              </a:cxn>
              <a:cxn ang="16200000">
                <a:pos x="wd2" y="hd2"/>
              </a:cxn>
            </a:cxnLst>
            <a:rect l="0" t="0" r="r" b="b"/>
            <a:pathLst>
              <a:path w="21600" h="21600" extrusionOk="0">
                <a:moveTo>
                  <a:pt x="20520" y="21600"/>
                </a:moveTo>
                <a:cubicBezTo>
                  <a:pt x="10800" y="21600"/>
                  <a:pt x="10800" y="21600"/>
                  <a:pt x="10800" y="21600"/>
                </a:cubicBezTo>
                <a:cubicBezTo>
                  <a:pt x="10260" y="21600"/>
                  <a:pt x="9720" y="21150"/>
                  <a:pt x="9720" y="20700"/>
                </a:cubicBezTo>
                <a:cubicBezTo>
                  <a:pt x="9720" y="17100"/>
                  <a:pt x="9720" y="17100"/>
                  <a:pt x="9720" y="17100"/>
                </a:cubicBezTo>
                <a:cubicBezTo>
                  <a:pt x="9720" y="16650"/>
                  <a:pt x="10260" y="16200"/>
                  <a:pt x="10800" y="16200"/>
                </a:cubicBezTo>
                <a:cubicBezTo>
                  <a:pt x="20520" y="16200"/>
                  <a:pt x="20520" y="16200"/>
                  <a:pt x="20520" y="16200"/>
                </a:cubicBezTo>
                <a:cubicBezTo>
                  <a:pt x="21060" y="16200"/>
                  <a:pt x="21600" y="16650"/>
                  <a:pt x="21600" y="17100"/>
                </a:cubicBezTo>
                <a:cubicBezTo>
                  <a:pt x="21600" y="20700"/>
                  <a:pt x="21600" y="20700"/>
                  <a:pt x="21600" y="20700"/>
                </a:cubicBezTo>
                <a:cubicBezTo>
                  <a:pt x="21600" y="21150"/>
                  <a:pt x="21060" y="21600"/>
                  <a:pt x="20520" y="21600"/>
                </a:cubicBezTo>
                <a:close/>
                <a:moveTo>
                  <a:pt x="11880" y="19800"/>
                </a:moveTo>
                <a:cubicBezTo>
                  <a:pt x="19440" y="19800"/>
                  <a:pt x="19440" y="19800"/>
                  <a:pt x="19440" y="19800"/>
                </a:cubicBezTo>
                <a:cubicBezTo>
                  <a:pt x="19440" y="18000"/>
                  <a:pt x="19440" y="18000"/>
                  <a:pt x="19440" y="18000"/>
                </a:cubicBezTo>
                <a:cubicBezTo>
                  <a:pt x="11880" y="18000"/>
                  <a:pt x="11880" y="18000"/>
                  <a:pt x="11880" y="18000"/>
                </a:cubicBezTo>
                <a:lnTo>
                  <a:pt x="11880" y="19800"/>
                </a:lnTo>
                <a:close/>
                <a:moveTo>
                  <a:pt x="20520" y="14400"/>
                </a:moveTo>
                <a:cubicBezTo>
                  <a:pt x="1080" y="14400"/>
                  <a:pt x="1080" y="14400"/>
                  <a:pt x="1080" y="14400"/>
                </a:cubicBezTo>
                <a:cubicBezTo>
                  <a:pt x="540" y="14400"/>
                  <a:pt x="0" y="13950"/>
                  <a:pt x="0" y="13500"/>
                </a:cubicBezTo>
                <a:cubicBezTo>
                  <a:pt x="0" y="900"/>
                  <a:pt x="0" y="900"/>
                  <a:pt x="0" y="900"/>
                </a:cubicBezTo>
                <a:cubicBezTo>
                  <a:pt x="0" y="450"/>
                  <a:pt x="540" y="0"/>
                  <a:pt x="1080" y="0"/>
                </a:cubicBezTo>
                <a:cubicBezTo>
                  <a:pt x="20520" y="0"/>
                  <a:pt x="20520" y="0"/>
                  <a:pt x="20520" y="0"/>
                </a:cubicBezTo>
                <a:cubicBezTo>
                  <a:pt x="21060" y="0"/>
                  <a:pt x="21600" y="450"/>
                  <a:pt x="21600" y="900"/>
                </a:cubicBezTo>
                <a:cubicBezTo>
                  <a:pt x="21600" y="13500"/>
                  <a:pt x="21600" y="13500"/>
                  <a:pt x="21600" y="13500"/>
                </a:cubicBezTo>
                <a:cubicBezTo>
                  <a:pt x="21600" y="13950"/>
                  <a:pt x="21060" y="14400"/>
                  <a:pt x="20520" y="14400"/>
                </a:cubicBezTo>
                <a:close/>
                <a:moveTo>
                  <a:pt x="2160" y="12600"/>
                </a:moveTo>
                <a:cubicBezTo>
                  <a:pt x="19440" y="12600"/>
                  <a:pt x="19440" y="12600"/>
                  <a:pt x="19440" y="12600"/>
                </a:cubicBezTo>
                <a:cubicBezTo>
                  <a:pt x="19440" y="5400"/>
                  <a:pt x="19440" y="5400"/>
                  <a:pt x="19440" y="5400"/>
                </a:cubicBezTo>
                <a:cubicBezTo>
                  <a:pt x="2160" y="5400"/>
                  <a:pt x="2160" y="5400"/>
                  <a:pt x="2160" y="5400"/>
                </a:cubicBezTo>
                <a:lnTo>
                  <a:pt x="2160" y="12600"/>
                </a:lnTo>
                <a:close/>
                <a:moveTo>
                  <a:pt x="2160" y="3600"/>
                </a:moveTo>
                <a:cubicBezTo>
                  <a:pt x="19440" y="3600"/>
                  <a:pt x="19440" y="3600"/>
                  <a:pt x="19440" y="3600"/>
                </a:cubicBezTo>
                <a:cubicBezTo>
                  <a:pt x="19440" y="1800"/>
                  <a:pt x="19440" y="1800"/>
                  <a:pt x="19440" y="1800"/>
                </a:cubicBezTo>
                <a:cubicBezTo>
                  <a:pt x="2160" y="1800"/>
                  <a:pt x="2160" y="1800"/>
                  <a:pt x="2160" y="1800"/>
                </a:cubicBezTo>
                <a:lnTo>
                  <a:pt x="2160" y="3600"/>
                </a:lnTo>
                <a:close/>
              </a:path>
            </a:pathLst>
          </a:custGeom>
          <a:solidFill>
            <a:srgbClr val="FFFFFF"/>
          </a:solidFill>
          <a:ln w="12700">
            <a:miter lim="400000"/>
          </a:ln>
        </p:spPr>
        <p:txBody>
          <a:bodyPr lIns="0" tIns="0" rIns="0" bIns="0"/>
          <a:lstStyle/>
          <a:p>
            <a:endParaRPr/>
          </a:p>
        </p:txBody>
      </p:sp>
      <p:grpSp>
        <p:nvGrpSpPr>
          <p:cNvPr id="671" name="Group 671"/>
          <p:cNvGrpSpPr/>
          <p:nvPr/>
        </p:nvGrpSpPr>
        <p:grpSpPr>
          <a:xfrm>
            <a:off x="11082056" y="2554763"/>
            <a:ext cx="267262" cy="317544"/>
            <a:chOff x="0" y="0"/>
            <a:chExt cx="267261" cy="317543"/>
          </a:xfrm>
        </p:grpSpPr>
        <p:sp>
          <p:nvSpPr>
            <p:cNvPr id="669" name="Shape 669"/>
            <p:cNvSpPr/>
            <p:nvPr/>
          </p:nvSpPr>
          <p:spPr>
            <a:xfrm>
              <a:off x="0" y="0"/>
              <a:ext cx="267262" cy="277699"/>
            </a:xfrm>
            <a:custGeom>
              <a:avLst/>
              <a:gdLst/>
              <a:ahLst/>
              <a:cxnLst>
                <a:cxn ang="0">
                  <a:pos x="wd2" y="hd2"/>
                </a:cxn>
                <a:cxn ang="5400000">
                  <a:pos x="wd2" y="hd2"/>
                </a:cxn>
                <a:cxn ang="10800000">
                  <a:pos x="wd2" y="hd2"/>
                </a:cxn>
                <a:cxn ang="16200000">
                  <a:pos x="wd2" y="hd2"/>
                </a:cxn>
              </a:cxnLst>
              <a:rect l="0" t="0" r="r" b="b"/>
              <a:pathLst>
                <a:path w="21465" h="21600" extrusionOk="0">
                  <a:moveTo>
                    <a:pt x="20452" y="21600"/>
                  </a:moveTo>
                  <a:cubicBezTo>
                    <a:pt x="1012" y="21600"/>
                    <a:pt x="1012" y="21600"/>
                    <a:pt x="1012" y="21600"/>
                  </a:cubicBezTo>
                  <a:cubicBezTo>
                    <a:pt x="742" y="21600"/>
                    <a:pt x="202" y="21343"/>
                    <a:pt x="202" y="21086"/>
                  </a:cubicBezTo>
                  <a:cubicBezTo>
                    <a:pt x="-68" y="20829"/>
                    <a:pt x="-68" y="20314"/>
                    <a:pt x="202" y="20057"/>
                  </a:cubicBezTo>
                  <a:cubicBezTo>
                    <a:pt x="1282" y="18000"/>
                    <a:pt x="2092" y="15686"/>
                    <a:pt x="2092" y="13371"/>
                  </a:cubicBezTo>
                  <a:cubicBezTo>
                    <a:pt x="2092" y="8229"/>
                    <a:pt x="2092" y="8229"/>
                    <a:pt x="2092" y="8229"/>
                  </a:cubicBezTo>
                  <a:cubicBezTo>
                    <a:pt x="2092" y="3600"/>
                    <a:pt x="5872" y="0"/>
                    <a:pt x="10732" y="0"/>
                  </a:cubicBezTo>
                  <a:cubicBezTo>
                    <a:pt x="15592" y="0"/>
                    <a:pt x="19372" y="3600"/>
                    <a:pt x="19372" y="8229"/>
                  </a:cubicBezTo>
                  <a:cubicBezTo>
                    <a:pt x="19372" y="13371"/>
                    <a:pt x="19372" y="13371"/>
                    <a:pt x="19372" y="13371"/>
                  </a:cubicBezTo>
                  <a:cubicBezTo>
                    <a:pt x="19372" y="15686"/>
                    <a:pt x="20182" y="18000"/>
                    <a:pt x="21262" y="20057"/>
                  </a:cubicBezTo>
                  <a:cubicBezTo>
                    <a:pt x="21532" y="20314"/>
                    <a:pt x="21532" y="20829"/>
                    <a:pt x="21262" y="21086"/>
                  </a:cubicBezTo>
                  <a:cubicBezTo>
                    <a:pt x="21262" y="21343"/>
                    <a:pt x="20722" y="21600"/>
                    <a:pt x="20452" y="21600"/>
                  </a:cubicBezTo>
                  <a:close/>
                  <a:moveTo>
                    <a:pt x="2902" y="19543"/>
                  </a:moveTo>
                  <a:cubicBezTo>
                    <a:pt x="18562" y="19543"/>
                    <a:pt x="18562" y="19543"/>
                    <a:pt x="18562" y="19543"/>
                  </a:cubicBezTo>
                  <a:cubicBezTo>
                    <a:pt x="17752" y="17486"/>
                    <a:pt x="17212" y="15429"/>
                    <a:pt x="17212" y="13371"/>
                  </a:cubicBezTo>
                  <a:cubicBezTo>
                    <a:pt x="17212" y="8229"/>
                    <a:pt x="17212" y="8229"/>
                    <a:pt x="17212" y="8229"/>
                  </a:cubicBezTo>
                  <a:cubicBezTo>
                    <a:pt x="17212" y="4886"/>
                    <a:pt x="14242" y="2057"/>
                    <a:pt x="10732" y="2057"/>
                  </a:cubicBezTo>
                  <a:cubicBezTo>
                    <a:pt x="7222" y="2057"/>
                    <a:pt x="4252" y="4886"/>
                    <a:pt x="4252" y="8229"/>
                  </a:cubicBezTo>
                  <a:cubicBezTo>
                    <a:pt x="4252" y="13371"/>
                    <a:pt x="4252" y="13371"/>
                    <a:pt x="4252" y="13371"/>
                  </a:cubicBezTo>
                  <a:cubicBezTo>
                    <a:pt x="4252" y="15429"/>
                    <a:pt x="3712" y="17486"/>
                    <a:pt x="2902" y="19543"/>
                  </a:cubicBezTo>
                  <a:close/>
                </a:path>
              </a:pathLst>
            </a:custGeom>
            <a:solidFill>
              <a:srgbClr val="FFFFFF"/>
            </a:solidFill>
            <a:ln w="12700" cap="flat">
              <a:noFill/>
              <a:miter lim="400000"/>
            </a:ln>
            <a:effectLst/>
          </p:spPr>
          <p:txBody>
            <a:bodyPr wrap="square" lIns="0" tIns="0" rIns="0" bIns="0" numCol="1" anchor="t">
              <a:noAutofit/>
            </a:bodyPr>
            <a:lstStyle/>
            <a:p>
              <a:endParaRPr/>
            </a:p>
          </p:txBody>
        </p:sp>
        <p:sp>
          <p:nvSpPr>
            <p:cNvPr id="670" name="Shape 670"/>
            <p:cNvSpPr/>
            <p:nvPr/>
          </p:nvSpPr>
          <p:spPr>
            <a:xfrm>
              <a:off x="96729" y="291458"/>
              <a:ext cx="73803" cy="26086"/>
            </a:xfrm>
            <a:custGeom>
              <a:avLst/>
              <a:gdLst/>
              <a:ahLst/>
              <a:cxnLst>
                <a:cxn ang="0">
                  <a:pos x="wd2" y="hd2"/>
                </a:cxn>
                <a:cxn ang="5400000">
                  <a:pos x="wd2" y="hd2"/>
                </a:cxn>
                <a:cxn ang="10800000">
                  <a:pos x="wd2" y="hd2"/>
                </a:cxn>
                <a:cxn ang="16200000">
                  <a:pos x="wd2" y="hd2"/>
                </a:cxn>
              </a:cxnLst>
              <a:rect l="0" t="0" r="r" b="b"/>
              <a:pathLst>
                <a:path w="21600" h="17324" extrusionOk="0">
                  <a:moveTo>
                    <a:pt x="0" y="0"/>
                  </a:moveTo>
                  <a:cubicBezTo>
                    <a:pt x="1964" y="12960"/>
                    <a:pt x="8836" y="21600"/>
                    <a:pt x="14727" y="15120"/>
                  </a:cubicBezTo>
                  <a:cubicBezTo>
                    <a:pt x="17673" y="12960"/>
                    <a:pt x="20618" y="6480"/>
                    <a:pt x="21600" y="0"/>
                  </a:cubicBezTo>
                  <a:lnTo>
                    <a:pt x="0" y="0"/>
                  </a:lnTo>
                  <a:close/>
                </a:path>
              </a:pathLst>
            </a:custGeom>
            <a:solidFill>
              <a:srgbClr val="FFFFFF"/>
            </a:solidFill>
            <a:ln w="12700" cap="flat">
              <a:noFill/>
              <a:miter lim="400000"/>
            </a:ln>
            <a:effectLst/>
          </p:spPr>
          <p:txBody>
            <a:bodyPr wrap="square" lIns="0" tIns="0" rIns="0" bIns="0" numCol="1" anchor="t">
              <a:noAutofit/>
            </a:bodyPr>
            <a:lstStyle/>
            <a:p>
              <a:endParaRPr/>
            </a:p>
          </p:txBody>
        </p:sp>
      </p:grpSp>
      <p:grpSp>
        <p:nvGrpSpPr>
          <p:cNvPr id="674" name="Group 674"/>
          <p:cNvGrpSpPr/>
          <p:nvPr/>
        </p:nvGrpSpPr>
        <p:grpSpPr>
          <a:xfrm>
            <a:off x="11081840" y="5970546"/>
            <a:ext cx="267693" cy="317728"/>
            <a:chOff x="0" y="0"/>
            <a:chExt cx="267691" cy="317726"/>
          </a:xfrm>
        </p:grpSpPr>
        <p:sp>
          <p:nvSpPr>
            <p:cNvPr id="672" name="Shape 672"/>
            <p:cNvSpPr/>
            <p:nvPr/>
          </p:nvSpPr>
          <p:spPr>
            <a:xfrm>
              <a:off x="-1" y="0"/>
              <a:ext cx="267693" cy="317727"/>
            </a:xfrm>
            <a:custGeom>
              <a:avLst/>
              <a:gdLst/>
              <a:ahLst/>
              <a:cxnLst>
                <a:cxn ang="0">
                  <a:pos x="wd2" y="hd2"/>
                </a:cxn>
                <a:cxn ang="5400000">
                  <a:pos x="wd2" y="hd2"/>
                </a:cxn>
                <a:cxn ang="10800000">
                  <a:pos x="wd2" y="hd2"/>
                </a:cxn>
                <a:cxn ang="16200000">
                  <a:pos x="wd2" y="hd2"/>
                </a:cxn>
              </a:cxnLst>
              <a:rect l="0" t="0" r="r" b="b"/>
              <a:pathLst>
                <a:path w="21600" h="21600" extrusionOk="0">
                  <a:moveTo>
                    <a:pt x="20520" y="21600"/>
                  </a:moveTo>
                  <a:cubicBezTo>
                    <a:pt x="1080" y="21600"/>
                    <a:pt x="1080" y="21600"/>
                    <a:pt x="1080" y="21600"/>
                  </a:cubicBezTo>
                  <a:cubicBezTo>
                    <a:pt x="540" y="21600"/>
                    <a:pt x="0" y="21150"/>
                    <a:pt x="0" y="20700"/>
                  </a:cubicBezTo>
                  <a:cubicBezTo>
                    <a:pt x="0" y="900"/>
                    <a:pt x="0" y="900"/>
                    <a:pt x="0" y="900"/>
                  </a:cubicBezTo>
                  <a:cubicBezTo>
                    <a:pt x="0" y="450"/>
                    <a:pt x="540" y="0"/>
                    <a:pt x="1080" y="0"/>
                  </a:cubicBezTo>
                  <a:cubicBezTo>
                    <a:pt x="20520" y="0"/>
                    <a:pt x="20520" y="0"/>
                    <a:pt x="20520" y="0"/>
                  </a:cubicBezTo>
                  <a:cubicBezTo>
                    <a:pt x="21060" y="0"/>
                    <a:pt x="21600" y="450"/>
                    <a:pt x="21600" y="900"/>
                  </a:cubicBezTo>
                  <a:cubicBezTo>
                    <a:pt x="21600" y="20700"/>
                    <a:pt x="21600" y="20700"/>
                    <a:pt x="21600" y="20700"/>
                  </a:cubicBezTo>
                  <a:cubicBezTo>
                    <a:pt x="21600" y="21150"/>
                    <a:pt x="21060" y="21600"/>
                    <a:pt x="20520" y="21600"/>
                  </a:cubicBezTo>
                  <a:close/>
                  <a:moveTo>
                    <a:pt x="2160" y="19800"/>
                  </a:moveTo>
                  <a:cubicBezTo>
                    <a:pt x="19440" y="19800"/>
                    <a:pt x="19440" y="19800"/>
                    <a:pt x="19440" y="19800"/>
                  </a:cubicBezTo>
                  <a:cubicBezTo>
                    <a:pt x="19440" y="1800"/>
                    <a:pt x="19440" y="1800"/>
                    <a:pt x="19440" y="1800"/>
                  </a:cubicBezTo>
                  <a:cubicBezTo>
                    <a:pt x="2160" y="1800"/>
                    <a:pt x="2160" y="1800"/>
                    <a:pt x="2160" y="1800"/>
                  </a:cubicBezTo>
                  <a:lnTo>
                    <a:pt x="2160" y="19800"/>
                  </a:lnTo>
                  <a:close/>
                  <a:moveTo>
                    <a:pt x="10800" y="18000"/>
                  </a:moveTo>
                  <a:cubicBezTo>
                    <a:pt x="10260" y="18000"/>
                    <a:pt x="9720" y="17550"/>
                    <a:pt x="9720" y="17100"/>
                  </a:cubicBezTo>
                  <a:cubicBezTo>
                    <a:pt x="9720" y="4500"/>
                    <a:pt x="9720" y="4500"/>
                    <a:pt x="9720" y="4500"/>
                  </a:cubicBezTo>
                  <a:cubicBezTo>
                    <a:pt x="9720" y="4050"/>
                    <a:pt x="10260" y="3600"/>
                    <a:pt x="10800" y="3600"/>
                  </a:cubicBezTo>
                  <a:cubicBezTo>
                    <a:pt x="11340" y="3600"/>
                    <a:pt x="11880" y="4050"/>
                    <a:pt x="11880" y="4500"/>
                  </a:cubicBezTo>
                  <a:cubicBezTo>
                    <a:pt x="11880" y="17100"/>
                    <a:pt x="11880" y="17100"/>
                    <a:pt x="11880" y="17100"/>
                  </a:cubicBezTo>
                  <a:cubicBezTo>
                    <a:pt x="11880" y="17550"/>
                    <a:pt x="11340" y="18000"/>
                    <a:pt x="10800" y="18000"/>
                  </a:cubicBezTo>
                  <a:close/>
                </a:path>
              </a:pathLst>
            </a:custGeom>
            <a:solidFill>
              <a:srgbClr val="FFFFFF"/>
            </a:solidFill>
            <a:ln w="12700" cap="flat">
              <a:noFill/>
              <a:miter lim="400000"/>
            </a:ln>
            <a:effectLst/>
          </p:spPr>
          <p:txBody>
            <a:bodyPr wrap="square" lIns="0" tIns="0" rIns="0" bIns="0" numCol="1" anchor="t">
              <a:noAutofit/>
            </a:bodyPr>
            <a:lstStyle/>
            <a:p>
              <a:endParaRPr/>
            </a:p>
          </p:txBody>
        </p:sp>
        <p:sp>
          <p:nvSpPr>
            <p:cNvPr id="673" name="Shape 673"/>
            <p:cNvSpPr/>
            <p:nvPr/>
          </p:nvSpPr>
          <p:spPr>
            <a:xfrm>
              <a:off x="69568" y="72140"/>
              <a:ext cx="122374" cy="166781"/>
            </a:xfrm>
            <a:custGeom>
              <a:avLst/>
              <a:gdLst/>
              <a:ahLst/>
              <a:cxnLst>
                <a:cxn ang="0">
                  <a:pos x="wd2" y="hd2"/>
                </a:cxn>
                <a:cxn ang="5400000">
                  <a:pos x="wd2" y="hd2"/>
                </a:cxn>
                <a:cxn ang="10800000">
                  <a:pos x="wd2" y="hd2"/>
                </a:cxn>
                <a:cxn ang="16200000">
                  <a:pos x="wd2" y="hd2"/>
                </a:cxn>
              </a:cxnLst>
              <a:rect l="0" t="0" r="r" b="b"/>
              <a:pathLst>
                <a:path w="20922" h="20869" extrusionOk="0">
                  <a:moveTo>
                    <a:pt x="10455" y="20869"/>
                  </a:moveTo>
                  <a:cubicBezTo>
                    <a:pt x="7613" y="20869"/>
                    <a:pt x="4202" y="20038"/>
                    <a:pt x="1360" y="19623"/>
                  </a:cubicBezTo>
                  <a:cubicBezTo>
                    <a:pt x="223" y="19207"/>
                    <a:pt x="-345" y="17961"/>
                    <a:pt x="223" y="17131"/>
                  </a:cubicBezTo>
                  <a:cubicBezTo>
                    <a:pt x="223" y="16300"/>
                    <a:pt x="1929" y="15884"/>
                    <a:pt x="3066" y="16300"/>
                  </a:cubicBezTo>
                  <a:cubicBezTo>
                    <a:pt x="7613" y="17546"/>
                    <a:pt x="12729" y="17961"/>
                    <a:pt x="15002" y="16715"/>
                  </a:cubicBezTo>
                  <a:cubicBezTo>
                    <a:pt x="15571" y="16300"/>
                    <a:pt x="16139" y="15884"/>
                    <a:pt x="16139" y="14638"/>
                  </a:cubicBezTo>
                  <a:cubicBezTo>
                    <a:pt x="16139" y="13392"/>
                    <a:pt x="14434" y="12977"/>
                    <a:pt x="10455" y="12146"/>
                  </a:cubicBezTo>
                  <a:cubicBezTo>
                    <a:pt x="6476" y="10900"/>
                    <a:pt x="1360" y="9654"/>
                    <a:pt x="1360" y="5500"/>
                  </a:cubicBezTo>
                  <a:cubicBezTo>
                    <a:pt x="1360" y="3423"/>
                    <a:pt x="2497" y="1761"/>
                    <a:pt x="4771" y="931"/>
                  </a:cubicBezTo>
                  <a:cubicBezTo>
                    <a:pt x="9318" y="-731"/>
                    <a:pt x="16708" y="100"/>
                    <a:pt x="20118" y="1346"/>
                  </a:cubicBezTo>
                  <a:cubicBezTo>
                    <a:pt x="20687" y="1761"/>
                    <a:pt x="21255" y="3007"/>
                    <a:pt x="20687" y="3838"/>
                  </a:cubicBezTo>
                  <a:cubicBezTo>
                    <a:pt x="20118" y="4669"/>
                    <a:pt x="18981" y="4669"/>
                    <a:pt x="17844" y="4254"/>
                  </a:cubicBezTo>
                  <a:cubicBezTo>
                    <a:pt x="15571" y="3423"/>
                    <a:pt x="9887" y="2592"/>
                    <a:pt x="7044" y="3838"/>
                  </a:cubicBezTo>
                  <a:cubicBezTo>
                    <a:pt x="5908" y="4254"/>
                    <a:pt x="5908" y="4669"/>
                    <a:pt x="5908" y="5500"/>
                  </a:cubicBezTo>
                  <a:cubicBezTo>
                    <a:pt x="5908" y="7161"/>
                    <a:pt x="7613" y="7992"/>
                    <a:pt x="12160" y="8823"/>
                  </a:cubicBezTo>
                  <a:cubicBezTo>
                    <a:pt x="15571" y="9654"/>
                    <a:pt x="20687" y="10900"/>
                    <a:pt x="20687" y="14638"/>
                  </a:cubicBezTo>
                  <a:cubicBezTo>
                    <a:pt x="20687" y="17131"/>
                    <a:pt x="18981" y="18792"/>
                    <a:pt x="17276" y="19623"/>
                  </a:cubicBezTo>
                  <a:cubicBezTo>
                    <a:pt x="15571" y="20454"/>
                    <a:pt x="13297" y="20869"/>
                    <a:pt x="10455" y="20869"/>
                  </a:cubicBezTo>
                  <a:close/>
                </a:path>
              </a:pathLst>
            </a:custGeom>
            <a:solidFill>
              <a:srgbClr val="FFFFFF"/>
            </a:solidFill>
            <a:ln w="12700" cap="flat">
              <a:noFill/>
              <a:miter lim="400000"/>
            </a:ln>
            <a:effectLst/>
          </p:spPr>
          <p:txBody>
            <a:bodyPr wrap="square" lIns="0" tIns="0" rIns="0" bIns="0" numCol="1" anchor="t">
              <a:noAutofit/>
            </a:bodyPr>
            <a:lstStyle/>
            <a:p>
              <a:endParaRPr/>
            </a:p>
          </p:txBody>
        </p:sp>
      </p:grpSp>
      <p:grpSp>
        <p:nvGrpSpPr>
          <p:cNvPr id="677" name="Group 677"/>
          <p:cNvGrpSpPr/>
          <p:nvPr/>
        </p:nvGrpSpPr>
        <p:grpSpPr>
          <a:xfrm>
            <a:off x="11055573" y="291564"/>
            <a:ext cx="320230" cy="292711"/>
            <a:chOff x="0" y="0"/>
            <a:chExt cx="320229" cy="292709"/>
          </a:xfrm>
        </p:grpSpPr>
        <p:sp>
          <p:nvSpPr>
            <p:cNvPr id="675" name="Shape 675"/>
            <p:cNvSpPr/>
            <p:nvPr/>
          </p:nvSpPr>
          <p:spPr>
            <a:xfrm>
              <a:off x="-1" y="-1"/>
              <a:ext cx="320231" cy="292710"/>
            </a:xfrm>
            <a:custGeom>
              <a:avLst/>
              <a:gdLst/>
              <a:ahLst/>
              <a:cxnLst>
                <a:cxn ang="0">
                  <a:pos x="wd2" y="hd2"/>
                </a:cxn>
                <a:cxn ang="5400000">
                  <a:pos x="wd2" y="hd2"/>
                </a:cxn>
                <a:cxn ang="10800000">
                  <a:pos x="wd2" y="hd2"/>
                </a:cxn>
                <a:cxn ang="16200000">
                  <a:pos x="wd2" y="hd2"/>
                </a:cxn>
              </a:cxnLst>
              <a:rect l="0" t="0" r="r" b="b"/>
              <a:pathLst>
                <a:path w="21600" h="21600" extrusionOk="0">
                  <a:moveTo>
                    <a:pt x="18900" y="21600"/>
                  </a:moveTo>
                  <a:cubicBezTo>
                    <a:pt x="14400" y="21600"/>
                    <a:pt x="14400" y="21600"/>
                    <a:pt x="14400" y="21600"/>
                  </a:cubicBezTo>
                  <a:cubicBezTo>
                    <a:pt x="13950" y="21600"/>
                    <a:pt x="13500" y="21109"/>
                    <a:pt x="13500" y="20618"/>
                  </a:cubicBezTo>
                  <a:cubicBezTo>
                    <a:pt x="13500" y="20127"/>
                    <a:pt x="13950" y="19636"/>
                    <a:pt x="14400" y="19636"/>
                  </a:cubicBezTo>
                  <a:cubicBezTo>
                    <a:pt x="18900" y="19636"/>
                    <a:pt x="18900" y="19636"/>
                    <a:pt x="18900" y="19636"/>
                  </a:cubicBezTo>
                  <a:cubicBezTo>
                    <a:pt x="19350" y="19636"/>
                    <a:pt x="19800" y="19145"/>
                    <a:pt x="19800" y="18655"/>
                  </a:cubicBezTo>
                  <a:cubicBezTo>
                    <a:pt x="19800" y="5891"/>
                    <a:pt x="19800" y="5891"/>
                    <a:pt x="19800" y="5891"/>
                  </a:cubicBezTo>
                  <a:cubicBezTo>
                    <a:pt x="10800" y="5891"/>
                    <a:pt x="10800" y="5891"/>
                    <a:pt x="10800" y="5891"/>
                  </a:cubicBezTo>
                  <a:cubicBezTo>
                    <a:pt x="10575" y="5891"/>
                    <a:pt x="10350" y="5645"/>
                    <a:pt x="10125" y="5400"/>
                  </a:cubicBezTo>
                  <a:cubicBezTo>
                    <a:pt x="7650" y="1964"/>
                    <a:pt x="7650" y="1964"/>
                    <a:pt x="7650" y="1964"/>
                  </a:cubicBezTo>
                  <a:cubicBezTo>
                    <a:pt x="1800" y="1964"/>
                    <a:pt x="1800" y="1964"/>
                    <a:pt x="1800" y="1964"/>
                  </a:cubicBezTo>
                  <a:cubicBezTo>
                    <a:pt x="1800" y="18655"/>
                    <a:pt x="1800" y="18655"/>
                    <a:pt x="1800" y="18655"/>
                  </a:cubicBezTo>
                  <a:cubicBezTo>
                    <a:pt x="1800" y="19145"/>
                    <a:pt x="2250" y="19636"/>
                    <a:pt x="2700" y="19636"/>
                  </a:cubicBezTo>
                  <a:cubicBezTo>
                    <a:pt x="3600" y="19636"/>
                    <a:pt x="3600" y="19636"/>
                    <a:pt x="3600" y="19636"/>
                  </a:cubicBezTo>
                  <a:cubicBezTo>
                    <a:pt x="4050" y="19636"/>
                    <a:pt x="4500" y="20127"/>
                    <a:pt x="4500" y="20618"/>
                  </a:cubicBezTo>
                  <a:cubicBezTo>
                    <a:pt x="4500" y="21109"/>
                    <a:pt x="4050" y="21600"/>
                    <a:pt x="3600" y="21600"/>
                  </a:cubicBezTo>
                  <a:cubicBezTo>
                    <a:pt x="2700" y="21600"/>
                    <a:pt x="2700" y="21600"/>
                    <a:pt x="2700" y="21600"/>
                  </a:cubicBezTo>
                  <a:cubicBezTo>
                    <a:pt x="1125" y="21600"/>
                    <a:pt x="0" y="20373"/>
                    <a:pt x="0" y="18655"/>
                  </a:cubicBezTo>
                  <a:cubicBezTo>
                    <a:pt x="0" y="982"/>
                    <a:pt x="0" y="982"/>
                    <a:pt x="0" y="982"/>
                  </a:cubicBezTo>
                  <a:cubicBezTo>
                    <a:pt x="0" y="491"/>
                    <a:pt x="450" y="0"/>
                    <a:pt x="900" y="0"/>
                  </a:cubicBezTo>
                  <a:cubicBezTo>
                    <a:pt x="8100" y="0"/>
                    <a:pt x="8100" y="0"/>
                    <a:pt x="8100" y="0"/>
                  </a:cubicBezTo>
                  <a:cubicBezTo>
                    <a:pt x="8325" y="0"/>
                    <a:pt x="8550" y="245"/>
                    <a:pt x="8775" y="491"/>
                  </a:cubicBezTo>
                  <a:cubicBezTo>
                    <a:pt x="11250" y="3927"/>
                    <a:pt x="11250" y="3927"/>
                    <a:pt x="11250" y="3927"/>
                  </a:cubicBezTo>
                  <a:cubicBezTo>
                    <a:pt x="20700" y="3927"/>
                    <a:pt x="20700" y="3927"/>
                    <a:pt x="20700" y="3927"/>
                  </a:cubicBezTo>
                  <a:cubicBezTo>
                    <a:pt x="21150" y="3927"/>
                    <a:pt x="21600" y="4418"/>
                    <a:pt x="21600" y="4909"/>
                  </a:cubicBezTo>
                  <a:cubicBezTo>
                    <a:pt x="21600" y="18655"/>
                    <a:pt x="21600" y="18655"/>
                    <a:pt x="21600" y="18655"/>
                  </a:cubicBezTo>
                  <a:cubicBezTo>
                    <a:pt x="21600" y="20373"/>
                    <a:pt x="20475" y="21600"/>
                    <a:pt x="18900" y="21600"/>
                  </a:cubicBezTo>
                  <a:close/>
                </a:path>
              </a:pathLst>
            </a:custGeom>
            <a:solidFill>
              <a:srgbClr val="FFFFFF"/>
            </a:solidFill>
            <a:ln w="12700" cap="flat">
              <a:noFill/>
              <a:miter lim="400000"/>
            </a:ln>
            <a:effectLst/>
          </p:spPr>
          <p:txBody>
            <a:bodyPr wrap="square" lIns="0" tIns="0" rIns="0" bIns="0" numCol="1" anchor="t">
              <a:noAutofit/>
            </a:bodyPr>
            <a:lstStyle/>
            <a:p>
              <a:endParaRPr/>
            </a:p>
          </p:txBody>
        </p:sp>
        <p:sp>
          <p:nvSpPr>
            <p:cNvPr id="676" name="Shape 676"/>
            <p:cNvSpPr/>
            <p:nvPr/>
          </p:nvSpPr>
          <p:spPr>
            <a:xfrm>
              <a:off x="93817" y="107157"/>
              <a:ext cx="185552" cy="185552"/>
            </a:xfrm>
            <a:custGeom>
              <a:avLst/>
              <a:gdLst/>
              <a:ahLst/>
              <a:cxnLst>
                <a:cxn ang="0">
                  <a:pos x="wd2" y="hd2"/>
                </a:cxn>
                <a:cxn ang="5400000">
                  <a:pos x="wd2" y="hd2"/>
                </a:cxn>
                <a:cxn ang="10800000">
                  <a:pos x="wd2" y="hd2"/>
                </a:cxn>
                <a:cxn ang="16200000">
                  <a:pos x="wd2" y="hd2"/>
                </a:cxn>
              </a:cxnLst>
              <a:rect l="0" t="0" r="r" b="b"/>
              <a:pathLst>
                <a:path w="21504" h="21504" extrusionOk="0">
                  <a:moveTo>
                    <a:pt x="1543" y="21504"/>
                  </a:moveTo>
                  <a:cubicBezTo>
                    <a:pt x="1157" y="21504"/>
                    <a:pt x="771" y="21504"/>
                    <a:pt x="386" y="21118"/>
                  </a:cubicBezTo>
                  <a:cubicBezTo>
                    <a:pt x="0" y="20733"/>
                    <a:pt x="0" y="19961"/>
                    <a:pt x="0" y="19575"/>
                  </a:cubicBezTo>
                  <a:cubicBezTo>
                    <a:pt x="1543" y="13404"/>
                    <a:pt x="1543" y="13404"/>
                    <a:pt x="1543" y="13404"/>
                  </a:cubicBezTo>
                  <a:cubicBezTo>
                    <a:pt x="1543" y="13018"/>
                    <a:pt x="1929" y="13018"/>
                    <a:pt x="1929" y="12633"/>
                  </a:cubicBezTo>
                  <a:cubicBezTo>
                    <a:pt x="14271" y="290"/>
                    <a:pt x="14271" y="290"/>
                    <a:pt x="14271" y="290"/>
                  </a:cubicBezTo>
                  <a:cubicBezTo>
                    <a:pt x="15043" y="-96"/>
                    <a:pt x="15814" y="-96"/>
                    <a:pt x="16586" y="290"/>
                  </a:cubicBezTo>
                  <a:cubicBezTo>
                    <a:pt x="21214" y="4918"/>
                    <a:pt x="21214" y="4918"/>
                    <a:pt x="21214" y="4918"/>
                  </a:cubicBezTo>
                  <a:cubicBezTo>
                    <a:pt x="21600" y="5690"/>
                    <a:pt x="21600" y="6461"/>
                    <a:pt x="21214" y="7233"/>
                  </a:cubicBezTo>
                  <a:cubicBezTo>
                    <a:pt x="8871" y="19575"/>
                    <a:pt x="8871" y="19575"/>
                    <a:pt x="8871" y="19575"/>
                  </a:cubicBezTo>
                  <a:cubicBezTo>
                    <a:pt x="8486" y="19575"/>
                    <a:pt x="8486" y="19961"/>
                    <a:pt x="8100" y="19961"/>
                  </a:cubicBezTo>
                  <a:cubicBezTo>
                    <a:pt x="1929" y="21504"/>
                    <a:pt x="1929" y="21504"/>
                    <a:pt x="1929" y="21504"/>
                  </a:cubicBezTo>
                  <a:cubicBezTo>
                    <a:pt x="1929" y="21504"/>
                    <a:pt x="1543" y="21504"/>
                    <a:pt x="1543" y="21504"/>
                  </a:cubicBezTo>
                  <a:close/>
                  <a:moveTo>
                    <a:pt x="7714" y="18418"/>
                  </a:moveTo>
                  <a:cubicBezTo>
                    <a:pt x="7714" y="18418"/>
                    <a:pt x="7714" y="18418"/>
                    <a:pt x="7714" y="18418"/>
                  </a:cubicBezTo>
                  <a:close/>
                  <a:moveTo>
                    <a:pt x="4629" y="14561"/>
                  </a:moveTo>
                  <a:cubicBezTo>
                    <a:pt x="3471" y="18033"/>
                    <a:pt x="3471" y="18033"/>
                    <a:pt x="3471" y="18033"/>
                  </a:cubicBezTo>
                  <a:cubicBezTo>
                    <a:pt x="6943" y="16875"/>
                    <a:pt x="6943" y="16875"/>
                    <a:pt x="6943" y="16875"/>
                  </a:cubicBezTo>
                  <a:cubicBezTo>
                    <a:pt x="17743" y="6075"/>
                    <a:pt x="17743" y="6075"/>
                    <a:pt x="17743" y="6075"/>
                  </a:cubicBezTo>
                  <a:cubicBezTo>
                    <a:pt x="15429" y="3761"/>
                    <a:pt x="15429" y="3761"/>
                    <a:pt x="15429" y="3761"/>
                  </a:cubicBezTo>
                  <a:lnTo>
                    <a:pt x="4629" y="14561"/>
                  </a:lnTo>
                  <a:close/>
                </a:path>
              </a:pathLst>
            </a:custGeom>
            <a:solidFill>
              <a:srgbClr val="FFFFFF"/>
            </a:solidFill>
            <a:ln w="12700" cap="flat">
              <a:noFill/>
              <a:miter lim="400000"/>
            </a:ln>
            <a:effectLst/>
          </p:spPr>
          <p:txBody>
            <a:bodyPr wrap="square" lIns="0" tIns="0" rIns="0" bIns="0" numCol="1" anchor="t">
              <a:noAutofit/>
            </a:bodyPr>
            <a:lstStyle/>
            <a:p>
              <a:endParaRPr/>
            </a:p>
          </p:txBody>
        </p:sp>
      </p:grpSp>
      <p:sp>
        <p:nvSpPr>
          <p:cNvPr id="678" name="Shape 678"/>
          <p:cNvSpPr/>
          <p:nvPr/>
        </p:nvSpPr>
        <p:spPr>
          <a:xfrm>
            <a:off x="11063703" y="3703820"/>
            <a:ext cx="303968" cy="290350"/>
          </a:xfrm>
          <a:custGeom>
            <a:avLst/>
            <a:gdLst/>
            <a:ahLst/>
            <a:cxnLst>
              <a:cxn ang="0">
                <a:pos x="wd2" y="hd2"/>
              </a:cxn>
              <a:cxn ang="5400000">
                <a:pos x="wd2" y="hd2"/>
              </a:cxn>
              <a:cxn ang="10800000">
                <a:pos x="wd2" y="hd2"/>
              </a:cxn>
              <a:cxn ang="16200000">
                <a:pos x="wd2" y="hd2"/>
              </a:cxn>
            </a:cxnLst>
            <a:rect l="0" t="0" r="r" b="b"/>
            <a:pathLst>
              <a:path w="21600" h="21426" extrusionOk="0">
                <a:moveTo>
                  <a:pt x="20700" y="21426"/>
                </a:moveTo>
                <a:cubicBezTo>
                  <a:pt x="900" y="21426"/>
                  <a:pt x="900" y="21426"/>
                  <a:pt x="900" y="21426"/>
                </a:cubicBezTo>
                <a:cubicBezTo>
                  <a:pt x="450" y="21426"/>
                  <a:pt x="0" y="20961"/>
                  <a:pt x="0" y="20497"/>
                </a:cubicBezTo>
                <a:cubicBezTo>
                  <a:pt x="0" y="18174"/>
                  <a:pt x="0" y="18174"/>
                  <a:pt x="0" y="18174"/>
                </a:cubicBezTo>
                <a:cubicBezTo>
                  <a:pt x="0" y="16781"/>
                  <a:pt x="900" y="15852"/>
                  <a:pt x="2025" y="15387"/>
                </a:cubicBezTo>
                <a:cubicBezTo>
                  <a:pt x="3375" y="15155"/>
                  <a:pt x="6300" y="14226"/>
                  <a:pt x="6975" y="14226"/>
                </a:cubicBezTo>
                <a:cubicBezTo>
                  <a:pt x="7650" y="13994"/>
                  <a:pt x="7875" y="13529"/>
                  <a:pt x="7875" y="13529"/>
                </a:cubicBezTo>
                <a:cubicBezTo>
                  <a:pt x="8100" y="12600"/>
                  <a:pt x="7875" y="12136"/>
                  <a:pt x="7650" y="11903"/>
                </a:cubicBezTo>
                <a:cubicBezTo>
                  <a:pt x="6300" y="10974"/>
                  <a:pt x="5400" y="9349"/>
                  <a:pt x="5400" y="7491"/>
                </a:cubicBezTo>
                <a:cubicBezTo>
                  <a:pt x="5400" y="5632"/>
                  <a:pt x="5400" y="5632"/>
                  <a:pt x="5400" y="5632"/>
                </a:cubicBezTo>
                <a:cubicBezTo>
                  <a:pt x="5400" y="4007"/>
                  <a:pt x="6075" y="2613"/>
                  <a:pt x="7200" y="1452"/>
                </a:cubicBezTo>
                <a:cubicBezTo>
                  <a:pt x="8325" y="291"/>
                  <a:pt x="9900" y="-174"/>
                  <a:pt x="11250" y="58"/>
                </a:cubicBezTo>
                <a:cubicBezTo>
                  <a:pt x="14175" y="291"/>
                  <a:pt x="16200" y="2845"/>
                  <a:pt x="16200" y="5865"/>
                </a:cubicBezTo>
                <a:cubicBezTo>
                  <a:pt x="16200" y="7491"/>
                  <a:pt x="16200" y="7491"/>
                  <a:pt x="16200" y="7491"/>
                </a:cubicBezTo>
                <a:cubicBezTo>
                  <a:pt x="16200" y="9349"/>
                  <a:pt x="15525" y="10974"/>
                  <a:pt x="13950" y="11903"/>
                </a:cubicBezTo>
                <a:cubicBezTo>
                  <a:pt x="13725" y="12136"/>
                  <a:pt x="13500" y="12368"/>
                  <a:pt x="13725" y="13297"/>
                </a:cubicBezTo>
                <a:cubicBezTo>
                  <a:pt x="13950" y="13761"/>
                  <a:pt x="14175" y="13994"/>
                  <a:pt x="14625" y="14226"/>
                </a:cubicBezTo>
                <a:cubicBezTo>
                  <a:pt x="14625" y="14226"/>
                  <a:pt x="14850" y="14226"/>
                  <a:pt x="14850" y="14226"/>
                </a:cubicBezTo>
                <a:cubicBezTo>
                  <a:pt x="15075" y="14226"/>
                  <a:pt x="15975" y="14458"/>
                  <a:pt x="16650" y="14691"/>
                </a:cubicBezTo>
                <a:cubicBezTo>
                  <a:pt x="17775" y="14923"/>
                  <a:pt x="18675" y="15387"/>
                  <a:pt x="19575" y="15620"/>
                </a:cubicBezTo>
                <a:cubicBezTo>
                  <a:pt x="20700" y="15852"/>
                  <a:pt x="21600" y="17013"/>
                  <a:pt x="21600" y="18174"/>
                </a:cubicBezTo>
                <a:cubicBezTo>
                  <a:pt x="21600" y="20497"/>
                  <a:pt x="21600" y="20497"/>
                  <a:pt x="21600" y="20497"/>
                </a:cubicBezTo>
                <a:cubicBezTo>
                  <a:pt x="21600" y="20961"/>
                  <a:pt x="21150" y="21426"/>
                  <a:pt x="20700" y="21426"/>
                </a:cubicBezTo>
                <a:close/>
                <a:moveTo>
                  <a:pt x="1800" y="19568"/>
                </a:moveTo>
                <a:cubicBezTo>
                  <a:pt x="19800" y="19568"/>
                  <a:pt x="19800" y="19568"/>
                  <a:pt x="19800" y="19568"/>
                </a:cubicBezTo>
                <a:cubicBezTo>
                  <a:pt x="19800" y="18174"/>
                  <a:pt x="19800" y="18174"/>
                  <a:pt x="19800" y="18174"/>
                </a:cubicBezTo>
                <a:cubicBezTo>
                  <a:pt x="19800" y="17710"/>
                  <a:pt x="19575" y="17478"/>
                  <a:pt x="19125" y="17245"/>
                </a:cubicBezTo>
                <a:cubicBezTo>
                  <a:pt x="19125" y="17245"/>
                  <a:pt x="19125" y="17245"/>
                  <a:pt x="19125" y="17245"/>
                </a:cubicBezTo>
                <a:cubicBezTo>
                  <a:pt x="18225" y="17013"/>
                  <a:pt x="17325" y="16781"/>
                  <a:pt x="16200" y="16549"/>
                </a:cubicBezTo>
                <a:cubicBezTo>
                  <a:pt x="15300" y="16316"/>
                  <a:pt x="14625" y="16084"/>
                  <a:pt x="14175" y="16084"/>
                </a:cubicBezTo>
                <a:cubicBezTo>
                  <a:pt x="13050" y="15620"/>
                  <a:pt x="12375" y="14923"/>
                  <a:pt x="11925" y="13994"/>
                </a:cubicBezTo>
                <a:cubicBezTo>
                  <a:pt x="11700" y="12368"/>
                  <a:pt x="11925" y="11207"/>
                  <a:pt x="13050" y="10510"/>
                </a:cubicBezTo>
                <a:cubicBezTo>
                  <a:pt x="13950" y="9813"/>
                  <a:pt x="14400" y="8652"/>
                  <a:pt x="14400" y="7491"/>
                </a:cubicBezTo>
                <a:cubicBezTo>
                  <a:pt x="14400" y="5865"/>
                  <a:pt x="14400" y="5865"/>
                  <a:pt x="14400" y="5865"/>
                </a:cubicBezTo>
                <a:cubicBezTo>
                  <a:pt x="14400" y="3774"/>
                  <a:pt x="13050" y="2149"/>
                  <a:pt x="11250" y="1916"/>
                </a:cubicBezTo>
                <a:cubicBezTo>
                  <a:pt x="10125" y="1916"/>
                  <a:pt x="9225" y="2149"/>
                  <a:pt x="8325" y="2845"/>
                </a:cubicBezTo>
                <a:cubicBezTo>
                  <a:pt x="7650" y="3542"/>
                  <a:pt x="7200" y="4471"/>
                  <a:pt x="7200" y="5632"/>
                </a:cubicBezTo>
                <a:cubicBezTo>
                  <a:pt x="7200" y="7491"/>
                  <a:pt x="7200" y="7491"/>
                  <a:pt x="7200" y="7491"/>
                </a:cubicBezTo>
                <a:cubicBezTo>
                  <a:pt x="7200" y="8652"/>
                  <a:pt x="7650" y="9813"/>
                  <a:pt x="8550" y="10510"/>
                </a:cubicBezTo>
                <a:cubicBezTo>
                  <a:pt x="9450" y="10974"/>
                  <a:pt x="10125" y="12136"/>
                  <a:pt x="9675" y="13994"/>
                </a:cubicBezTo>
                <a:cubicBezTo>
                  <a:pt x="9450" y="14923"/>
                  <a:pt x="8550" y="15620"/>
                  <a:pt x="7200" y="16084"/>
                </a:cubicBezTo>
                <a:cubicBezTo>
                  <a:pt x="6750" y="16084"/>
                  <a:pt x="4275" y="16781"/>
                  <a:pt x="2475" y="17245"/>
                </a:cubicBezTo>
                <a:cubicBezTo>
                  <a:pt x="2025" y="17478"/>
                  <a:pt x="1800" y="17710"/>
                  <a:pt x="1800" y="18174"/>
                </a:cubicBezTo>
                <a:lnTo>
                  <a:pt x="1800" y="19568"/>
                </a:lnTo>
                <a:close/>
              </a:path>
            </a:pathLst>
          </a:custGeom>
          <a:solidFill>
            <a:srgbClr val="FFFFFF"/>
          </a:solidFill>
          <a:ln w="12700">
            <a:miter lim="400000"/>
          </a:ln>
        </p:spPr>
        <p:txBody>
          <a:bodyPr lIns="0" tIns="0" rIns="0" bIns="0"/>
          <a:lstStyle/>
          <a:p>
            <a:endParaRPr/>
          </a:p>
        </p:txBody>
      </p:sp>
      <p:sp>
        <p:nvSpPr>
          <p:cNvPr id="679" name="Shape 679"/>
          <p:cNvSpPr/>
          <p:nvPr/>
        </p:nvSpPr>
        <p:spPr>
          <a:xfrm>
            <a:off x="482600" y="3069021"/>
            <a:ext cx="4533900" cy="9779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a:defRPr sz="1000">
                <a:solidFill>
                  <a:srgbClr val="FF2600"/>
                </a:solidFill>
              </a:defRPr>
            </a:pPr>
            <a:r>
              <a:t>These slides provide options to create a clickable navigation elements to jump to different sections of your presentation. To create clickable elements (and to remove this note) choose “Slide Master” from the “View” tab.</a:t>
            </a:r>
          </a:p>
          <a:p>
            <a:pPr>
              <a:defRPr sz="1000">
                <a:solidFill>
                  <a:srgbClr val="FF2600"/>
                </a:solidFill>
              </a:defRPr>
            </a:pPr>
            <a:endParaRPr/>
          </a:p>
          <a:p>
            <a:pPr>
              <a:defRPr sz="1000">
                <a:solidFill>
                  <a:srgbClr val="FF2600"/>
                </a:solidFill>
              </a:defRPr>
            </a:pPr>
            <a:r>
              <a:t>To create hyperlinks on the navigation elements, select the element and choose “Hyperlink” from the “Insert” tab. Then choose “Place in This Document” from the dialog box and select a slide.</a:t>
            </a:r>
          </a:p>
        </p:txBody>
      </p:sp>
      <p:sp>
        <p:nvSpPr>
          <p:cNvPr id="680" name="Shape 680"/>
          <p:cNvSpPr>
            <a:spLocks noGrp="1"/>
          </p:cNvSpPr>
          <p:nvPr>
            <p:ph type="body" sz="quarter" idx="13"/>
          </p:nvPr>
        </p:nvSpPr>
        <p:spPr>
          <a:xfrm>
            <a:off x="485775" y="806807"/>
            <a:ext cx="9509126" cy="318477"/>
          </a:xfrm>
          <a:prstGeom prst="rect">
            <a:avLst/>
          </a:prstGeom>
        </p:spPr>
        <p:txBody>
          <a:bodyPr/>
          <a:lstStyle>
            <a:lvl1pPr>
              <a:defRPr sz="2000" b="1">
                <a:solidFill>
                  <a:srgbClr val="002C77"/>
                </a:solidFill>
              </a:defRPr>
            </a:lvl1pPr>
          </a:lstStyle>
          <a:p>
            <a:r>
              <a:t> </a:t>
            </a:r>
          </a:p>
        </p:txBody>
      </p:sp>
      <p:sp>
        <p:nvSpPr>
          <p:cNvPr id="681" name="Shape 681"/>
          <p:cNvSpPr>
            <a:spLocks noGrp="1"/>
          </p:cNvSpPr>
          <p:nvPr>
            <p:ph type="title"/>
          </p:nvPr>
        </p:nvSpPr>
        <p:spPr>
          <a:xfrm>
            <a:off x="485776" y="361950"/>
            <a:ext cx="9509125" cy="504825"/>
          </a:xfrm>
          <a:prstGeom prst="rect">
            <a:avLst/>
          </a:prstGeom>
        </p:spPr>
        <p:txBody>
          <a:bodyPr>
            <a:normAutofit/>
          </a:bodyPr>
          <a:lstStyle/>
          <a:p>
            <a:r>
              <a:t>Texto del título</a:t>
            </a:r>
          </a:p>
        </p:txBody>
      </p:sp>
      <p:sp>
        <p:nvSpPr>
          <p:cNvPr id="682" name="Shape 682"/>
          <p:cNvSpPr>
            <a:spLocks noGrp="1"/>
          </p:cNvSpPr>
          <p:nvPr>
            <p:ph type="body" sz="quarter" idx="1"/>
          </p:nvPr>
        </p:nvSpPr>
        <p:spPr>
          <a:xfrm>
            <a:off x="5429250" y="6388100"/>
            <a:ext cx="4603750" cy="247650"/>
          </a:xfrm>
          <a:prstGeom prst="rect">
            <a:avLst/>
          </a:prstGeom>
        </p:spPr>
        <p:txBody>
          <a:bodyPr anchor="b">
            <a:normAutofit/>
          </a:bodyPr>
          <a:lstStyle>
            <a:lvl1pPr algn="r">
              <a:spcBef>
                <a:spcPts val="0"/>
              </a:spcBef>
              <a:defRPr sz="800"/>
            </a:lvl1pPr>
            <a:lvl2pPr marL="0" indent="457200" algn="r">
              <a:spcBef>
                <a:spcPts val="0"/>
              </a:spcBef>
              <a:buSzTx/>
              <a:buNone/>
              <a:defRPr sz="800"/>
            </a:lvl2pPr>
            <a:lvl3pPr marL="0" indent="914400" algn="r">
              <a:spcBef>
                <a:spcPts val="0"/>
              </a:spcBef>
              <a:buSzTx/>
              <a:buNone/>
              <a:defRPr sz="800"/>
            </a:lvl3pPr>
            <a:lvl4pPr marL="0" indent="1371600" algn="r">
              <a:spcBef>
                <a:spcPts val="0"/>
              </a:spcBef>
              <a:buSzTx/>
              <a:buNone/>
              <a:defRPr sz="800"/>
            </a:lvl4pPr>
            <a:lvl5pPr marL="0" indent="1828800" algn="r">
              <a:spcBef>
                <a:spcPts val="0"/>
              </a:spcBef>
              <a:buSzTx/>
              <a:buNone/>
              <a:defRPr sz="800"/>
            </a:lvl5pPr>
          </a:lstStyle>
          <a:p>
            <a:r>
              <a:t>Nivel de texto 1</a:t>
            </a:r>
          </a:p>
          <a:p>
            <a:pPr lvl="1"/>
            <a:r>
              <a:t>Nivel de texto 2</a:t>
            </a:r>
          </a:p>
          <a:p>
            <a:pPr lvl="2"/>
            <a:r>
              <a:t>Nivel de texto 3</a:t>
            </a:r>
          </a:p>
          <a:p>
            <a:pPr lvl="3"/>
            <a:r>
              <a:t>Nivel de texto 4</a:t>
            </a:r>
          </a:p>
          <a:p>
            <a:pPr lvl="4"/>
            <a:r>
              <a:t>Nivel de texto 5</a:t>
            </a:r>
          </a:p>
        </p:txBody>
      </p:sp>
      <p:sp>
        <p:nvSpPr>
          <p:cNvPr id="683" name="Shape 683"/>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extLst>
      <p:ext uri="{BB962C8B-B14F-4D97-AF65-F5344CB8AC3E}">
        <p14:creationId xmlns:p14="http://schemas.microsoft.com/office/powerpoint/2010/main" val="2061566532"/>
      </p:ext>
    </p:extLst>
  </p:cSld>
  <p:clrMapOvr>
    <a:masterClrMapping/>
  </p:clrMapOvr>
  <p:transition spd="med"/>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tx">
  <p:cSld name="Interactive right condensed">
    <p:bg>
      <p:bgPr>
        <a:solidFill>
          <a:srgbClr val="FFFFFF"/>
        </a:solidFill>
        <a:effectLst/>
      </p:bgPr>
    </p:bg>
    <p:spTree>
      <p:nvGrpSpPr>
        <p:cNvPr id="1" name=""/>
        <p:cNvGrpSpPr/>
        <p:nvPr/>
      </p:nvGrpSpPr>
      <p:grpSpPr>
        <a:xfrm>
          <a:off x="0" y="0"/>
          <a:ext cx="0" cy="0"/>
          <a:chOff x="0" y="0"/>
          <a:chExt cx="0" cy="0"/>
        </a:xfrm>
      </p:grpSpPr>
      <p:pic>
        <p:nvPicPr>
          <p:cNvPr id="690"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691" name="Shape 691"/>
          <p:cNvSpPr/>
          <p:nvPr/>
        </p:nvSpPr>
        <p:spPr>
          <a:xfrm>
            <a:off x="10033000" y="0"/>
            <a:ext cx="2159000" cy="686858"/>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sp>
        <p:nvSpPr>
          <p:cNvPr id="692" name="Shape 692"/>
          <p:cNvSpPr/>
          <p:nvPr/>
        </p:nvSpPr>
        <p:spPr>
          <a:xfrm>
            <a:off x="10033000" y="685682"/>
            <a:ext cx="2159000" cy="686858"/>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sp>
        <p:nvSpPr>
          <p:cNvPr id="693" name="Shape 693"/>
          <p:cNvSpPr/>
          <p:nvPr/>
        </p:nvSpPr>
        <p:spPr>
          <a:xfrm>
            <a:off x="10033000" y="1371363"/>
            <a:ext cx="2159000" cy="686859"/>
          </a:xfrm>
          <a:prstGeom prst="rect">
            <a:avLst/>
          </a:prstGeom>
          <a:solidFill>
            <a:srgbClr val="00968F"/>
          </a:solidFill>
          <a:ln w="12700">
            <a:miter lim="400000"/>
          </a:ln>
        </p:spPr>
        <p:txBody>
          <a:bodyPr lIns="0" tIns="0" rIns="0" bIns="0" anchor="ctr"/>
          <a:lstStyle/>
          <a:p>
            <a:pPr algn="ctr">
              <a:defRPr>
                <a:solidFill>
                  <a:srgbClr val="FFFFFF"/>
                </a:solidFill>
              </a:defRPr>
            </a:pPr>
            <a:endParaRPr/>
          </a:p>
        </p:txBody>
      </p:sp>
      <p:sp>
        <p:nvSpPr>
          <p:cNvPr id="694" name="Shape 694"/>
          <p:cNvSpPr/>
          <p:nvPr/>
        </p:nvSpPr>
        <p:spPr>
          <a:xfrm>
            <a:off x="10033000" y="2057045"/>
            <a:ext cx="2159000" cy="686859"/>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sp>
        <p:nvSpPr>
          <p:cNvPr id="695" name="Shape 695"/>
          <p:cNvSpPr/>
          <p:nvPr/>
        </p:nvSpPr>
        <p:spPr>
          <a:xfrm>
            <a:off x="10033000" y="2742727"/>
            <a:ext cx="2159000" cy="686859"/>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sp>
        <p:nvSpPr>
          <p:cNvPr id="696" name="Shape 696"/>
          <p:cNvSpPr/>
          <p:nvPr/>
        </p:nvSpPr>
        <p:spPr>
          <a:xfrm>
            <a:off x="10033000" y="3428410"/>
            <a:ext cx="2159000" cy="686859"/>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sp>
        <p:nvSpPr>
          <p:cNvPr id="697" name="Shape 697"/>
          <p:cNvSpPr/>
          <p:nvPr/>
        </p:nvSpPr>
        <p:spPr>
          <a:xfrm>
            <a:off x="10033000" y="4114091"/>
            <a:ext cx="2159000" cy="686859"/>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sp>
        <p:nvSpPr>
          <p:cNvPr id="698" name="Shape 698"/>
          <p:cNvSpPr/>
          <p:nvPr/>
        </p:nvSpPr>
        <p:spPr>
          <a:xfrm>
            <a:off x="10033000" y="4799774"/>
            <a:ext cx="2159000" cy="686859"/>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sp>
        <p:nvSpPr>
          <p:cNvPr id="699" name="Shape 699"/>
          <p:cNvSpPr/>
          <p:nvPr/>
        </p:nvSpPr>
        <p:spPr>
          <a:xfrm>
            <a:off x="10033000" y="5485455"/>
            <a:ext cx="2159000" cy="686859"/>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sp>
        <p:nvSpPr>
          <p:cNvPr id="700" name="Shape 700"/>
          <p:cNvSpPr/>
          <p:nvPr/>
        </p:nvSpPr>
        <p:spPr>
          <a:xfrm>
            <a:off x="10033000" y="6171141"/>
            <a:ext cx="2159000" cy="686859"/>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grpSp>
        <p:nvGrpSpPr>
          <p:cNvPr id="703" name="Group 703"/>
          <p:cNvGrpSpPr/>
          <p:nvPr/>
        </p:nvGrpSpPr>
        <p:grpSpPr>
          <a:xfrm>
            <a:off x="10461708" y="867511"/>
            <a:ext cx="1214495" cy="268103"/>
            <a:chOff x="0" y="0"/>
            <a:chExt cx="1214493" cy="268101"/>
          </a:xfrm>
        </p:grpSpPr>
        <p:sp>
          <p:nvSpPr>
            <p:cNvPr id="701" name="Shape 701"/>
            <p:cNvSpPr/>
            <p:nvPr/>
          </p:nvSpPr>
          <p:spPr>
            <a:xfrm>
              <a:off x="460468" y="34937"/>
              <a:ext cx="754026" cy="1973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defRPr sz="1400">
                  <a:solidFill>
                    <a:srgbClr val="009DE0"/>
                  </a:solidFill>
                </a:defRPr>
              </a:lvl1pPr>
            </a:lstStyle>
            <a:p>
              <a:r>
                <a:t>Section 2</a:t>
              </a:r>
            </a:p>
          </p:txBody>
        </p:sp>
        <p:sp>
          <p:nvSpPr>
            <p:cNvPr id="702" name="Shape 702"/>
            <p:cNvSpPr/>
            <p:nvPr/>
          </p:nvSpPr>
          <p:spPr>
            <a:xfrm>
              <a:off x="-1" y="0"/>
              <a:ext cx="283731" cy="268102"/>
            </a:xfrm>
            <a:custGeom>
              <a:avLst/>
              <a:gdLst/>
              <a:ahLst/>
              <a:cxnLst>
                <a:cxn ang="0">
                  <a:pos x="wd2" y="hd2"/>
                </a:cxn>
                <a:cxn ang="5400000">
                  <a:pos x="wd2" y="hd2"/>
                </a:cxn>
                <a:cxn ang="10800000">
                  <a:pos x="wd2" y="hd2"/>
                </a:cxn>
                <a:cxn ang="16200000">
                  <a:pos x="wd2" y="hd2"/>
                </a:cxn>
              </a:cxnLst>
              <a:rect l="0" t="0" r="r" b="b"/>
              <a:pathLst>
                <a:path w="20937" h="21532" extrusionOk="0">
                  <a:moveTo>
                    <a:pt x="18594" y="21532"/>
                  </a:moveTo>
                  <a:cubicBezTo>
                    <a:pt x="18348" y="21532"/>
                    <a:pt x="18103" y="21532"/>
                    <a:pt x="17857" y="21262"/>
                  </a:cubicBezTo>
                  <a:cubicBezTo>
                    <a:pt x="14912" y="18022"/>
                    <a:pt x="14912" y="18022"/>
                    <a:pt x="14912" y="18022"/>
                  </a:cubicBezTo>
                  <a:cubicBezTo>
                    <a:pt x="14666" y="17482"/>
                    <a:pt x="14666" y="16942"/>
                    <a:pt x="14912" y="16402"/>
                  </a:cubicBezTo>
                  <a:cubicBezTo>
                    <a:pt x="15403" y="16132"/>
                    <a:pt x="15894" y="16132"/>
                    <a:pt x="16384" y="16402"/>
                  </a:cubicBezTo>
                  <a:cubicBezTo>
                    <a:pt x="19330" y="19642"/>
                    <a:pt x="19330" y="19642"/>
                    <a:pt x="19330" y="19642"/>
                  </a:cubicBezTo>
                  <a:cubicBezTo>
                    <a:pt x="19575" y="20182"/>
                    <a:pt x="19575" y="20722"/>
                    <a:pt x="19330" y="21262"/>
                  </a:cubicBezTo>
                  <a:cubicBezTo>
                    <a:pt x="19084" y="21532"/>
                    <a:pt x="18839" y="21532"/>
                    <a:pt x="18594" y="21532"/>
                  </a:cubicBezTo>
                  <a:close/>
                  <a:moveTo>
                    <a:pt x="2884" y="21532"/>
                  </a:moveTo>
                  <a:cubicBezTo>
                    <a:pt x="2639" y="21532"/>
                    <a:pt x="2394" y="21532"/>
                    <a:pt x="2148" y="21262"/>
                  </a:cubicBezTo>
                  <a:cubicBezTo>
                    <a:pt x="1903" y="20722"/>
                    <a:pt x="1903" y="20182"/>
                    <a:pt x="2148" y="19642"/>
                  </a:cubicBezTo>
                  <a:cubicBezTo>
                    <a:pt x="9266" y="11812"/>
                    <a:pt x="9266" y="11812"/>
                    <a:pt x="9266" y="11812"/>
                  </a:cubicBezTo>
                  <a:cubicBezTo>
                    <a:pt x="7794" y="10192"/>
                    <a:pt x="7794" y="10192"/>
                    <a:pt x="7794" y="10192"/>
                  </a:cubicBezTo>
                  <a:cubicBezTo>
                    <a:pt x="6566" y="11542"/>
                    <a:pt x="6566" y="11542"/>
                    <a:pt x="6566" y="11542"/>
                  </a:cubicBezTo>
                  <a:cubicBezTo>
                    <a:pt x="6075" y="11812"/>
                    <a:pt x="5584" y="11812"/>
                    <a:pt x="5094" y="11542"/>
                  </a:cubicBezTo>
                  <a:cubicBezTo>
                    <a:pt x="184" y="6142"/>
                    <a:pt x="184" y="6142"/>
                    <a:pt x="184" y="6142"/>
                  </a:cubicBezTo>
                  <a:cubicBezTo>
                    <a:pt x="-61" y="5602"/>
                    <a:pt x="-61" y="5062"/>
                    <a:pt x="184" y="4522"/>
                  </a:cubicBezTo>
                  <a:cubicBezTo>
                    <a:pt x="675" y="4252"/>
                    <a:pt x="1166" y="4252"/>
                    <a:pt x="1657" y="4522"/>
                  </a:cubicBezTo>
                  <a:cubicBezTo>
                    <a:pt x="5830" y="9112"/>
                    <a:pt x="5830" y="9112"/>
                    <a:pt x="5830" y="9112"/>
                  </a:cubicBezTo>
                  <a:cubicBezTo>
                    <a:pt x="6321" y="8572"/>
                    <a:pt x="6321" y="8572"/>
                    <a:pt x="6321" y="8572"/>
                  </a:cubicBezTo>
                  <a:cubicBezTo>
                    <a:pt x="2148" y="3982"/>
                    <a:pt x="2148" y="3982"/>
                    <a:pt x="2148" y="3982"/>
                  </a:cubicBezTo>
                  <a:cubicBezTo>
                    <a:pt x="1903" y="3442"/>
                    <a:pt x="1903" y="2902"/>
                    <a:pt x="2148" y="2362"/>
                  </a:cubicBezTo>
                  <a:cubicBezTo>
                    <a:pt x="2639" y="2092"/>
                    <a:pt x="3130" y="2092"/>
                    <a:pt x="3621" y="2362"/>
                  </a:cubicBezTo>
                  <a:cubicBezTo>
                    <a:pt x="7794" y="6952"/>
                    <a:pt x="7794" y="6952"/>
                    <a:pt x="7794" y="6952"/>
                  </a:cubicBezTo>
                  <a:cubicBezTo>
                    <a:pt x="8284" y="6412"/>
                    <a:pt x="8284" y="6412"/>
                    <a:pt x="8284" y="6412"/>
                  </a:cubicBezTo>
                  <a:cubicBezTo>
                    <a:pt x="4112" y="1822"/>
                    <a:pt x="4112" y="1822"/>
                    <a:pt x="4112" y="1822"/>
                  </a:cubicBezTo>
                  <a:cubicBezTo>
                    <a:pt x="3866" y="1282"/>
                    <a:pt x="3866" y="742"/>
                    <a:pt x="4112" y="202"/>
                  </a:cubicBezTo>
                  <a:cubicBezTo>
                    <a:pt x="4603" y="-68"/>
                    <a:pt x="5094" y="-68"/>
                    <a:pt x="5584" y="202"/>
                  </a:cubicBezTo>
                  <a:cubicBezTo>
                    <a:pt x="10494" y="5602"/>
                    <a:pt x="10494" y="5602"/>
                    <a:pt x="10494" y="5602"/>
                  </a:cubicBezTo>
                  <a:cubicBezTo>
                    <a:pt x="10739" y="6142"/>
                    <a:pt x="10739" y="6682"/>
                    <a:pt x="10494" y="7222"/>
                  </a:cubicBezTo>
                  <a:cubicBezTo>
                    <a:pt x="9266" y="8572"/>
                    <a:pt x="9266" y="8572"/>
                    <a:pt x="9266" y="8572"/>
                  </a:cubicBezTo>
                  <a:cubicBezTo>
                    <a:pt x="10739" y="10192"/>
                    <a:pt x="10739" y="10192"/>
                    <a:pt x="10739" y="10192"/>
                  </a:cubicBezTo>
                  <a:cubicBezTo>
                    <a:pt x="18839" y="1282"/>
                    <a:pt x="18839" y="1282"/>
                    <a:pt x="18839" y="1282"/>
                  </a:cubicBezTo>
                  <a:cubicBezTo>
                    <a:pt x="19084" y="1012"/>
                    <a:pt x="19575" y="1012"/>
                    <a:pt x="19821" y="1012"/>
                  </a:cubicBezTo>
                  <a:cubicBezTo>
                    <a:pt x="20066" y="1012"/>
                    <a:pt x="20312" y="1552"/>
                    <a:pt x="20557" y="1822"/>
                  </a:cubicBezTo>
                  <a:cubicBezTo>
                    <a:pt x="21539" y="5332"/>
                    <a:pt x="20557" y="9112"/>
                    <a:pt x="18348" y="11542"/>
                  </a:cubicBezTo>
                  <a:cubicBezTo>
                    <a:pt x="14666" y="15592"/>
                    <a:pt x="11966" y="16132"/>
                    <a:pt x="11966" y="16132"/>
                  </a:cubicBezTo>
                  <a:cubicBezTo>
                    <a:pt x="11475" y="16132"/>
                    <a:pt x="10984" y="15862"/>
                    <a:pt x="10739" y="15322"/>
                  </a:cubicBezTo>
                  <a:cubicBezTo>
                    <a:pt x="10739" y="14782"/>
                    <a:pt x="10984" y="14242"/>
                    <a:pt x="11475" y="13972"/>
                  </a:cubicBezTo>
                  <a:cubicBezTo>
                    <a:pt x="11475" y="13972"/>
                    <a:pt x="13684" y="13432"/>
                    <a:pt x="16875" y="9922"/>
                  </a:cubicBezTo>
                  <a:cubicBezTo>
                    <a:pt x="18348" y="8572"/>
                    <a:pt x="19084" y="6412"/>
                    <a:pt x="18839" y="4252"/>
                  </a:cubicBezTo>
                  <a:cubicBezTo>
                    <a:pt x="3621" y="21262"/>
                    <a:pt x="3621" y="21262"/>
                    <a:pt x="3621" y="21262"/>
                  </a:cubicBezTo>
                  <a:cubicBezTo>
                    <a:pt x="3375" y="21532"/>
                    <a:pt x="3130" y="21532"/>
                    <a:pt x="2884" y="21532"/>
                  </a:cubicBezTo>
                  <a:close/>
                </a:path>
              </a:pathLst>
            </a:custGeom>
            <a:solidFill>
              <a:srgbClr val="009DE0"/>
            </a:solidFill>
            <a:ln w="12700" cap="flat">
              <a:noFill/>
              <a:miter lim="400000"/>
            </a:ln>
            <a:effectLst/>
          </p:spPr>
          <p:txBody>
            <a:bodyPr wrap="square" lIns="0" tIns="0" rIns="0" bIns="0" numCol="1" anchor="t">
              <a:noAutofit/>
            </a:bodyPr>
            <a:lstStyle/>
            <a:p>
              <a:endParaRPr/>
            </a:p>
          </p:txBody>
        </p:sp>
      </p:grpSp>
      <p:grpSp>
        <p:nvGrpSpPr>
          <p:cNvPr id="706" name="Group 706"/>
          <p:cNvGrpSpPr/>
          <p:nvPr/>
        </p:nvGrpSpPr>
        <p:grpSpPr>
          <a:xfrm>
            <a:off x="10473386" y="2911468"/>
            <a:ext cx="1202817" cy="317728"/>
            <a:chOff x="0" y="0"/>
            <a:chExt cx="1202816" cy="317726"/>
          </a:xfrm>
        </p:grpSpPr>
        <p:sp>
          <p:nvSpPr>
            <p:cNvPr id="704" name="Shape 704"/>
            <p:cNvSpPr/>
            <p:nvPr/>
          </p:nvSpPr>
          <p:spPr>
            <a:xfrm>
              <a:off x="448790" y="21725"/>
              <a:ext cx="754027" cy="1973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defRPr sz="1400">
                  <a:solidFill>
                    <a:srgbClr val="009DE0"/>
                  </a:solidFill>
                </a:defRPr>
              </a:lvl1pPr>
            </a:lstStyle>
            <a:p>
              <a:r>
                <a:t>Section 5</a:t>
              </a:r>
            </a:p>
          </p:txBody>
        </p:sp>
        <p:sp>
          <p:nvSpPr>
            <p:cNvPr id="705" name="Shape 705"/>
            <p:cNvSpPr/>
            <p:nvPr/>
          </p:nvSpPr>
          <p:spPr>
            <a:xfrm>
              <a:off x="0" y="0"/>
              <a:ext cx="267692" cy="317727"/>
            </a:xfrm>
            <a:custGeom>
              <a:avLst/>
              <a:gdLst/>
              <a:ahLst/>
              <a:cxnLst>
                <a:cxn ang="0">
                  <a:pos x="wd2" y="hd2"/>
                </a:cxn>
                <a:cxn ang="5400000">
                  <a:pos x="wd2" y="hd2"/>
                </a:cxn>
                <a:cxn ang="10800000">
                  <a:pos x="wd2" y="hd2"/>
                </a:cxn>
                <a:cxn ang="16200000">
                  <a:pos x="wd2" y="hd2"/>
                </a:cxn>
              </a:cxnLst>
              <a:rect l="0" t="0" r="r" b="b"/>
              <a:pathLst>
                <a:path w="21600" h="21600" extrusionOk="0">
                  <a:moveTo>
                    <a:pt x="20520" y="21600"/>
                  </a:moveTo>
                  <a:cubicBezTo>
                    <a:pt x="10800" y="21600"/>
                    <a:pt x="10800" y="21600"/>
                    <a:pt x="10800" y="21600"/>
                  </a:cubicBezTo>
                  <a:cubicBezTo>
                    <a:pt x="10260" y="21600"/>
                    <a:pt x="9720" y="21150"/>
                    <a:pt x="9720" y="20700"/>
                  </a:cubicBezTo>
                  <a:cubicBezTo>
                    <a:pt x="9720" y="17100"/>
                    <a:pt x="9720" y="17100"/>
                    <a:pt x="9720" y="17100"/>
                  </a:cubicBezTo>
                  <a:cubicBezTo>
                    <a:pt x="9720" y="16650"/>
                    <a:pt x="10260" y="16200"/>
                    <a:pt x="10800" y="16200"/>
                  </a:cubicBezTo>
                  <a:cubicBezTo>
                    <a:pt x="20520" y="16200"/>
                    <a:pt x="20520" y="16200"/>
                    <a:pt x="20520" y="16200"/>
                  </a:cubicBezTo>
                  <a:cubicBezTo>
                    <a:pt x="21060" y="16200"/>
                    <a:pt x="21600" y="16650"/>
                    <a:pt x="21600" y="17100"/>
                  </a:cubicBezTo>
                  <a:cubicBezTo>
                    <a:pt x="21600" y="20700"/>
                    <a:pt x="21600" y="20700"/>
                    <a:pt x="21600" y="20700"/>
                  </a:cubicBezTo>
                  <a:cubicBezTo>
                    <a:pt x="21600" y="21150"/>
                    <a:pt x="21060" y="21600"/>
                    <a:pt x="20520" y="21600"/>
                  </a:cubicBezTo>
                  <a:close/>
                  <a:moveTo>
                    <a:pt x="11880" y="19800"/>
                  </a:moveTo>
                  <a:cubicBezTo>
                    <a:pt x="19440" y="19800"/>
                    <a:pt x="19440" y="19800"/>
                    <a:pt x="19440" y="19800"/>
                  </a:cubicBezTo>
                  <a:cubicBezTo>
                    <a:pt x="19440" y="18000"/>
                    <a:pt x="19440" y="18000"/>
                    <a:pt x="19440" y="18000"/>
                  </a:cubicBezTo>
                  <a:cubicBezTo>
                    <a:pt x="11880" y="18000"/>
                    <a:pt x="11880" y="18000"/>
                    <a:pt x="11880" y="18000"/>
                  </a:cubicBezTo>
                  <a:lnTo>
                    <a:pt x="11880" y="19800"/>
                  </a:lnTo>
                  <a:close/>
                  <a:moveTo>
                    <a:pt x="20520" y="14400"/>
                  </a:moveTo>
                  <a:cubicBezTo>
                    <a:pt x="1080" y="14400"/>
                    <a:pt x="1080" y="14400"/>
                    <a:pt x="1080" y="14400"/>
                  </a:cubicBezTo>
                  <a:cubicBezTo>
                    <a:pt x="540" y="14400"/>
                    <a:pt x="0" y="13950"/>
                    <a:pt x="0" y="13500"/>
                  </a:cubicBezTo>
                  <a:cubicBezTo>
                    <a:pt x="0" y="900"/>
                    <a:pt x="0" y="900"/>
                    <a:pt x="0" y="900"/>
                  </a:cubicBezTo>
                  <a:cubicBezTo>
                    <a:pt x="0" y="450"/>
                    <a:pt x="540" y="0"/>
                    <a:pt x="1080" y="0"/>
                  </a:cubicBezTo>
                  <a:cubicBezTo>
                    <a:pt x="20520" y="0"/>
                    <a:pt x="20520" y="0"/>
                    <a:pt x="20520" y="0"/>
                  </a:cubicBezTo>
                  <a:cubicBezTo>
                    <a:pt x="21060" y="0"/>
                    <a:pt x="21600" y="450"/>
                    <a:pt x="21600" y="900"/>
                  </a:cubicBezTo>
                  <a:cubicBezTo>
                    <a:pt x="21600" y="13500"/>
                    <a:pt x="21600" y="13500"/>
                    <a:pt x="21600" y="13500"/>
                  </a:cubicBezTo>
                  <a:cubicBezTo>
                    <a:pt x="21600" y="13950"/>
                    <a:pt x="21060" y="14400"/>
                    <a:pt x="20520" y="14400"/>
                  </a:cubicBezTo>
                  <a:close/>
                  <a:moveTo>
                    <a:pt x="2160" y="12600"/>
                  </a:moveTo>
                  <a:cubicBezTo>
                    <a:pt x="19440" y="12600"/>
                    <a:pt x="19440" y="12600"/>
                    <a:pt x="19440" y="12600"/>
                  </a:cubicBezTo>
                  <a:cubicBezTo>
                    <a:pt x="19440" y="5400"/>
                    <a:pt x="19440" y="5400"/>
                    <a:pt x="19440" y="5400"/>
                  </a:cubicBezTo>
                  <a:cubicBezTo>
                    <a:pt x="2160" y="5400"/>
                    <a:pt x="2160" y="5400"/>
                    <a:pt x="2160" y="5400"/>
                  </a:cubicBezTo>
                  <a:lnTo>
                    <a:pt x="2160" y="12600"/>
                  </a:lnTo>
                  <a:close/>
                  <a:moveTo>
                    <a:pt x="2160" y="3600"/>
                  </a:moveTo>
                  <a:cubicBezTo>
                    <a:pt x="19440" y="3600"/>
                    <a:pt x="19440" y="3600"/>
                    <a:pt x="19440" y="3600"/>
                  </a:cubicBezTo>
                  <a:cubicBezTo>
                    <a:pt x="19440" y="1800"/>
                    <a:pt x="19440" y="1800"/>
                    <a:pt x="19440" y="1800"/>
                  </a:cubicBezTo>
                  <a:cubicBezTo>
                    <a:pt x="2160" y="1800"/>
                    <a:pt x="2160" y="1800"/>
                    <a:pt x="2160" y="1800"/>
                  </a:cubicBezTo>
                  <a:lnTo>
                    <a:pt x="2160" y="3600"/>
                  </a:lnTo>
                  <a:close/>
                </a:path>
              </a:pathLst>
            </a:custGeom>
            <a:solidFill>
              <a:srgbClr val="009DE0"/>
            </a:solidFill>
            <a:ln w="12700" cap="flat">
              <a:noFill/>
              <a:miter lim="400000"/>
            </a:ln>
            <a:effectLst/>
          </p:spPr>
          <p:txBody>
            <a:bodyPr wrap="square" lIns="0" tIns="0" rIns="0" bIns="0" numCol="1" anchor="t">
              <a:noAutofit/>
            </a:bodyPr>
            <a:lstStyle/>
            <a:p>
              <a:endParaRPr/>
            </a:p>
          </p:txBody>
        </p:sp>
      </p:grpSp>
      <p:grpSp>
        <p:nvGrpSpPr>
          <p:cNvPr id="711" name="Group 711"/>
          <p:cNvGrpSpPr/>
          <p:nvPr/>
        </p:nvGrpSpPr>
        <p:grpSpPr>
          <a:xfrm>
            <a:off x="10473600" y="1522000"/>
            <a:ext cx="1202603" cy="317544"/>
            <a:chOff x="0" y="0"/>
            <a:chExt cx="1202601" cy="317542"/>
          </a:xfrm>
        </p:grpSpPr>
        <p:sp>
          <p:nvSpPr>
            <p:cNvPr id="707" name="Shape 707"/>
            <p:cNvSpPr/>
            <p:nvPr/>
          </p:nvSpPr>
          <p:spPr>
            <a:xfrm>
              <a:off x="448576" y="63298"/>
              <a:ext cx="754026" cy="1973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defRPr sz="1400">
                  <a:solidFill>
                    <a:srgbClr val="FFFFFF"/>
                  </a:solidFill>
                </a:defRPr>
              </a:lvl1pPr>
            </a:lstStyle>
            <a:p>
              <a:r>
                <a:t>Section 3</a:t>
              </a:r>
            </a:p>
          </p:txBody>
        </p:sp>
        <p:grpSp>
          <p:nvGrpSpPr>
            <p:cNvPr id="710" name="Group 710"/>
            <p:cNvGrpSpPr/>
            <p:nvPr/>
          </p:nvGrpSpPr>
          <p:grpSpPr>
            <a:xfrm>
              <a:off x="0" y="0"/>
              <a:ext cx="267262" cy="317544"/>
              <a:chOff x="0" y="0"/>
              <a:chExt cx="267261" cy="317543"/>
            </a:xfrm>
          </p:grpSpPr>
          <p:sp>
            <p:nvSpPr>
              <p:cNvPr id="708" name="Shape 708"/>
              <p:cNvSpPr/>
              <p:nvPr/>
            </p:nvSpPr>
            <p:spPr>
              <a:xfrm>
                <a:off x="0" y="0"/>
                <a:ext cx="267262" cy="277699"/>
              </a:xfrm>
              <a:custGeom>
                <a:avLst/>
                <a:gdLst/>
                <a:ahLst/>
                <a:cxnLst>
                  <a:cxn ang="0">
                    <a:pos x="wd2" y="hd2"/>
                  </a:cxn>
                  <a:cxn ang="5400000">
                    <a:pos x="wd2" y="hd2"/>
                  </a:cxn>
                  <a:cxn ang="10800000">
                    <a:pos x="wd2" y="hd2"/>
                  </a:cxn>
                  <a:cxn ang="16200000">
                    <a:pos x="wd2" y="hd2"/>
                  </a:cxn>
                </a:cxnLst>
                <a:rect l="0" t="0" r="r" b="b"/>
                <a:pathLst>
                  <a:path w="21465" h="21600" extrusionOk="0">
                    <a:moveTo>
                      <a:pt x="20452" y="21600"/>
                    </a:moveTo>
                    <a:cubicBezTo>
                      <a:pt x="1012" y="21600"/>
                      <a:pt x="1012" y="21600"/>
                      <a:pt x="1012" y="21600"/>
                    </a:cubicBezTo>
                    <a:cubicBezTo>
                      <a:pt x="742" y="21600"/>
                      <a:pt x="202" y="21343"/>
                      <a:pt x="202" y="21086"/>
                    </a:cubicBezTo>
                    <a:cubicBezTo>
                      <a:pt x="-68" y="20829"/>
                      <a:pt x="-68" y="20314"/>
                      <a:pt x="202" y="20057"/>
                    </a:cubicBezTo>
                    <a:cubicBezTo>
                      <a:pt x="1282" y="18000"/>
                      <a:pt x="2092" y="15686"/>
                      <a:pt x="2092" y="13371"/>
                    </a:cubicBezTo>
                    <a:cubicBezTo>
                      <a:pt x="2092" y="8229"/>
                      <a:pt x="2092" y="8229"/>
                      <a:pt x="2092" y="8229"/>
                    </a:cubicBezTo>
                    <a:cubicBezTo>
                      <a:pt x="2092" y="3600"/>
                      <a:pt x="5872" y="0"/>
                      <a:pt x="10732" y="0"/>
                    </a:cubicBezTo>
                    <a:cubicBezTo>
                      <a:pt x="15592" y="0"/>
                      <a:pt x="19372" y="3600"/>
                      <a:pt x="19372" y="8229"/>
                    </a:cubicBezTo>
                    <a:cubicBezTo>
                      <a:pt x="19372" y="13371"/>
                      <a:pt x="19372" y="13371"/>
                      <a:pt x="19372" y="13371"/>
                    </a:cubicBezTo>
                    <a:cubicBezTo>
                      <a:pt x="19372" y="15686"/>
                      <a:pt x="20182" y="18000"/>
                      <a:pt x="21262" y="20057"/>
                    </a:cubicBezTo>
                    <a:cubicBezTo>
                      <a:pt x="21532" y="20314"/>
                      <a:pt x="21532" y="20829"/>
                      <a:pt x="21262" y="21086"/>
                    </a:cubicBezTo>
                    <a:cubicBezTo>
                      <a:pt x="21262" y="21343"/>
                      <a:pt x="20722" y="21600"/>
                      <a:pt x="20452" y="21600"/>
                    </a:cubicBezTo>
                    <a:close/>
                    <a:moveTo>
                      <a:pt x="2902" y="19543"/>
                    </a:moveTo>
                    <a:cubicBezTo>
                      <a:pt x="18562" y="19543"/>
                      <a:pt x="18562" y="19543"/>
                      <a:pt x="18562" y="19543"/>
                    </a:cubicBezTo>
                    <a:cubicBezTo>
                      <a:pt x="17752" y="17486"/>
                      <a:pt x="17212" y="15429"/>
                      <a:pt x="17212" y="13371"/>
                    </a:cubicBezTo>
                    <a:cubicBezTo>
                      <a:pt x="17212" y="8229"/>
                      <a:pt x="17212" y="8229"/>
                      <a:pt x="17212" y="8229"/>
                    </a:cubicBezTo>
                    <a:cubicBezTo>
                      <a:pt x="17212" y="4886"/>
                      <a:pt x="14242" y="2057"/>
                      <a:pt x="10732" y="2057"/>
                    </a:cubicBezTo>
                    <a:cubicBezTo>
                      <a:pt x="7222" y="2057"/>
                      <a:pt x="4252" y="4886"/>
                      <a:pt x="4252" y="8229"/>
                    </a:cubicBezTo>
                    <a:cubicBezTo>
                      <a:pt x="4252" y="13371"/>
                      <a:pt x="4252" y="13371"/>
                      <a:pt x="4252" y="13371"/>
                    </a:cubicBezTo>
                    <a:cubicBezTo>
                      <a:pt x="4252" y="15429"/>
                      <a:pt x="3712" y="17486"/>
                      <a:pt x="2902" y="19543"/>
                    </a:cubicBezTo>
                    <a:close/>
                  </a:path>
                </a:pathLst>
              </a:custGeom>
              <a:solidFill>
                <a:srgbClr val="FFFFFF"/>
              </a:solidFill>
              <a:ln w="12700" cap="flat">
                <a:noFill/>
                <a:miter lim="400000"/>
              </a:ln>
              <a:effectLst/>
            </p:spPr>
            <p:txBody>
              <a:bodyPr wrap="square" lIns="0" tIns="0" rIns="0" bIns="0" numCol="1" anchor="t">
                <a:noAutofit/>
              </a:bodyPr>
              <a:lstStyle/>
              <a:p>
                <a:endParaRPr/>
              </a:p>
            </p:txBody>
          </p:sp>
          <p:sp>
            <p:nvSpPr>
              <p:cNvPr id="709" name="Shape 709"/>
              <p:cNvSpPr/>
              <p:nvPr/>
            </p:nvSpPr>
            <p:spPr>
              <a:xfrm>
                <a:off x="96729" y="291458"/>
                <a:ext cx="73803" cy="26086"/>
              </a:xfrm>
              <a:custGeom>
                <a:avLst/>
                <a:gdLst/>
                <a:ahLst/>
                <a:cxnLst>
                  <a:cxn ang="0">
                    <a:pos x="wd2" y="hd2"/>
                  </a:cxn>
                  <a:cxn ang="5400000">
                    <a:pos x="wd2" y="hd2"/>
                  </a:cxn>
                  <a:cxn ang="10800000">
                    <a:pos x="wd2" y="hd2"/>
                  </a:cxn>
                  <a:cxn ang="16200000">
                    <a:pos x="wd2" y="hd2"/>
                  </a:cxn>
                </a:cxnLst>
                <a:rect l="0" t="0" r="r" b="b"/>
                <a:pathLst>
                  <a:path w="21600" h="17324" extrusionOk="0">
                    <a:moveTo>
                      <a:pt x="0" y="0"/>
                    </a:moveTo>
                    <a:cubicBezTo>
                      <a:pt x="1964" y="12960"/>
                      <a:pt x="8836" y="21600"/>
                      <a:pt x="14727" y="15120"/>
                    </a:cubicBezTo>
                    <a:cubicBezTo>
                      <a:pt x="17673" y="12960"/>
                      <a:pt x="20618" y="6480"/>
                      <a:pt x="21600" y="0"/>
                    </a:cubicBezTo>
                    <a:lnTo>
                      <a:pt x="0" y="0"/>
                    </a:lnTo>
                    <a:close/>
                  </a:path>
                </a:pathLst>
              </a:custGeom>
              <a:solidFill>
                <a:srgbClr val="FFFFFF"/>
              </a:solidFill>
              <a:ln w="12700" cap="flat">
                <a:noFill/>
                <a:miter lim="400000"/>
              </a:ln>
              <a:effectLst/>
            </p:spPr>
            <p:txBody>
              <a:bodyPr wrap="square" lIns="0" tIns="0" rIns="0" bIns="0" numCol="1" anchor="t">
                <a:noAutofit/>
              </a:bodyPr>
              <a:lstStyle/>
              <a:p>
                <a:endParaRPr/>
              </a:p>
            </p:txBody>
          </p:sp>
        </p:grpSp>
      </p:grpSp>
      <p:grpSp>
        <p:nvGrpSpPr>
          <p:cNvPr id="716" name="Group 716"/>
          <p:cNvGrpSpPr/>
          <p:nvPr/>
        </p:nvGrpSpPr>
        <p:grpSpPr>
          <a:xfrm>
            <a:off x="10473384" y="3615583"/>
            <a:ext cx="1202819" cy="317728"/>
            <a:chOff x="0" y="0"/>
            <a:chExt cx="1202817" cy="317726"/>
          </a:xfrm>
        </p:grpSpPr>
        <p:sp>
          <p:nvSpPr>
            <p:cNvPr id="712" name="Shape 712"/>
            <p:cNvSpPr/>
            <p:nvPr/>
          </p:nvSpPr>
          <p:spPr>
            <a:xfrm>
              <a:off x="448791" y="43327"/>
              <a:ext cx="754027" cy="1973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defRPr sz="1400">
                  <a:solidFill>
                    <a:srgbClr val="009DE0"/>
                  </a:solidFill>
                </a:defRPr>
              </a:lvl1pPr>
            </a:lstStyle>
            <a:p>
              <a:r>
                <a:t>Section 6</a:t>
              </a:r>
            </a:p>
          </p:txBody>
        </p:sp>
        <p:grpSp>
          <p:nvGrpSpPr>
            <p:cNvPr id="715" name="Group 715"/>
            <p:cNvGrpSpPr/>
            <p:nvPr/>
          </p:nvGrpSpPr>
          <p:grpSpPr>
            <a:xfrm>
              <a:off x="0" y="0"/>
              <a:ext cx="267692" cy="317727"/>
              <a:chOff x="0" y="0"/>
              <a:chExt cx="267691" cy="317726"/>
            </a:xfrm>
          </p:grpSpPr>
          <p:sp>
            <p:nvSpPr>
              <p:cNvPr id="713" name="Shape 713"/>
              <p:cNvSpPr/>
              <p:nvPr/>
            </p:nvSpPr>
            <p:spPr>
              <a:xfrm>
                <a:off x="-1" y="0"/>
                <a:ext cx="267693" cy="317727"/>
              </a:xfrm>
              <a:custGeom>
                <a:avLst/>
                <a:gdLst/>
                <a:ahLst/>
                <a:cxnLst>
                  <a:cxn ang="0">
                    <a:pos x="wd2" y="hd2"/>
                  </a:cxn>
                  <a:cxn ang="5400000">
                    <a:pos x="wd2" y="hd2"/>
                  </a:cxn>
                  <a:cxn ang="10800000">
                    <a:pos x="wd2" y="hd2"/>
                  </a:cxn>
                  <a:cxn ang="16200000">
                    <a:pos x="wd2" y="hd2"/>
                  </a:cxn>
                </a:cxnLst>
                <a:rect l="0" t="0" r="r" b="b"/>
                <a:pathLst>
                  <a:path w="21600" h="21600" extrusionOk="0">
                    <a:moveTo>
                      <a:pt x="20520" y="21600"/>
                    </a:moveTo>
                    <a:cubicBezTo>
                      <a:pt x="1080" y="21600"/>
                      <a:pt x="1080" y="21600"/>
                      <a:pt x="1080" y="21600"/>
                    </a:cubicBezTo>
                    <a:cubicBezTo>
                      <a:pt x="540" y="21600"/>
                      <a:pt x="0" y="21150"/>
                      <a:pt x="0" y="20700"/>
                    </a:cubicBezTo>
                    <a:cubicBezTo>
                      <a:pt x="0" y="900"/>
                      <a:pt x="0" y="900"/>
                      <a:pt x="0" y="900"/>
                    </a:cubicBezTo>
                    <a:cubicBezTo>
                      <a:pt x="0" y="450"/>
                      <a:pt x="540" y="0"/>
                      <a:pt x="1080" y="0"/>
                    </a:cubicBezTo>
                    <a:cubicBezTo>
                      <a:pt x="20520" y="0"/>
                      <a:pt x="20520" y="0"/>
                      <a:pt x="20520" y="0"/>
                    </a:cubicBezTo>
                    <a:cubicBezTo>
                      <a:pt x="21060" y="0"/>
                      <a:pt x="21600" y="450"/>
                      <a:pt x="21600" y="900"/>
                    </a:cubicBezTo>
                    <a:cubicBezTo>
                      <a:pt x="21600" y="20700"/>
                      <a:pt x="21600" y="20700"/>
                      <a:pt x="21600" y="20700"/>
                    </a:cubicBezTo>
                    <a:cubicBezTo>
                      <a:pt x="21600" y="21150"/>
                      <a:pt x="21060" y="21600"/>
                      <a:pt x="20520" y="21600"/>
                    </a:cubicBezTo>
                    <a:close/>
                    <a:moveTo>
                      <a:pt x="2160" y="19800"/>
                    </a:moveTo>
                    <a:cubicBezTo>
                      <a:pt x="19440" y="19800"/>
                      <a:pt x="19440" y="19800"/>
                      <a:pt x="19440" y="19800"/>
                    </a:cubicBezTo>
                    <a:cubicBezTo>
                      <a:pt x="19440" y="1800"/>
                      <a:pt x="19440" y="1800"/>
                      <a:pt x="19440" y="1800"/>
                    </a:cubicBezTo>
                    <a:cubicBezTo>
                      <a:pt x="2160" y="1800"/>
                      <a:pt x="2160" y="1800"/>
                      <a:pt x="2160" y="1800"/>
                    </a:cubicBezTo>
                    <a:lnTo>
                      <a:pt x="2160" y="19800"/>
                    </a:lnTo>
                    <a:close/>
                    <a:moveTo>
                      <a:pt x="10800" y="18000"/>
                    </a:moveTo>
                    <a:cubicBezTo>
                      <a:pt x="10260" y="18000"/>
                      <a:pt x="9720" y="17550"/>
                      <a:pt x="9720" y="17100"/>
                    </a:cubicBezTo>
                    <a:cubicBezTo>
                      <a:pt x="9720" y="4500"/>
                      <a:pt x="9720" y="4500"/>
                      <a:pt x="9720" y="4500"/>
                    </a:cubicBezTo>
                    <a:cubicBezTo>
                      <a:pt x="9720" y="4050"/>
                      <a:pt x="10260" y="3600"/>
                      <a:pt x="10800" y="3600"/>
                    </a:cubicBezTo>
                    <a:cubicBezTo>
                      <a:pt x="11340" y="3600"/>
                      <a:pt x="11880" y="4050"/>
                      <a:pt x="11880" y="4500"/>
                    </a:cubicBezTo>
                    <a:cubicBezTo>
                      <a:pt x="11880" y="17100"/>
                      <a:pt x="11880" y="17100"/>
                      <a:pt x="11880" y="17100"/>
                    </a:cubicBezTo>
                    <a:cubicBezTo>
                      <a:pt x="11880" y="17550"/>
                      <a:pt x="11340" y="18000"/>
                      <a:pt x="10800" y="18000"/>
                    </a:cubicBezTo>
                    <a:close/>
                  </a:path>
                </a:pathLst>
              </a:custGeom>
              <a:solidFill>
                <a:srgbClr val="009DE0"/>
              </a:solidFill>
              <a:ln w="12700" cap="flat">
                <a:noFill/>
                <a:miter lim="400000"/>
              </a:ln>
              <a:effectLst/>
            </p:spPr>
            <p:txBody>
              <a:bodyPr wrap="square" lIns="0" tIns="0" rIns="0" bIns="0" numCol="1" anchor="t">
                <a:noAutofit/>
              </a:bodyPr>
              <a:lstStyle/>
              <a:p>
                <a:endParaRPr/>
              </a:p>
            </p:txBody>
          </p:sp>
          <p:sp>
            <p:nvSpPr>
              <p:cNvPr id="714" name="Shape 714"/>
              <p:cNvSpPr/>
              <p:nvPr/>
            </p:nvSpPr>
            <p:spPr>
              <a:xfrm>
                <a:off x="69568" y="72140"/>
                <a:ext cx="122374" cy="166781"/>
              </a:xfrm>
              <a:custGeom>
                <a:avLst/>
                <a:gdLst/>
                <a:ahLst/>
                <a:cxnLst>
                  <a:cxn ang="0">
                    <a:pos x="wd2" y="hd2"/>
                  </a:cxn>
                  <a:cxn ang="5400000">
                    <a:pos x="wd2" y="hd2"/>
                  </a:cxn>
                  <a:cxn ang="10800000">
                    <a:pos x="wd2" y="hd2"/>
                  </a:cxn>
                  <a:cxn ang="16200000">
                    <a:pos x="wd2" y="hd2"/>
                  </a:cxn>
                </a:cxnLst>
                <a:rect l="0" t="0" r="r" b="b"/>
                <a:pathLst>
                  <a:path w="20922" h="20869" extrusionOk="0">
                    <a:moveTo>
                      <a:pt x="10455" y="20869"/>
                    </a:moveTo>
                    <a:cubicBezTo>
                      <a:pt x="7613" y="20869"/>
                      <a:pt x="4202" y="20038"/>
                      <a:pt x="1360" y="19623"/>
                    </a:cubicBezTo>
                    <a:cubicBezTo>
                      <a:pt x="223" y="19207"/>
                      <a:pt x="-345" y="17961"/>
                      <a:pt x="223" y="17131"/>
                    </a:cubicBezTo>
                    <a:cubicBezTo>
                      <a:pt x="223" y="16300"/>
                      <a:pt x="1929" y="15884"/>
                      <a:pt x="3066" y="16300"/>
                    </a:cubicBezTo>
                    <a:cubicBezTo>
                      <a:pt x="7613" y="17546"/>
                      <a:pt x="12729" y="17961"/>
                      <a:pt x="15002" y="16715"/>
                    </a:cubicBezTo>
                    <a:cubicBezTo>
                      <a:pt x="15571" y="16300"/>
                      <a:pt x="16139" y="15884"/>
                      <a:pt x="16139" y="14638"/>
                    </a:cubicBezTo>
                    <a:cubicBezTo>
                      <a:pt x="16139" y="13392"/>
                      <a:pt x="14434" y="12977"/>
                      <a:pt x="10455" y="12146"/>
                    </a:cubicBezTo>
                    <a:cubicBezTo>
                      <a:pt x="6476" y="10900"/>
                      <a:pt x="1360" y="9654"/>
                      <a:pt x="1360" y="5500"/>
                    </a:cubicBezTo>
                    <a:cubicBezTo>
                      <a:pt x="1360" y="3423"/>
                      <a:pt x="2497" y="1761"/>
                      <a:pt x="4771" y="931"/>
                    </a:cubicBezTo>
                    <a:cubicBezTo>
                      <a:pt x="9318" y="-731"/>
                      <a:pt x="16708" y="100"/>
                      <a:pt x="20118" y="1346"/>
                    </a:cubicBezTo>
                    <a:cubicBezTo>
                      <a:pt x="20687" y="1761"/>
                      <a:pt x="21255" y="3007"/>
                      <a:pt x="20687" y="3838"/>
                    </a:cubicBezTo>
                    <a:cubicBezTo>
                      <a:pt x="20118" y="4669"/>
                      <a:pt x="18981" y="4669"/>
                      <a:pt x="17844" y="4254"/>
                    </a:cubicBezTo>
                    <a:cubicBezTo>
                      <a:pt x="15571" y="3423"/>
                      <a:pt x="9887" y="2592"/>
                      <a:pt x="7044" y="3838"/>
                    </a:cubicBezTo>
                    <a:cubicBezTo>
                      <a:pt x="5908" y="4254"/>
                      <a:pt x="5908" y="4669"/>
                      <a:pt x="5908" y="5500"/>
                    </a:cubicBezTo>
                    <a:cubicBezTo>
                      <a:pt x="5908" y="7161"/>
                      <a:pt x="7613" y="7992"/>
                      <a:pt x="12160" y="8823"/>
                    </a:cubicBezTo>
                    <a:cubicBezTo>
                      <a:pt x="15571" y="9654"/>
                      <a:pt x="20687" y="10900"/>
                      <a:pt x="20687" y="14638"/>
                    </a:cubicBezTo>
                    <a:cubicBezTo>
                      <a:pt x="20687" y="17131"/>
                      <a:pt x="18981" y="18792"/>
                      <a:pt x="17276" y="19623"/>
                    </a:cubicBezTo>
                    <a:cubicBezTo>
                      <a:pt x="15571" y="20454"/>
                      <a:pt x="13297" y="20869"/>
                      <a:pt x="10455" y="20869"/>
                    </a:cubicBezTo>
                    <a:close/>
                  </a:path>
                </a:pathLst>
              </a:custGeom>
              <a:solidFill>
                <a:srgbClr val="009DE0"/>
              </a:solidFill>
              <a:ln w="12700" cap="flat">
                <a:noFill/>
                <a:miter lim="400000"/>
              </a:ln>
              <a:effectLst/>
            </p:spPr>
            <p:txBody>
              <a:bodyPr wrap="square" lIns="0" tIns="0" rIns="0" bIns="0" numCol="1" anchor="t">
                <a:noAutofit/>
              </a:bodyPr>
              <a:lstStyle/>
              <a:p>
                <a:endParaRPr/>
              </a:p>
            </p:txBody>
          </p:sp>
        </p:grpSp>
      </p:grpSp>
      <p:grpSp>
        <p:nvGrpSpPr>
          <p:cNvPr id="721" name="Group 721"/>
          <p:cNvGrpSpPr/>
          <p:nvPr/>
        </p:nvGrpSpPr>
        <p:grpSpPr>
          <a:xfrm>
            <a:off x="10447117" y="187574"/>
            <a:ext cx="1229086" cy="292710"/>
            <a:chOff x="0" y="0"/>
            <a:chExt cx="1229085" cy="292708"/>
          </a:xfrm>
        </p:grpSpPr>
        <p:sp>
          <p:nvSpPr>
            <p:cNvPr id="717" name="Shape 717"/>
            <p:cNvSpPr/>
            <p:nvPr/>
          </p:nvSpPr>
          <p:spPr>
            <a:xfrm>
              <a:off x="475060" y="47661"/>
              <a:ext cx="754026" cy="1973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defRPr sz="1400">
                  <a:solidFill>
                    <a:srgbClr val="009DE0"/>
                  </a:solidFill>
                </a:defRPr>
              </a:lvl1pPr>
            </a:lstStyle>
            <a:p>
              <a:r>
                <a:t>Section 1</a:t>
              </a:r>
            </a:p>
          </p:txBody>
        </p:sp>
        <p:grpSp>
          <p:nvGrpSpPr>
            <p:cNvPr id="720" name="Group 720"/>
            <p:cNvGrpSpPr/>
            <p:nvPr/>
          </p:nvGrpSpPr>
          <p:grpSpPr>
            <a:xfrm>
              <a:off x="0" y="0"/>
              <a:ext cx="320230" cy="292710"/>
              <a:chOff x="0" y="0"/>
              <a:chExt cx="320229" cy="292709"/>
            </a:xfrm>
          </p:grpSpPr>
          <p:sp>
            <p:nvSpPr>
              <p:cNvPr id="718" name="Shape 718"/>
              <p:cNvSpPr/>
              <p:nvPr/>
            </p:nvSpPr>
            <p:spPr>
              <a:xfrm>
                <a:off x="-1" y="-1"/>
                <a:ext cx="320231" cy="292710"/>
              </a:xfrm>
              <a:custGeom>
                <a:avLst/>
                <a:gdLst/>
                <a:ahLst/>
                <a:cxnLst>
                  <a:cxn ang="0">
                    <a:pos x="wd2" y="hd2"/>
                  </a:cxn>
                  <a:cxn ang="5400000">
                    <a:pos x="wd2" y="hd2"/>
                  </a:cxn>
                  <a:cxn ang="10800000">
                    <a:pos x="wd2" y="hd2"/>
                  </a:cxn>
                  <a:cxn ang="16200000">
                    <a:pos x="wd2" y="hd2"/>
                  </a:cxn>
                </a:cxnLst>
                <a:rect l="0" t="0" r="r" b="b"/>
                <a:pathLst>
                  <a:path w="21600" h="21600" extrusionOk="0">
                    <a:moveTo>
                      <a:pt x="18900" y="21600"/>
                    </a:moveTo>
                    <a:cubicBezTo>
                      <a:pt x="14400" y="21600"/>
                      <a:pt x="14400" y="21600"/>
                      <a:pt x="14400" y="21600"/>
                    </a:cubicBezTo>
                    <a:cubicBezTo>
                      <a:pt x="13950" y="21600"/>
                      <a:pt x="13500" y="21109"/>
                      <a:pt x="13500" y="20618"/>
                    </a:cubicBezTo>
                    <a:cubicBezTo>
                      <a:pt x="13500" y="20127"/>
                      <a:pt x="13950" y="19636"/>
                      <a:pt x="14400" y="19636"/>
                    </a:cubicBezTo>
                    <a:cubicBezTo>
                      <a:pt x="18900" y="19636"/>
                      <a:pt x="18900" y="19636"/>
                      <a:pt x="18900" y="19636"/>
                    </a:cubicBezTo>
                    <a:cubicBezTo>
                      <a:pt x="19350" y="19636"/>
                      <a:pt x="19800" y="19145"/>
                      <a:pt x="19800" y="18655"/>
                    </a:cubicBezTo>
                    <a:cubicBezTo>
                      <a:pt x="19800" y="5891"/>
                      <a:pt x="19800" y="5891"/>
                      <a:pt x="19800" y="5891"/>
                    </a:cubicBezTo>
                    <a:cubicBezTo>
                      <a:pt x="10800" y="5891"/>
                      <a:pt x="10800" y="5891"/>
                      <a:pt x="10800" y="5891"/>
                    </a:cubicBezTo>
                    <a:cubicBezTo>
                      <a:pt x="10575" y="5891"/>
                      <a:pt x="10350" y="5645"/>
                      <a:pt x="10125" y="5400"/>
                    </a:cubicBezTo>
                    <a:cubicBezTo>
                      <a:pt x="7650" y="1964"/>
                      <a:pt x="7650" y="1964"/>
                      <a:pt x="7650" y="1964"/>
                    </a:cubicBezTo>
                    <a:cubicBezTo>
                      <a:pt x="1800" y="1964"/>
                      <a:pt x="1800" y="1964"/>
                      <a:pt x="1800" y="1964"/>
                    </a:cubicBezTo>
                    <a:cubicBezTo>
                      <a:pt x="1800" y="18655"/>
                      <a:pt x="1800" y="18655"/>
                      <a:pt x="1800" y="18655"/>
                    </a:cubicBezTo>
                    <a:cubicBezTo>
                      <a:pt x="1800" y="19145"/>
                      <a:pt x="2250" y="19636"/>
                      <a:pt x="2700" y="19636"/>
                    </a:cubicBezTo>
                    <a:cubicBezTo>
                      <a:pt x="3600" y="19636"/>
                      <a:pt x="3600" y="19636"/>
                      <a:pt x="3600" y="19636"/>
                    </a:cubicBezTo>
                    <a:cubicBezTo>
                      <a:pt x="4050" y="19636"/>
                      <a:pt x="4500" y="20127"/>
                      <a:pt x="4500" y="20618"/>
                    </a:cubicBezTo>
                    <a:cubicBezTo>
                      <a:pt x="4500" y="21109"/>
                      <a:pt x="4050" y="21600"/>
                      <a:pt x="3600" y="21600"/>
                    </a:cubicBezTo>
                    <a:cubicBezTo>
                      <a:pt x="2700" y="21600"/>
                      <a:pt x="2700" y="21600"/>
                      <a:pt x="2700" y="21600"/>
                    </a:cubicBezTo>
                    <a:cubicBezTo>
                      <a:pt x="1125" y="21600"/>
                      <a:pt x="0" y="20373"/>
                      <a:pt x="0" y="18655"/>
                    </a:cubicBezTo>
                    <a:cubicBezTo>
                      <a:pt x="0" y="982"/>
                      <a:pt x="0" y="982"/>
                      <a:pt x="0" y="982"/>
                    </a:cubicBezTo>
                    <a:cubicBezTo>
                      <a:pt x="0" y="491"/>
                      <a:pt x="450" y="0"/>
                      <a:pt x="900" y="0"/>
                    </a:cubicBezTo>
                    <a:cubicBezTo>
                      <a:pt x="8100" y="0"/>
                      <a:pt x="8100" y="0"/>
                      <a:pt x="8100" y="0"/>
                    </a:cubicBezTo>
                    <a:cubicBezTo>
                      <a:pt x="8325" y="0"/>
                      <a:pt x="8550" y="245"/>
                      <a:pt x="8775" y="491"/>
                    </a:cubicBezTo>
                    <a:cubicBezTo>
                      <a:pt x="11250" y="3927"/>
                      <a:pt x="11250" y="3927"/>
                      <a:pt x="11250" y="3927"/>
                    </a:cubicBezTo>
                    <a:cubicBezTo>
                      <a:pt x="20700" y="3927"/>
                      <a:pt x="20700" y="3927"/>
                      <a:pt x="20700" y="3927"/>
                    </a:cubicBezTo>
                    <a:cubicBezTo>
                      <a:pt x="21150" y="3927"/>
                      <a:pt x="21600" y="4418"/>
                      <a:pt x="21600" y="4909"/>
                    </a:cubicBezTo>
                    <a:cubicBezTo>
                      <a:pt x="21600" y="18655"/>
                      <a:pt x="21600" y="18655"/>
                      <a:pt x="21600" y="18655"/>
                    </a:cubicBezTo>
                    <a:cubicBezTo>
                      <a:pt x="21600" y="20373"/>
                      <a:pt x="20475" y="21600"/>
                      <a:pt x="18900" y="21600"/>
                    </a:cubicBezTo>
                    <a:close/>
                  </a:path>
                </a:pathLst>
              </a:custGeom>
              <a:solidFill>
                <a:srgbClr val="009DE0"/>
              </a:solidFill>
              <a:ln w="12700" cap="flat">
                <a:noFill/>
                <a:miter lim="400000"/>
              </a:ln>
              <a:effectLst/>
            </p:spPr>
            <p:txBody>
              <a:bodyPr wrap="square" lIns="0" tIns="0" rIns="0" bIns="0" numCol="1" anchor="t">
                <a:noAutofit/>
              </a:bodyPr>
              <a:lstStyle/>
              <a:p>
                <a:endParaRPr/>
              </a:p>
            </p:txBody>
          </p:sp>
          <p:sp>
            <p:nvSpPr>
              <p:cNvPr id="719" name="Shape 719"/>
              <p:cNvSpPr/>
              <p:nvPr/>
            </p:nvSpPr>
            <p:spPr>
              <a:xfrm>
                <a:off x="93817" y="107157"/>
                <a:ext cx="185552" cy="185552"/>
              </a:xfrm>
              <a:custGeom>
                <a:avLst/>
                <a:gdLst/>
                <a:ahLst/>
                <a:cxnLst>
                  <a:cxn ang="0">
                    <a:pos x="wd2" y="hd2"/>
                  </a:cxn>
                  <a:cxn ang="5400000">
                    <a:pos x="wd2" y="hd2"/>
                  </a:cxn>
                  <a:cxn ang="10800000">
                    <a:pos x="wd2" y="hd2"/>
                  </a:cxn>
                  <a:cxn ang="16200000">
                    <a:pos x="wd2" y="hd2"/>
                  </a:cxn>
                </a:cxnLst>
                <a:rect l="0" t="0" r="r" b="b"/>
                <a:pathLst>
                  <a:path w="21504" h="21504" extrusionOk="0">
                    <a:moveTo>
                      <a:pt x="1543" y="21504"/>
                    </a:moveTo>
                    <a:cubicBezTo>
                      <a:pt x="1157" y="21504"/>
                      <a:pt x="771" y="21504"/>
                      <a:pt x="386" y="21118"/>
                    </a:cubicBezTo>
                    <a:cubicBezTo>
                      <a:pt x="0" y="20733"/>
                      <a:pt x="0" y="19961"/>
                      <a:pt x="0" y="19575"/>
                    </a:cubicBezTo>
                    <a:cubicBezTo>
                      <a:pt x="1543" y="13404"/>
                      <a:pt x="1543" y="13404"/>
                      <a:pt x="1543" y="13404"/>
                    </a:cubicBezTo>
                    <a:cubicBezTo>
                      <a:pt x="1543" y="13018"/>
                      <a:pt x="1929" y="13018"/>
                      <a:pt x="1929" y="12633"/>
                    </a:cubicBezTo>
                    <a:cubicBezTo>
                      <a:pt x="14271" y="290"/>
                      <a:pt x="14271" y="290"/>
                      <a:pt x="14271" y="290"/>
                    </a:cubicBezTo>
                    <a:cubicBezTo>
                      <a:pt x="15043" y="-96"/>
                      <a:pt x="15814" y="-96"/>
                      <a:pt x="16586" y="290"/>
                    </a:cubicBezTo>
                    <a:cubicBezTo>
                      <a:pt x="21214" y="4918"/>
                      <a:pt x="21214" y="4918"/>
                      <a:pt x="21214" y="4918"/>
                    </a:cubicBezTo>
                    <a:cubicBezTo>
                      <a:pt x="21600" y="5690"/>
                      <a:pt x="21600" y="6461"/>
                      <a:pt x="21214" y="7233"/>
                    </a:cubicBezTo>
                    <a:cubicBezTo>
                      <a:pt x="8871" y="19575"/>
                      <a:pt x="8871" y="19575"/>
                      <a:pt x="8871" y="19575"/>
                    </a:cubicBezTo>
                    <a:cubicBezTo>
                      <a:pt x="8486" y="19575"/>
                      <a:pt x="8486" y="19961"/>
                      <a:pt x="8100" y="19961"/>
                    </a:cubicBezTo>
                    <a:cubicBezTo>
                      <a:pt x="1929" y="21504"/>
                      <a:pt x="1929" y="21504"/>
                      <a:pt x="1929" y="21504"/>
                    </a:cubicBezTo>
                    <a:cubicBezTo>
                      <a:pt x="1929" y="21504"/>
                      <a:pt x="1543" y="21504"/>
                      <a:pt x="1543" y="21504"/>
                    </a:cubicBezTo>
                    <a:close/>
                    <a:moveTo>
                      <a:pt x="7714" y="18418"/>
                    </a:moveTo>
                    <a:cubicBezTo>
                      <a:pt x="7714" y="18418"/>
                      <a:pt x="7714" y="18418"/>
                      <a:pt x="7714" y="18418"/>
                    </a:cubicBezTo>
                    <a:close/>
                    <a:moveTo>
                      <a:pt x="4629" y="14561"/>
                    </a:moveTo>
                    <a:cubicBezTo>
                      <a:pt x="3471" y="18033"/>
                      <a:pt x="3471" y="18033"/>
                      <a:pt x="3471" y="18033"/>
                    </a:cubicBezTo>
                    <a:cubicBezTo>
                      <a:pt x="6943" y="16875"/>
                      <a:pt x="6943" y="16875"/>
                      <a:pt x="6943" y="16875"/>
                    </a:cubicBezTo>
                    <a:cubicBezTo>
                      <a:pt x="17743" y="6075"/>
                      <a:pt x="17743" y="6075"/>
                      <a:pt x="17743" y="6075"/>
                    </a:cubicBezTo>
                    <a:cubicBezTo>
                      <a:pt x="15429" y="3761"/>
                      <a:pt x="15429" y="3761"/>
                      <a:pt x="15429" y="3761"/>
                    </a:cubicBezTo>
                    <a:lnTo>
                      <a:pt x="4629" y="14561"/>
                    </a:lnTo>
                    <a:close/>
                  </a:path>
                </a:pathLst>
              </a:custGeom>
              <a:solidFill>
                <a:srgbClr val="009DE0"/>
              </a:solidFill>
              <a:ln w="12700" cap="flat">
                <a:noFill/>
                <a:miter lim="400000"/>
              </a:ln>
              <a:effectLst/>
            </p:spPr>
            <p:txBody>
              <a:bodyPr wrap="square" lIns="0" tIns="0" rIns="0" bIns="0" numCol="1" anchor="t">
                <a:noAutofit/>
              </a:bodyPr>
              <a:lstStyle/>
              <a:p>
                <a:endParaRPr/>
              </a:p>
            </p:txBody>
          </p:sp>
        </p:grpSp>
      </p:grpSp>
      <p:grpSp>
        <p:nvGrpSpPr>
          <p:cNvPr id="724" name="Group 724"/>
          <p:cNvGrpSpPr/>
          <p:nvPr/>
        </p:nvGrpSpPr>
        <p:grpSpPr>
          <a:xfrm>
            <a:off x="10455247" y="2234731"/>
            <a:ext cx="1220956" cy="290349"/>
            <a:chOff x="0" y="0"/>
            <a:chExt cx="1220954" cy="290348"/>
          </a:xfrm>
        </p:grpSpPr>
        <p:sp>
          <p:nvSpPr>
            <p:cNvPr id="722" name="Shape 722"/>
            <p:cNvSpPr/>
            <p:nvPr/>
          </p:nvSpPr>
          <p:spPr>
            <a:xfrm>
              <a:off x="466929" y="36410"/>
              <a:ext cx="754026" cy="19738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defRPr sz="1400">
                  <a:solidFill>
                    <a:srgbClr val="009DE0"/>
                  </a:solidFill>
                </a:defRPr>
              </a:lvl1pPr>
            </a:lstStyle>
            <a:p>
              <a:r>
                <a:t>Section 4</a:t>
              </a:r>
            </a:p>
          </p:txBody>
        </p:sp>
        <p:sp>
          <p:nvSpPr>
            <p:cNvPr id="723" name="Shape 723"/>
            <p:cNvSpPr/>
            <p:nvPr/>
          </p:nvSpPr>
          <p:spPr>
            <a:xfrm>
              <a:off x="0" y="0"/>
              <a:ext cx="303968" cy="290349"/>
            </a:xfrm>
            <a:custGeom>
              <a:avLst/>
              <a:gdLst/>
              <a:ahLst/>
              <a:cxnLst>
                <a:cxn ang="0">
                  <a:pos x="wd2" y="hd2"/>
                </a:cxn>
                <a:cxn ang="5400000">
                  <a:pos x="wd2" y="hd2"/>
                </a:cxn>
                <a:cxn ang="10800000">
                  <a:pos x="wd2" y="hd2"/>
                </a:cxn>
                <a:cxn ang="16200000">
                  <a:pos x="wd2" y="hd2"/>
                </a:cxn>
              </a:cxnLst>
              <a:rect l="0" t="0" r="r" b="b"/>
              <a:pathLst>
                <a:path w="21600" h="21426" extrusionOk="0">
                  <a:moveTo>
                    <a:pt x="20700" y="21426"/>
                  </a:moveTo>
                  <a:cubicBezTo>
                    <a:pt x="900" y="21426"/>
                    <a:pt x="900" y="21426"/>
                    <a:pt x="900" y="21426"/>
                  </a:cubicBezTo>
                  <a:cubicBezTo>
                    <a:pt x="450" y="21426"/>
                    <a:pt x="0" y="20961"/>
                    <a:pt x="0" y="20497"/>
                  </a:cubicBezTo>
                  <a:cubicBezTo>
                    <a:pt x="0" y="18174"/>
                    <a:pt x="0" y="18174"/>
                    <a:pt x="0" y="18174"/>
                  </a:cubicBezTo>
                  <a:cubicBezTo>
                    <a:pt x="0" y="16781"/>
                    <a:pt x="900" y="15852"/>
                    <a:pt x="2025" y="15387"/>
                  </a:cubicBezTo>
                  <a:cubicBezTo>
                    <a:pt x="3375" y="15155"/>
                    <a:pt x="6300" y="14226"/>
                    <a:pt x="6975" y="14226"/>
                  </a:cubicBezTo>
                  <a:cubicBezTo>
                    <a:pt x="7650" y="13994"/>
                    <a:pt x="7875" y="13529"/>
                    <a:pt x="7875" y="13529"/>
                  </a:cubicBezTo>
                  <a:cubicBezTo>
                    <a:pt x="8100" y="12600"/>
                    <a:pt x="7875" y="12136"/>
                    <a:pt x="7650" y="11903"/>
                  </a:cubicBezTo>
                  <a:cubicBezTo>
                    <a:pt x="6300" y="10974"/>
                    <a:pt x="5400" y="9349"/>
                    <a:pt x="5400" y="7491"/>
                  </a:cubicBezTo>
                  <a:cubicBezTo>
                    <a:pt x="5400" y="5632"/>
                    <a:pt x="5400" y="5632"/>
                    <a:pt x="5400" y="5632"/>
                  </a:cubicBezTo>
                  <a:cubicBezTo>
                    <a:pt x="5400" y="4007"/>
                    <a:pt x="6075" y="2613"/>
                    <a:pt x="7200" y="1452"/>
                  </a:cubicBezTo>
                  <a:cubicBezTo>
                    <a:pt x="8325" y="291"/>
                    <a:pt x="9900" y="-174"/>
                    <a:pt x="11250" y="58"/>
                  </a:cubicBezTo>
                  <a:cubicBezTo>
                    <a:pt x="14175" y="291"/>
                    <a:pt x="16200" y="2845"/>
                    <a:pt x="16200" y="5865"/>
                  </a:cubicBezTo>
                  <a:cubicBezTo>
                    <a:pt x="16200" y="7491"/>
                    <a:pt x="16200" y="7491"/>
                    <a:pt x="16200" y="7491"/>
                  </a:cubicBezTo>
                  <a:cubicBezTo>
                    <a:pt x="16200" y="9349"/>
                    <a:pt x="15525" y="10974"/>
                    <a:pt x="13950" y="11903"/>
                  </a:cubicBezTo>
                  <a:cubicBezTo>
                    <a:pt x="13725" y="12136"/>
                    <a:pt x="13500" y="12368"/>
                    <a:pt x="13725" y="13297"/>
                  </a:cubicBezTo>
                  <a:cubicBezTo>
                    <a:pt x="13950" y="13761"/>
                    <a:pt x="14175" y="13994"/>
                    <a:pt x="14625" y="14226"/>
                  </a:cubicBezTo>
                  <a:cubicBezTo>
                    <a:pt x="14625" y="14226"/>
                    <a:pt x="14850" y="14226"/>
                    <a:pt x="14850" y="14226"/>
                  </a:cubicBezTo>
                  <a:cubicBezTo>
                    <a:pt x="15075" y="14226"/>
                    <a:pt x="15975" y="14458"/>
                    <a:pt x="16650" y="14691"/>
                  </a:cubicBezTo>
                  <a:cubicBezTo>
                    <a:pt x="17775" y="14923"/>
                    <a:pt x="18675" y="15387"/>
                    <a:pt x="19575" y="15620"/>
                  </a:cubicBezTo>
                  <a:cubicBezTo>
                    <a:pt x="20700" y="15852"/>
                    <a:pt x="21600" y="17013"/>
                    <a:pt x="21600" y="18174"/>
                  </a:cubicBezTo>
                  <a:cubicBezTo>
                    <a:pt x="21600" y="20497"/>
                    <a:pt x="21600" y="20497"/>
                    <a:pt x="21600" y="20497"/>
                  </a:cubicBezTo>
                  <a:cubicBezTo>
                    <a:pt x="21600" y="20961"/>
                    <a:pt x="21150" y="21426"/>
                    <a:pt x="20700" y="21426"/>
                  </a:cubicBezTo>
                  <a:close/>
                  <a:moveTo>
                    <a:pt x="1800" y="19568"/>
                  </a:moveTo>
                  <a:cubicBezTo>
                    <a:pt x="19800" y="19568"/>
                    <a:pt x="19800" y="19568"/>
                    <a:pt x="19800" y="19568"/>
                  </a:cubicBezTo>
                  <a:cubicBezTo>
                    <a:pt x="19800" y="18174"/>
                    <a:pt x="19800" y="18174"/>
                    <a:pt x="19800" y="18174"/>
                  </a:cubicBezTo>
                  <a:cubicBezTo>
                    <a:pt x="19800" y="17710"/>
                    <a:pt x="19575" y="17478"/>
                    <a:pt x="19125" y="17245"/>
                  </a:cubicBezTo>
                  <a:cubicBezTo>
                    <a:pt x="19125" y="17245"/>
                    <a:pt x="19125" y="17245"/>
                    <a:pt x="19125" y="17245"/>
                  </a:cubicBezTo>
                  <a:cubicBezTo>
                    <a:pt x="18225" y="17013"/>
                    <a:pt x="17325" y="16781"/>
                    <a:pt x="16200" y="16549"/>
                  </a:cubicBezTo>
                  <a:cubicBezTo>
                    <a:pt x="15300" y="16316"/>
                    <a:pt x="14625" y="16084"/>
                    <a:pt x="14175" y="16084"/>
                  </a:cubicBezTo>
                  <a:cubicBezTo>
                    <a:pt x="13050" y="15620"/>
                    <a:pt x="12375" y="14923"/>
                    <a:pt x="11925" y="13994"/>
                  </a:cubicBezTo>
                  <a:cubicBezTo>
                    <a:pt x="11700" y="12368"/>
                    <a:pt x="11925" y="11207"/>
                    <a:pt x="13050" y="10510"/>
                  </a:cubicBezTo>
                  <a:cubicBezTo>
                    <a:pt x="13950" y="9813"/>
                    <a:pt x="14400" y="8652"/>
                    <a:pt x="14400" y="7491"/>
                  </a:cubicBezTo>
                  <a:cubicBezTo>
                    <a:pt x="14400" y="5865"/>
                    <a:pt x="14400" y="5865"/>
                    <a:pt x="14400" y="5865"/>
                  </a:cubicBezTo>
                  <a:cubicBezTo>
                    <a:pt x="14400" y="3774"/>
                    <a:pt x="13050" y="2149"/>
                    <a:pt x="11250" y="1916"/>
                  </a:cubicBezTo>
                  <a:cubicBezTo>
                    <a:pt x="10125" y="1916"/>
                    <a:pt x="9225" y="2149"/>
                    <a:pt x="8325" y="2845"/>
                  </a:cubicBezTo>
                  <a:cubicBezTo>
                    <a:pt x="7650" y="3542"/>
                    <a:pt x="7200" y="4471"/>
                    <a:pt x="7200" y="5632"/>
                  </a:cubicBezTo>
                  <a:cubicBezTo>
                    <a:pt x="7200" y="7491"/>
                    <a:pt x="7200" y="7491"/>
                    <a:pt x="7200" y="7491"/>
                  </a:cubicBezTo>
                  <a:cubicBezTo>
                    <a:pt x="7200" y="8652"/>
                    <a:pt x="7650" y="9813"/>
                    <a:pt x="8550" y="10510"/>
                  </a:cubicBezTo>
                  <a:cubicBezTo>
                    <a:pt x="9450" y="10974"/>
                    <a:pt x="10125" y="12136"/>
                    <a:pt x="9675" y="13994"/>
                  </a:cubicBezTo>
                  <a:cubicBezTo>
                    <a:pt x="9450" y="14923"/>
                    <a:pt x="8550" y="15620"/>
                    <a:pt x="7200" y="16084"/>
                  </a:cubicBezTo>
                  <a:cubicBezTo>
                    <a:pt x="6750" y="16084"/>
                    <a:pt x="4275" y="16781"/>
                    <a:pt x="2475" y="17245"/>
                  </a:cubicBezTo>
                  <a:cubicBezTo>
                    <a:pt x="2025" y="17478"/>
                    <a:pt x="1800" y="17710"/>
                    <a:pt x="1800" y="18174"/>
                  </a:cubicBezTo>
                  <a:lnTo>
                    <a:pt x="1800" y="19568"/>
                  </a:lnTo>
                  <a:close/>
                </a:path>
              </a:pathLst>
            </a:custGeom>
            <a:solidFill>
              <a:srgbClr val="009DE0"/>
            </a:solidFill>
            <a:ln w="12700" cap="flat">
              <a:noFill/>
              <a:miter lim="400000"/>
            </a:ln>
            <a:effectLst/>
          </p:spPr>
          <p:txBody>
            <a:bodyPr wrap="square" lIns="0" tIns="0" rIns="0" bIns="0" numCol="1" anchor="t">
              <a:noAutofit/>
            </a:bodyPr>
            <a:lstStyle/>
            <a:p>
              <a:endParaRPr/>
            </a:p>
          </p:txBody>
        </p:sp>
      </p:grpSp>
      <p:grpSp>
        <p:nvGrpSpPr>
          <p:cNvPr id="727" name="Group 727"/>
          <p:cNvGrpSpPr/>
          <p:nvPr/>
        </p:nvGrpSpPr>
        <p:grpSpPr>
          <a:xfrm>
            <a:off x="10461708" y="4999635"/>
            <a:ext cx="1214495" cy="268102"/>
            <a:chOff x="0" y="0"/>
            <a:chExt cx="1214493" cy="268101"/>
          </a:xfrm>
        </p:grpSpPr>
        <p:sp>
          <p:nvSpPr>
            <p:cNvPr id="725" name="Shape 725"/>
            <p:cNvSpPr/>
            <p:nvPr/>
          </p:nvSpPr>
          <p:spPr>
            <a:xfrm>
              <a:off x="460468" y="57063"/>
              <a:ext cx="754026" cy="1973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defRPr sz="1400">
                  <a:solidFill>
                    <a:srgbClr val="009DE0"/>
                  </a:solidFill>
                </a:defRPr>
              </a:lvl1pPr>
            </a:lstStyle>
            <a:p>
              <a:r>
                <a:t>Section 8</a:t>
              </a:r>
            </a:p>
          </p:txBody>
        </p:sp>
        <p:sp>
          <p:nvSpPr>
            <p:cNvPr id="726" name="Shape 726"/>
            <p:cNvSpPr/>
            <p:nvPr/>
          </p:nvSpPr>
          <p:spPr>
            <a:xfrm>
              <a:off x="-1" y="0"/>
              <a:ext cx="283731" cy="268102"/>
            </a:xfrm>
            <a:custGeom>
              <a:avLst/>
              <a:gdLst/>
              <a:ahLst/>
              <a:cxnLst>
                <a:cxn ang="0">
                  <a:pos x="wd2" y="hd2"/>
                </a:cxn>
                <a:cxn ang="5400000">
                  <a:pos x="wd2" y="hd2"/>
                </a:cxn>
                <a:cxn ang="10800000">
                  <a:pos x="wd2" y="hd2"/>
                </a:cxn>
                <a:cxn ang="16200000">
                  <a:pos x="wd2" y="hd2"/>
                </a:cxn>
              </a:cxnLst>
              <a:rect l="0" t="0" r="r" b="b"/>
              <a:pathLst>
                <a:path w="20937" h="21532" extrusionOk="0">
                  <a:moveTo>
                    <a:pt x="18594" y="21532"/>
                  </a:moveTo>
                  <a:cubicBezTo>
                    <a:pt x="18348" y="21532"/>
                    <a:pt x="18103" y="21532"/>
                    <a:pt x="17857" y="21262"/>
                  </a:cubicBezTo>
                  <a:cubicBezTo>
                    <a:pt x="14912" y="18022"/>
                    <a:pt x="14912" y="18022"/>
                    <a:pt x="14912" y="18022"/>
                  </a:cubicBezTo>
                  <a:cubicBezTo>
                    <a:pt x="14666" y="17482"/>
                    <a:pt x="14666" y="16942"/>
                    <a:pt x="14912" y="16402"/>
                  </a:cubicBezTo>
                  <a:cubicBezTo>
                    <a:pt x="15403" y="16132"/>
                    <a:pt x="15894" y="16132"/>
                    <a:pt x="16384" y="16402"/>
                  </a:cubicBezTo>
                  <a:cubicBezTo>
                    <a:pt x="19330" y="19642"/>
                    <a:pt x="19330" y="19642"/>
                    <a:pt x="19330" y="19642"/>
                  </a:cubicBezTo>
                  <a:cubicBezTo>
                    <a:pt x="19575" y="20182"/>
                    <a:pt x="19575" y="20722"/>
                    <a:pt x="19330" y="21262"/>
                  </a:cubicBezTo>
                  <a:cubicBezTo>
                    <a:pt x="19084" y="21532"/>
                    <a:pt x="18839" y="21532"/>
                    <a:pt x="18594" y="21532"/>
                  </a:cubicBezTo>
                  <a:close/>
                  <a:moveTo>
                    <a:pt x="2884" y="21532"/>
                  </a:moveTo>
                  <a:cubicBezTo>
                    <a:pt x="2639" y="21532"/>
                    <a:pt x="2394" y="21532"/>
                    <a:pt x="2148" y="21262"/>
                  </a:cubicBezTo>
                  <a:cubicBezTo>
                    <a:pt x="1903" y="20722"/>
                    <a:pt x="1903" y="20182"/>
                    <a:pt x="2148" y="19642"/>
                  </a:cubicBezTo>
                  <a:cubicBezTo>
                    <a:pt x="9266" y="11812"/>
                    <a:pt x="9266" y="11812"/>
                    <a:pt x="9266" y="11812"/>
                  </a:cubicBezTo>
                  <a:cubicBezTo>
                    <a:pt x="7794" y="10192"/>
                    <a:pt x="7794" y="10192"/>
                    <a:pt x="7794" y="10192"/>
                  </a:cubicBezTo>
                  <a:cubicBezTo>
                    <a:pt x="6566" y="11542"/>
                    <a:pt x="6566" y="11542"/>
                    <a:pt x="6566" y="11542"/>
                  </a:cubicBezTo>
                  <a:cubicBezTo>
                    <a:pt x="6075" y="11812"/>
                    <a:pt x="5584" y="11812"/>
                    <a:pt x="5094" y="11542"/>
                  </a:cubicBezTo>
                  <a:cubicBezTo>
                    <a:pt x="184" y="6142"/>
                    <a:pt x="184" y="6142"/>
                    <a:pt x="184" y="6142"/>
                  </a:cubicBezTo>
                  <a:cubicBezTo>
                    <a:pt x="-61" y="5602"/>
                    <a:pt x="-61" y="5062"/>
                    <a:pt x="184" y="4522"/>
                  </a:cubicBezTo>
                  <a:cubicBezTo>
                    <a:pt x="675" y="4252"/>
                    <a:pt x="1166" y="4252"/>
                    <a:pt x="1657" y="4522"/>
                  </a:cubicBezTo>
                  <a:cubicBezTo>
                    <a:pt x="5830" y="9112"/>
                    <a:pt x="5830" y="9112"/>
                    <a:pt x="5830" y="9112"/>
                  </a:cubicBezTo>
                  <a:cubicBezTo>
                    <a:pt x="6321" y="8572"/>
                    <a:pt x="6321" y="8572"/>
                    <a:pt x="6321" y="8572"/>
                  </a:cubicBezTo>
                  <a:cubicBezTo>
                    <a:pt x="2148" y="3982"/>
                    <a:pt x="2148" y="3982"/>
                    <a:pt x="2148" y="3982"/>
                  </a:cubicBezTo>
                  <a:cubicBezTo>
                    <a:pt x="1903" y="3442"/>
                    <a:pt x="1903" y="2902"/>
                    <a:pt x="2148" y="2362"/>
                  </a:cubicBezTo>
                  <a:cubicBezTo>
                    <a:pt x="2639" y="2092"/>
                    <a:pt x="3130" y="2092"/>
                    <a:pt x="3621" y="2362"/>
                  </a:cubicBezTo>
                  <a:cubicBezTo>
                    <a:pt x="7794" y="6952"/>
                    <a:pt x="7794" y="6952"/>
                    <a:pt x="7794" y="6952"/>
                  </a:cubicBezTo>
                  <a:cubicBezTo>
                    <a:pt x="8284" y="6412"/>
                    <a:pt x="8284" y="6412"/>
                    <a:pt x="8284" y="6412"/>
                  </a:cubicBezTo>
                  <a:cubicBezTo>
                    <a:pt x="4112" y="1822"/>
                    <a:pt x="4112" y="1822"/>
                    <a:pt x="4112" y="1822"/>
                  </a:cubicBezTo>
                  <a:cubicBezTo>
                    <a:pt x="3866" y="1282"/>
                    <a:pt x="3866" y="742"/>
                    <a:pt x="4112" y="202"/>
                  </a:cubicBezTo>
                  <a:cubicBezTo>
                    <a:pt x="4603" y="-68"/>
                    <a:pt x="5094" y="-68"/>
                    <a:pt x="5584" y="202"/>
                  </a:cubicBezTo>
                  <a:cubicBezTo>
                    <a:pt x="10494" y="5602"/>
                    <a:pt x="10494" y="5602"/>
                    <a:pt x="10494" y="5602"/>
                  </a:cubicBezTo>
                  <a:cubicBezTo>
                    <a:pt x="10739" y="6142"/>
                    <a:pt x="10739" y="6682"/>
                    <a:pt x="10494" y="7222"/>
                  </a:cubicBezTo>
                  <a:cubicBezTo>
                    <a:pt x="9266" y="8572"/>
                    <a:pt x="9266" y="8572"/>
                    <a:pt x="9266" y="8572"/>
                  </a:cubicBezTo>
                  <a:cubicBezTo>
                    <a:pt x="10739" y="10192"/>
                    <a:pt x="10739" y="10192"/>
                    <a:pt x="10739" y="10192"/>
                  </a:cubicBezTo>
                  <a:cubicBezTo>
                    <a:pt x="18839" y="1282"/>
                    <a:pt x="18839" y="1282"/>
                    <a:pt x="18839" y="1282"/>
                  </a:cubicBezTo>
                  <a:cubicBezTo>
                    <a:pt x="19084" y="1012"/>
                    <a:pt x="19575" y="1012"/>
                    <a:pt x="19821" y="1012"/>
                  </a:cubicBezTo>
                  <a:cubicBezTo>
                    <a:pt x="20066" y="1012"/>
                    <a:pt x="20312" y="1552"/>
                    <a:pt x="20557" y="1822"/>
                  </a:cubicBezTo>
                  <a:cubicBezTo>
                    <a:pt x="21539" y="5332"/>
                    <a:pt x="20557" y="9112"/>
                    <a:pt x="18348" y="11542"/>
                  </a:cubicBezTo>
                  <a:cubicBezTo>
                    <a:pt x="14666" y="15592"/>
                    <a:pt x="11966" y="16132"/>
                    <a:pt x="11966" y="16132"/>
                  </a:cubicBezTo>
                  <a:cubicBezTo>
                    <a:pt x="11475" y="16132"/>
                    <a:pt x="10984" y="15862"/>
                    <a:pt x="10739" y="15322"/>
                  </a:cubicBezTo>
                  <a:cubicBezTo>
                    <a:pt x="10739" y="14782"/>
                    <a:pt x="10984" y="14242"/>
                    <a:pt x="11475" y="13972"/>
                  </a:cubicBezTo>
                  <a:cubicBezTo>
                    <a:pt x="11475" y="13972"/>
                    <a:pt x="13684" y="13432"/>
                    <a:pt x="16875" y="9922"/>
                  </a:cubicBezTo>
                  <a:cubicBezTo>
                    <a:pt x="18348" y="8572"/>
                    <a:pt x="19084" y="6412"/>
                    <a:pt x="18839" y="4252"/>
                  </a:cubicBezTo>
                  <a:cubicBezTo>
                    <a:pt x="3621" y="21262"/>
                    <a:pt x="3621" y="21262"/>
                    <a:pt x="3621" y="21262"/>
                  </a:cubicBezTo>
                  <a:cubicBezTo>
                    <a:pt x="3375" y="21532"/>
                    <a:pt x="3130" y="21532"/>
                    <a:pt x="2884" y="21532"/>
                  </a:cubicBezTo>
                  <a:close/>
                </a:path>
              </a:pathLst>
            </a:custGeom>
            <a:solidFill>
              <a:srgbClr val="009DE0"/>
            </a:solidFill>
            <a:ln w="12700" cap="flat">
              <a:noFill/>
              <a:miter lim="400000"/>
            </a:ln>
            <a:effectLst/>
          </p:spPr>
          <p:txBody>
            <a:bodyPr wrap="square" lIns="0" tIns="0" rIns="0" bIns="0" numCol="1" anchor="t">
              <a:noAutofit/>
            </a:bodyPr>
            <a:lstStyle/>
            <a:p>
              <a:endParaRPr/>
            </a:p>
          </p:txBody>
        </p:sp>
      </p:grpSp>
      <p:grpSp>
        <p:nvGrpSpPr>
          <p:cNvPr id="732" name="Group 732"/>
          <p:cNvGrpSpPr/>
          <p:nvPr/>
        </p:nvGrpSpPr>
        <p:grpSpPr>
          <a:xfrm>
            <a:off x="10473600" y="5654125"/>
            <a:ext cx="1202603" cy="317544"/>
            <a:chOff x="0" y="0"/>
            <a:chExt cx="1202601" cy="317542"/>
          </a:xfrm>
        </p:grpSpPr>
        <p:sp>
          <p:nvSpPr>
            <p:cNvPr id="728" name="Shape 728"/>
            <p:cNvSpPr/>
            <p:nvPr/>
          </p:nvSpPr>
          <p:spPr>
            <a:xfrm>
              <a:off x="448576" y="85423"/>
              <a:ext cx="754026" cy="1973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defRPr sz="1400">
                  <a:solidFill>
                    <a:srgbClr val="009DE0"/>
                  </a:solidFill>
                </a:defRPr>
              </a:lvl1pPr>
            </a:lstStyle>
            <a:p>
              <a:r>
                <a:t>Section 9</a:t>
              </a:r>
            </a:p>
          </p:txBody>
        </p:sp>
        <p:grpSp>
          <p:nvGrpSpPr>
            <p:cNvPr id="731" name="Group 731"/>
            <p:cNvGrpSpPr/>
            <p:nvPr/>
          </p:nvGrpSpPr>
          <p:grpSpPr>
            <a:xfrm>
              <a:off x="0" y="0"/>
              <a:ext cx="267262" cy="317544"/>
              <a:chOff x="0" y="0"/>
              <a:chExt cx="267261" cy="317543"/>
            </a:xfrm>
          </p:grpSpPr>
          <p:sp>
            <p:nvSpPr>
              <p:cNvPr id="729" name="Shape 729"/>
              <p:cNvSpPr/>
              <p:nvPr/>
            </p:nvSpPr>
            <p:spPr>
              <a:xfrm>
                <a:off x="0" y="0"/>
                <a:ext cx="267262" cy="277699"/>
              </a:xfrm>
              <a:custGeom>
                <a:avLst/>
                <a:gdLst/>
                <a:ahLst/>
                <a:cxnLst>
                  <a:cxn ang="0">
                    <a:pos x="wd2" y="hd2"/>
                  </a:cxn>
                  <a:cxn ang="5400000">
                    <a:pos x="wd2" y="hd2"/>
                  </a:cxn>
                  <a:cxn ang="10800000">
                    <a:pos x="wd2" y="hd2"/>
                  </a:cxn>
                  <a:cxn ang="16200000">
                    <a:pos x="wd2" y="hd2"/>
                  </a:cxn>
                </a:cxnLst>
                <a:rect l="0" t="0" r="r" b="b"/>
                <a:pathLst>
                  <a:path w="21465" h="21600" extrusionOk="0">
                    <a:moveTo>
                      <a:pt x="20452" y="21600"/>
                    </a:moveTo>
                    <a:cubicBezTo>
                      <a:pt x="1012" y="21600"/>
                      <a:pt x="1012" y="21600"/>
                      <a:pt x="1012" y="21600"/>
                    </a:cubicBezTo>
                    <a:cubicBezTo>
                      <a:pt x="742" y="21600"/>
                      <a:pt x="202" y="21343"/>
                      <a:pt x="202" y="21086"/>
                    </a:cubicBezTo>
                    <a:cubicBezTo>
                      <a:pt x="-68" y="20829"/>
                      <a:pt x="-68" y="20314"/>
                      <a:pt x="202" y="20057"/>
                    </a:cubicBezTo>
                    <a:cubicBezTo>
                      <a:pt x="1282" y="18000"/>
                      <a:pt x="2092" y="15686"/>
                      <a:pt x="2092" y="13371"/>
                    </a:cubicBezTo>
                    <a:cubicBezTo>
                      <a:pt x="2092" y="8229"/>
                      <a:pt x="2092" y="8229"/>
                      <a:pt x="2092" y="8229"/>
                    </a:cubicBezTo>
                    <a:cubicBezTo>
                      <a:pt x="2092" y="3600"/>
                      <a:pt x="5872" y="0"/>
                      <a:pt x="10732" y="0"/>
                    </a:cubicBezTo>
                    <a:cubicBezTo>
                      <a:pt x="15592" y="0"/>
                      <a:pt x="19372" y="3600"/>
                      <a:pt x="19372" y="8229"/>
                    </a:cubicBezTo>
                    <a:cubicBezTo>
                      <a:pt x="19372" y="13371"/>
                      <a:pt x="19372" y="13371"/>
                      <a:pt x="19372" y="13371"/>
                    </a:cubicBezTo>
                    <a:cubicBezTo>
                      <a:pt x="19372" y="15686"/>
                      <a:pt x="20182" y="18000"/>
                      <a:pt x="21262" y="20057"/>
                    </a:cubicBezTo>
                    <a:cubicBezTo>
                      <a:pt x="21532" y="20314"/>
                      <a:pt x="21532" y="20829"/>
                      <a:pt x="21262" y="21086"/>
                    </a:cubicBezTo>
                    <a:cubicBezTo>
                      <a:pt x="21262" y="21343"/>
                      <a:pt x="20722" y="21600"/>
                      <a:pt x="20452" y="21600"/>
                    </a:cubicBezTo>
                    <a:close/>
                    <a:moveTo>
                      <a:pt x="2902" y="19543"/>
                    </a:moveTo>
                    <a:cubicBezTo>
                      <a:pt x="18562" y="19543"/>
                      <a:pt x="18562" y="19543"/>
                      <a:pt x="18562" y="19543"/>
                    </a:cubicBezTo>
                    <a:cubicBezTo>
                      <a:pt x="17752" y="17486"/>
                      <a:pt x="17212" y="15429"/>
                      <a:pt x="17212" y="13371"/>
                    </a:cubicBezTo>
                    <a:cubicBezTo>
                      <a:pt x="17212" y="8229"/>
                      <a:pt x="17212" y="8229"/>
                      <a:pt x="17212" y="8229"/>
                    </a:cubicBezTo>
                    <a:cubicBezTo>
                      <a:pt x="17212" y="4886"/>
                      <a:pt x="14242" y="2057"/>
                      <a:pt x="10732" y="2057"/>
                    </a:cubicBezTo>
                    <a:cubicBezTo>
                      <a:pt x="7222" y="2057"/>
                      <a:pt x="4252" y="4886"/>
                      <a:pt x="4252" y="8229"/>
                    </a:cubicBezTo>
                    <a:cubicBezTo>
                      <a:pt x="4252" y="13371"/>
                      <a:pt x="4252" y="13371"/>
                      <a:pt x="4252" y="13371"/>
                    </a:cubicBezTo>
                    <a:cubicBezTo>
                      <a:pt x="4252" y="15429"/>
                      <a:pt x="3712" y="17486"/>
                      <a:pt x="2902" y="19543"/>
                    </a:cubicBezTo>
                    <a:close/>
                  </a:path>
                </a:pathLst>
              </a:custGeom>
              <a:solidFill>
                <a:srgbClr val="009DE0"/>
              </a:solidFill>
              <a:ln w="12700" cap="flat">
                <a:noFill/>
                <a:miter lim="400000"/>
              </a:ln>
              <a:effectLst/>
            </p:spPr>
            <p:txBody>
              <a:bodyPr wrap="square" lIns="0" tIns="0" rIns="0" bIns="0" numCol="1" anchor="t">
                <a:noAutofit/>
              </a:bodyPr>
              <a:lstStyle/>
              <a:p>
                <a:endParaRPr/>
              </a:p>
            </p:txBody>
          </p:sp>
          <p:sp>
            <p:nvSpPr>
              <p:cNvPr id="730" name="Shape 730"/>
              <p:cNvSpPr/>
              <p:nvPr/>
            </p:nvSpPr>
            <p:spPr>
              <a:xfrm>
                <a:off x="96729" y="291458"/>
                <a:ext cx="73803" cy="26086"/>
              </a:xfrm>
              <a:custGeom>
                <a:avLst/>
                <a:gdLst/>
                <a:ahLst/>
                <a:cxnLst>
                  <a:cxn ang="0">
                    <a:pos x="wd2" y="hd2"/>
                  </a:cxn>
                  <a:cxn ang="5400000">
                    <a:pos x="wd2" y="hd2"/>
                  </a:cxn>
                  <a:cxn ang="10800000">
                    <a:pos x="wd2" y="hd2"/>
                  </a:cxn>
                  <a:cxn ang="16200000">
                    <a:pos x="wd2" y="hd2"/>
                  </a:cxn>
                </a:cxnLst>
                <a:rect l="0" t="0" r="r" b="b"/>
                <a:pathLst>
                  <a:path w="21600" h="17324" extrusionOk="0">
                    <a:moveTo>
                      <a:pt x="0" y="0"/>
                    </a:moveTo>
                    <a:cubicBezTo>
                      <a:pt x="1964" y="12960"/>
                      <a:pt x="8836" y="21600"/>
                      <a:pt x="14727" y="15120"/>
                    </a:cubicBezTo>
                    <a:cubicBezTo>
                      <a:pt x="17673" y="12960"/>
                      <a:pt x="20618" y="6480"/>
                      <a:pt x="21600" y="0"/>
                    </a:cubicBezTo>
                    <a:lnTo>
                      <a:pt x="0" y="0"/>
                    </a:lnTo>
                    <a:close/>
                  </a:path>
                </a:pathLst>
              </a:custGeom>
              <a:solidFill>
                <a:srgbClr val="009DE0"/>
              </a:solidFill>
              <a:ln w="12700" cap="flat">
                <a:noFill/>
                <a:miter lim="400000"/>
              </a:ln>
              <a:effectLst/>
            </p:spPr>
            <p:txBody>
              <a:bodyPr wrap="square" lIns="0" tIns="0" rIns="0" bIns="0" numCol="1" anchor="t">
                <a:noAutofit/>
              </a:bodyPr>
              <a:lstStyle/>
              <a:p>
                <a:endParaRPr/>
              </a:p>
            </p:txBody>
          </p:sp>
        </p:grpSp>
      </p:grpSp>
      <p:grpSp>
        <p:nvGrpSpPr>
          <p:cNvPr id="737" name="Group 737"/>
          <p:cNvGrpSpPr/>
          <p:nvPr/>
        </p:nvGrpSpPr>
        <p:grpSpPr>
          <a:xfrm>
            <a:off x="10447117" y="4319697"/>
            <a:ext cx="1229086" cy="292710"/>
            <a:chOff x="0" y="0"/>
            <a:chExt cx="1229085" cy="292708"/>
          </a:xfrm>
        </p:grpSpPr>
        <p:sp>
          <p:nvSpPr>
            <p:cNvPr id="733" name="Shape 733"/>
            <p:cNvSpPr/>
            <p:nvPr/>
          </p:nvSpPr>
          <p:spPr>
            <a:xfrm>
              <a:off x="475060" y="69787"/>
              <a:ext cx="754026" cy="1973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defRPr sz="1400">
                  <a:solidFill>
                    <a:srgbClr val="009DE0"/>
                  </a:solidFill>
                </a:defRPr>
              </a:lvl1pPr>
            </a:lstStyle>
            <a:p>
              <a:r>
                <a:t>Section 7</a:t>
              </a:r>
            </a:p>
          </p:txBody>
        </p:sp>
        <p:grpSp>
          <p:nvGrpSpPr>
            <p:cNvPr id="736" name="Group 736"/>
            <p:cNvGrpSpPr/>
            <p:nvPr/>
          </p:nvGrpSpPr>
          <p:grpSpPr>
            <a:xfrm>
              <a:off x="0" y="0"/>
              <a:ext cx="320230" cy="292710"/>
              <a:chOff x="0" y="0"/>
              <a:chExt cx="320229" cy="292709"/>
            </a:xfrm>
          </p:grpSpPr>
          <p:sp>
            <p:nvSpPr>
              <p:cNvPr id="734" name="Shape 734"/>
              <p:cNvSpPr/>
              <p:nvPr/>
            </p:nvSpPr>
            <p:spPr>
              <a:xfrm>
                <a:off x="-1" y="-1"/>
                <a:ext cx="320231" cy="292710"/>
              </a:xfrm>
              <a:custGeom>
                <a:avLst/>
                <a:gdLst/>
                <a:ahLst/>
                <a:cxnLst>
                  <a:cxn ang="0">
                    <a:pos x="wd2" y="hd2"/>
                  </a:cxn>
                  <a:cxn ang="5400000">
                    <a:pos x="wd2" y="hd2"/>
                  </a:cxn>
                  <a:cxn ang="10800000">
                    <a:pos x="wd2" y="hd2"/>
                  </a:cxn>
                  <a:cxn ang="16200000">
                    <a:pos x="wd2" y="hd2"/>
                  </a:cxn>
                </a:cxnLst>
                <a:rect l="0" t="0" r="r" b="b"/>
                <a:pathLst>
                  <a:path w="21600" h="21600" extrusionOk="0">
                    <a:moveTo>
                      <a:pt x="18900" y="21600"/>
                    </a:moveTo>
                    <a:cubicBezTo>
                      <a:pt x="14400" y="21600"/>
                      <a:pt x="14400" y="21600"/>
                      <a:pt x="14400" y="21600"/>
                    </a:cubicBezTo>
                    <a:cubicBezTo>
                      <a:pt x="13950" y="21600"/>
                      <a:pt x="13500" y="21109"/>
                      <a:pt x="13500" y="20618"/>
                    </a:cubicBezTo>
                    <a:cubicBezTo>
                      <a:pt x="13500" y="20127"/>
                      <a:pt x="13950" y="19636"/>
                      <a:pt x="14400" y="19636"/>
                    </a:cubicBezTo>
                    <a:cubicBezTo>
                      <a:pt x="18900" y="19636"/>
                      <a:pt x="18900" y="19636"/>
                      <a:pt x="18900" y="19636"/>
                    </a:cubicBezTo>
                    <a:cubicBezTo>
                      <a:pt x="19350" y="19636"/>
                      <a:pt x="19800" y="19145"/>
                      <a:pt x="19800" y="18655"/>
                    </a:cubicBezTo>
                    <a:cubicBezTo>
                      <a:pt x="19800" y="5891"/>
                      <a:pt x="19800" y="5891"/>
                      <a:pt x="19800" y="5891"/>
                    </a:cubicBezTo>
                    <a:cubicBezTo>
                      <a:pt x="10800" y="5891"/>
                      <a:pt x="10800" y="5891"/>
                      <a:pt x="10800" y="5891"/>
                    </a:cubicBezTo>
                    <a:cubicBezTo>
                      <a:pt x="10575" y="5891"/>
                      <a:pt x="10350" y="5645"/>
                      <a:pt x="10125" y="5400"/>
                    </a:cubicBezTo>
                    <a:cubicBezTo>
                      <a:pt x="7650" y="1964"/>
                      <a:pt x="7650" y="1964"/>
                      <a:pt x="7650" y="1964"/>
                    </a:cubicBezTo>
                    <a:cubicBezTo>
                      <a:pt x="1800" y="1964"/>
                      <a:pt x="1800" y="1964"/>
                      <a:pt x="1800" y="1964"/>
                    </a:cubicBezTo>
                    <a:cubicBezTo>
                      <a:pt x="1800" y="18655"/>
                      <a:pt x="1800" y="18655"/>
                      <a:pt x="1800" y="18655"/>
                    </a:cubicBezTo>
                    <a:cubicBezTo>
                      <a:pt x="1800" y="19145"/>
                      <a:pt x="2250" y="19636"/>
                      <a:pt x="2700" y="19636"/>
                    </a:cubicBezTo>
                    <a:cubicBezTo>
                      <a:pt x="3600" y="19636"/>
                      <a:pt x="3600" y="19636"/>
                      <a:pt x="3600" y="19636"/>
                    </a:cubicBezTo>
                    <a:cubicBezTo>
                      <a:pt x="4050" y="19636"/>
                      <a:pt x="4500" y="20127"/>
                      <a:pt x="4500" y="20618"/>
                    </a:cubicBezTo>
                    <a:cubicBezTo>
                      <a:pt x="4500" y="21109"/>
                      <a:pt x="4050" y="21600"/>
                      <a:pt x="3600" y="21600"/>
                    </a:cubicBezTo>
                    <a:cubicBezTo>
                      <a:pt x="2700" y="21600"/>
                      <a:pt x="2700" y="21600"/>
                      <a:pt x="2700" y="21600"/>
                    </a:cubicBezTo>
                    <a:cubicBezTo>
                      <a:pt x="1125" y="21600"/>
                      <a:pt x="0" y="20373"/>
                      <a:pt x="0" y="18655"/>
                    </a:cubicBezTo>
                    <a:cubicBezTo>
                      <a:pt x="0" y="982"/>
                      <a:pt x="0" y="982"/>
                      <a:pt x="0" y="982"/>
                    </a:cubicBezTo>
                    <a:cubicBezTo>
                      <a:pt x="0" y="491"/>
                      <a:pt x="450" y="0"/>
                      <a:pt x="900" y="0"/>
                    </a:cubicBezTo>
                    <a:cubicBezTo>
                      <a:pt x="8100" y="0"/>
                      <a:pt x="8100" y="0"/>
                      <a:pt x="8100" y="0"/>
                    </a:cubicBezTo>
                    <a:cubicBezTo>
                      <a:pt x="8325" y="0"/>
                      <a:pt x="8550" y="245"/>
                      <a:pt x="8775" y="491"/>
                    </a:cubicBezTo>
                    <a:cubicBezTo>
                      <a:pt x="11250" y="3927"/>
                      <a:pt x="11250" y="3927"/>
                      <a:pt x="11250" y="3927"/>
                    </a:cubicBezTo>
                    <a:cubicBezTo>
                      <a:pt x="20700" y="3927"/>
                      <a:pt x="20700" y="3927"/>
                      <a:pt x="20700" y="3927"/>
                    </a:cubicBezTo>
                    <a:cubicBezTo>
                      <a:pt x="21150" y="3927"/>
                      <a:pt x="21600" y="4418"/>
                      <a:pt x="21600" y="4909"/>
                    </a:cubicBezTo>
                    <a:cubicBezTo>
                      <a:pt x="21600" y="18655"/>
                      <a:pt x="21600" y="18655"/>
                      <a:pt x="21600" y="18655"/>
                    </a:cubicBezTo>
                    <a:cubicBezTo>
                      <a:pt x="21600" y="20373"/>
                      <a:pt x="20475" y="21600"/>
                      <a:pt x="18900" y="21600"/>
                    </a:cubicBezTo>
                    <a:close/>
                  </a:path>
                </a:pathLst>
              </a:custGeom>
              <a:solidFill>
                <a:srgbClr val="009DE0"/>
              </a:solidFill>
              <a:ln w="12700" cap="flat">
                <a:noFill/>
                <a:miter lim="400000"/>
              </a:ln>
              <a:effectLst/>
            </p:spPr>
            <p:txBody>
              <a:bodyPr wrap="square" lIns="0" tIns="0" rIns="0" bIns="0" numCol="1" anchor="t">
                <a:noAutofit/>
              </a:bodyPr>
              <a:lstStyle/>
              <a:p>
                <a:endParaRPr/>
              </a:p>
            </p:txBody>
          </p:sp>
          <p:sp>
            <p:nvSpPr>
              <p:cNvPr id="735" name="Shape 735"/>
              <p:cNvSpPr/>
              <p:nvPr/>
            </p:nvSpPr>
            <p:spPr>
              <a:xfrm>
                <a:off x="93817" y="107157"/>
                <a:ext cx="185552" cy="185552"/>
              </a:xfrm>
              <a:custGeom>
                <a:avLst/>
                <a:gdLst/>
                <a:ahLst/>
                <a:cxnLst>
                  <a:cxn ang="0">
                    <a:pos x="wd2" y="hd2"/>
                  </a:cxn>
                  <a:cxn ang="5400000">
                    <a:pos x="wd2" y="hd2"/>
                  </a:cxn>
                  <a:cxn ang="10800000">
                    <a:pos x="wd2" y="hd2"/>
                  </a:cxn>
                  <a:cxn ang="16200000">
                    <a:pos x="wd2" y="hd2"/>
                  </a:cxn>
                </a:cxnLst>
                <a:rect l="0" t="0" r="r" b="b"/>
                <a:pathLst>
                  <a:path w="21504" h="21504" extrusionOk="0">
                    <a:moveTo>
                      <a:pt x="1543" y="21504"/>
                    </a:moveTo>
                    <a:cubicBezTo>
                      <a:pt x="1157" y="21504"/>
                      <a:pt x="771" y="21504"/>
                      <a:pt x="386" y="21118"/>
                    </a:cubicBezTo>
                    <a:cubicBezTo>
                      <a:pt x="0" y="20733"/>
                      <a:pt x="0" y="19961"/>
                      <a:pt x="0" y="19575"/>
                    </a:cubicBezTo>
                    <a:cubicBezTo>
                      <a:pt x="1543" y="13404"/>
                      <a:pt x="1543" y="13404"/>
                      <a:pt x="1543" y="13404"/>
                    </a:cubicBezTo>
                    <a:cubicBezTo>
                      <a:pt x="1543" y="13018"/>
                      <a:pt x="1929" y="13018"/>
                      <a:pt x="1929" y="12633"/>
                    </a:cubicBezTo>
                    <a:cubicBezTo>
                      <a:pt x="14271" y="290"/>
                      <a:pt x="14271" y="290"/>
                      <a:pt x="14271" y="290"/>
                    </a:cubicBezTo>
                    <a:cubicBezTo>
                      <a:pt x="15043" y="-96"/>
                      <a:pt x="15814" y="-96"/>
                      <a:pt x="16586" y="290"/>
                    </a:cubicBezTo>
                    <a:cubicBezTo>
                      <a:pt x="21214" y="4918"/>
                      <a:pt x="21214" y="4918"/>
                      <a:pt x="21214" y="4918"/>
                    </a:cubicBezTo>
                    <a:cubicBezTo>
                      <a:pt x="21600" y="5690"/>
                      <a:pt x="21600" y="6461"/>
                      <a:pt x="21214" y="7233"/>
                    </a:cubicBezTo>
                    <a:cubicBezTo>
                      <a:pt x="8871" y="19575"/>
                      <a:pt x="8871" y="19575"/>
                      <a:pt x="8871" y="19575"/>
                    </a:cubicBezTo>
                    <a:cubicBezTo>
                      <a:pt x="8486" y="19575"/>
                      <a:pt x="8486" y="19961"/>
                      <a:pt x="8100" y="19961"/>
                    </a:cubicBezTo>
                    <a:cubicBezTo>
                      <a:pt x="1929" y="21504"/>
                      <a:pt x="1929" y="21504"/>
                      <a:pt x="1929" y="21504"/>
                    </a:cubicBezTo>
                    <a:cubicBezTo>
                      <a:pt x="1929" y="21504"/>
                      <a:pt x="1543" y="21504"/>
                      <a:pt x="1543" y="21504"/>
                    </a:cubicBezTo>
                    <a:close/>
                    <a:moveTo>
                      <a:pt x="7714" y="18418"/>
                    </a:moveTo>
                    <a:cubicBezTo>
                      <a:pt x="7714" y="18418"/>
                      <a:pt x="7714" y="18418"/>
                      <a:pt x="7714" y="18418"/>
                    </a:cubicBezTo>
                    <a:close/>
                    <a:moveTo>
                      <a:pt x="4629" y="14561"/>
                    </a:moveTo>
                    <a:cubicBezTo>
                      <a:pt x="3471" y="18033"/>
                      <a:pt x="3471" y="18033"/>
                      <a:pt x="3471" y="18033"/>
                    </a:cubicBezTo>
                    <a:cubicBezTo>
                      <a:pt x="6943" y="16875"/>
                      <a:pt x="6943" y="16875"/>
                      <a:pt x="6943" y="16875"/>
                    </a:cubicBezTo>
                    <a:cubicBezTo>
                      <a:pt x="17743" y="6075"/>
                      <a:pt x="17743" y="6075"/>
                      <a:pt x="17743" y="6075"/>
                    </a:cubicBezTo>
                    <a:cubicBezTo>
                      <a:pt x="15429" y="3761"/>
                      <a:pt x="15429" y="3761"/>
                      <a:pt x="15429" y="3761"/>
                    </a:cubicBezTo>
                    <a:lnTo>
                      <a:pt x="4629" y="14561"/>
                    </a:lnTo>
                    <a:close/>
                  </a:path>
                </a:pathLst>
              </a:custGeom>
              <a:solidFill>
                <a:srgbClr val="009DE0"/>
              </a:solidFill>
              <a:ln w="12700" cap="flat">
                <a:noFill/>
                <a:miter lim="400000"/>
              </a:ln>
              <a:effectLst/>
            </p:spPr>
            <p:txBody>
              <a:bodyPr wrap="square" lIns="0" tIns="0" rIns="0" bIns="0" numCol="1" anchor="t">
                <a:noAutofit/>
              </a:bodyPr>
              <a:lstStyle/>
              <a:p>
                <a:endParaRPr/>
              </a:p>
            </p:txBody>
          </p:sp>
        </p:grpSp>
      </p:grpSp>
      <p:grpSp>
        <p:nvGrpSpPr>
          <p:cNvPr id="740" name="Group 740"/>
          <p:cNvGrpSpPr/>
          <p:nvPr/>
        </p:nvGrpSpPr>
        <p:grpSpPr>
          <a:xfrm>
            <a:off x="10455247" y="6366847"/>
            <a:ext cx="1319840" cy="290350"/>
            <a:chOff x="0" y="0"/>
            <a:chExt cx="1319838" cy="290348"/>
          </a:xfrm>
        </p:grpSpPr>
        <p:sp>
          <p:nvSpPr>
            <p:cNvPr id="738" name="Shape 738"/>
            <p:cNvSpPr/>
            <p:nvPr/>
          </p:nvSpPr>
          <p:spPr>
            <a:xfrm>
              <a:off x="466929" y="58531"/>
              <a:ext cx="852910" cy="19738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defRPr sz="1400">
                  <a:solidFill>
                    <a:srgbClr val="009DE0"/>
                  </a:solidFill>
                </a:defRPr>
              </a:lvl1pPr>
            </a:lstStyle>
            <a:p>
              <a:r>
                <a:t>Section 10</a:t>
              </a:r>
            </a:p>
          </p:txBody>
        </p:sp>
        <p:sp>
          <p:nvSpPr>
            <p:cNvPr id="739" name="Shape 739"/>
            <p:cNvSpPr/>
            <p:nvPr/>
          </p:nvSpPr>
          <p:spPr>
            <a:xfrm>
              <a:off x="0" y="0"/>
              <a:ext cx="303968" cy="290349"/>
            </a:xfrm>
            <a:custGeom>
              <a:avLst/>
              <a:gdLst/>
              <a:ahLst/>
              <a:cxnLst>
                <a:cxn ang="0">
                  <a:pos x="wd2" y="hd2"/>
                </a:cxn>
                <a:cxn ang="5400000">
                  <a:pos x="wd2" y="hd2"/>
                </a:cxn>
                <a:cxn ang="10800000">
                  <a:pos x="wd2" y="hd2"/>
                </a:cxn>
                <a:cxn ang="16200000">
                  <a:pos x="wd2" y="hd2"/>
                </a:cxn>
              </a:cxnLst>
              <a:rect l="0" t="0" r="r" b="b"/>
              <a:pathLst>
                <a:path w="21600" h="21426" extrusionOk="0">
                  <a:moveTo>
                    <a:pt x="20700" y="21426"/>
                  </a:moveTo>
                  <a:cubicBezTo>
                    <a:pt x="900" y="21426"/>
                    <a:pt x="900" y="21426"/>
                    <a:pt x="900" y="21426"/>
                  </a:cubicBezTo>
                  <a:cubicBezTo>
                    <a:pt x="450" y="21426"/>
                    <a:pt x="0" y="20961"/>
                    <a:pt x="0" y="20497"/>
                  </a:cubicBezTo>
                  <a:cubicBezTo>
                    <a:pt x="0" y="18174"/>
                    <a:pt x="0" y="18174"/>
                    <a:pt x="0" y="18174"/>
                  </a:cubicBezTo>
                  <a:cubicBezTo>
                    <a:pt x="0" y="16781"/>
                    <a:pt x="900" y="15852"/>
                    <a:pt x="2025" y="15387"/>
                  </a:cubicBezTo>
                  <a:cubicBezTo>
                    <a:pt x="3375" y="15155"/>
                    <a:pt x="6300" y="14226"/>
                    <a:pt x="6975" y="14226"/>
                  </a:cubicBezTo>
                  <a:cubicBezTo>
                    <a:pt x="7650" y="13994"/>
                    <a:pt x="7875" y="13529"/>
                    <a:pt x="7875" y="13529"/>
                  </a:cubicBezTo>
                  <a:cubicBezTo>
                    <a:pt x="8100" y="12600"/>
                    <a:pt x="7875" y="12136"/>
                    <a:pt x="7650" y="11903"/>
                  </a:cubicBezTo>
                  <a:cubicBezTo>
                    <a:pt x="6300" y="10974"/>
                    <a:pt x="5400" y="9349"/>
                    <a:pt x="5400" y="7491"/>
                  </a:cubicBezTo>
                  <a:cubicBezTo>
                    <a:pt x="5400" y="5632"/>
                    <a:pt x="5400" y="5632"/>
                    <a:pt x="5400" y="5632"/>
                  </a:cubicBezTo>
                  <a:cubicBezTo>
                    <a:pt x="5400" y="4007"/>
                    <a:pt x="6075" y="2613"/>
                    <a:pt x="7200" y="1452"/>
                  </a:cubicBezTo>
                  <a:cubicBezTo>
                    <a:pt x="8325" y="291"/>
                    <a:pt x="9900" y="-174"/>
                    <a:pt x="11250" y="58"/>
                  </a:cubicBezTo>
                  <a:cubicBezTo>
                    <a:pt x="14175" y="291"/>
                    <a:pt x="16200" y="2845"/>
                    <a:pt x="16200" y="5865"/>
                  </a:cubicBezTo>
                  <a:cubicBezTo>
                    <a:pt x="16200" y="7491"/>
                    <a:pt x="16200" y="7491"/>
                    <a:pt x="16200" y="7491"/>
                  </a:cubicBezTo>
                  <a:cubicBezTo>
                    <a:pt x="16200" y="9349"/>
                    <a:pt x="15525" y="10974"/>
                    <a:pt x="13950" y="11903"/>
                  </a:cubicBezTo>
                  <a:cubicBezTo>
                    <a:pt x="13725" y="12136"/>
                    <a:pt x="13500" y="12368"/>
                    <a:pt x="13725" y="13297"/>
                  </a:cubicBezTo>
                  <a:cubicBezTo>
                    <a:pt x="13950" y="13761"/>
                    <a:pt x="14175" y="13994"/>
                    <a:pt x="14625" y="14226"/>
                  </a:cubicBezTo>
                  <a:cubicBezTo>
                    <a:pt x="14625" y="14226"/>
                    <a:pt x="14850" y="14226"/>
                    <a:pt x="14850" y="14226"/>
                  </a:cubicBezTo>
                  <a:cubicBezTo>
                    <a:pt x="15075" y="14226"/>
                    <a:pt x="15975" y="14458"/>
                    <a:pt x="16650" y="14691"/>
                  </a:cubicBezTo>
                  <a:cubicBezTo>
                    <a:pt x="17775" y="14923"/>
                    <a:pt x="18675" y="15387"/>
                    <a:pt x="19575" y="15620"/>
                  </a:cubicBezTo>
                  <a:cubicBezTo>
                    <a:pt x="20700" y="15852"/>
                    <a:pt x="21600" y="17013"/>
                    <a:pt x="21600" y="18174"/>
                  </a:cubicBezTo>
                  <a:cubicBezTo>
                    <a:pt x="21600" y="20497"/>
                    <a:pt x="21600" y="20497"/>
                    <a:pt x="21600" y="20497"/>
                  </a:cubicBezTo>
                  <a:cubicBezTo>
                    <a:pt x="21600" y="20961"/>
                    <a:pt x="21150" y="21426"/>
                    <a:pt x="20700" y="21426"/>
                  </a:cubicBezTo>
                  <a:close/>
                  <a:moveTo>
                    <a:pt x="1800" y="19568"/>
                  </a:moveTo>
                  <a:cubicBezTo>
                    <a:pt x="19800" y="19568"/>
                    <a:pt x="19800" y="19568"/>
                    <a:pt x="19800" y="19568"/>
                  </a:cubicBezTo>
                  <a:cubicBezTo>
                    <a:pt x="19800" y="18174"/>
                    <a:pt x="19800" y="18174"/>
                    <a:pt x="19800" y="18174"/>
                  </a:cubicBezTo>
                  <a:cubicBezTo>
                    <a:pt x="19800" y="17710"/>
                    <a:pt x="19575" y="17478"/>
                    <a:pt x="19125" y="17245"/>
                  </a:cubicBezTo>
                  <a:cubicBezTo>
                    <a:pt x="19125" y="17245"/>
                    <a:pt x="19125" y="17245"/>
                    <a:pt x="19125" y="17245"/>
                  </a:cubicBezTo>
                  <a:cubicBezTo>
                    <a:pt x="18225" y="17013"/>
                    <a:pt x="17325" y="16781"/>
                    <a:pt x="16200" y="16549"/>
                  </a:cubicBezTo>
                  <a:cubicBezTo>
                    <a:pt x="15300" y="16316"/>
                    <a:pt x="14625" y="16084"/>
                    <a:pt x="14175" y="16084"/>
                  </a:cubicBezTo>
                  <a:cubicBezTo>
                    <a:pt x="13050" y="15620"/>
                    <a:pt x="12375" y="14923"/>
                    <a:pt x="11925" y="13994"/>
                  </a:cubicBezTo>
                  <a:cubicBezTo>
                    <a:pt x="11700" y="12368"/>
                    <a:pt x="11925" y="11207"/>
                    <a:pt x="13050" y="10510"/>
                  </a:cubicBezTo>
                  <a:cubicBezTo>
                    <a:pt x="13950" y="9813"/>
                    <a:pt x="14400" y="8652"/>
                    <a:pt x="14400" y="7491"/>
                  </a:cubicBezTo>
                  <a:cubicBezTo>
                    <a:pt x="14400" y="5865"/>
                    <a:pt x="14400" y="5865"/>
                    <a:pt x="14400" y="5865"/>
                  </a:cubicBezTo>
                  <a:cubicBezTo>
                    <a:pt x="14400" y="3774"/>
                    <a:pt x="13050" y="2149"/>
                    <a:pt x="11250" y="1916"/>
                  </a:cubicBezTo>
                  <a:cubicBezTo>
                    <a:pt x="10125" y="1916"/>
                    <a:pt x="9225" y="2149"/>
                    <a:pt x="8325" y="2845"/>
                  </a:cubicBezTo>
                  <a:cubicBezTo>
                    <a:pt x="7650" y="3542"/>
                    <a:pt x="7200" y="4471"/>
                    <a:pt x="7200" y="5632"/>
                  </a:cubicBezTo>
                  <a:cubicBezTo>
                    <a:pt x="7200" y="7491"/>
                    <a:pt x="7200" y="7491"/>
                    <a:pt x="7200" y="7491"/>
                  </a:cubicBezTo>
                  <a:cubicBezTo>
                    <a:pt x="7200" y="8652"/>
                    <a:pt x="7650" y="9813"/>
                    <a:pt x="8550" y="10510"/>
                  </a:cubicBezTo>
                  <a:cubicBezTo>
                    <a:pt x="9450" y="10974"/>
                    <a:pt x="10125" y="12136"/>
                    <a:pt x="9675" y="13994"/>
                  </a:cubicBezTo>
                  <a:cubicBezTo>
                    <a:pt x="9450" y="14923"/>
                    <a:pt x="8550" y="15620"/>
                    <a:pt x="7200" y="16084"/>
                  </a:cubicBezTo>
                  <a:cubicBezTo>
                    <a:pt x="6750" y="16084"/>
                    <a:pt x="4275" y="16781"/>
                    <a:pt x="2475" y="17245"/>
                  </a:cubicBezTo>
                  <a:cubicBezTo>
                    <a:pt x="2025" y="17478"/>
                    <a:pt x="1800" y="17710"/>
                    <a:pt x="1800" y="18174"/>
                  </a:cubicBezTo>
                  <a:lnTo>
                    <a:pt x="1800" y="19568"/>
                  </a:lnTo>
                  <a:close/>
                </a:path>
              </a:pathLst>
            </a:custGeom>
            <a:solidFill>
              <a:srgbClr val="009DE0"/>
            </a:solidFill>
            <a:ln w="12700" cap="flat">
              <a:noFill/>
              <a:miter lim="400000"/>
            </a:ln>
            <a:effectLst/>
          </p:spPr>
          <p:txBody>
            <a:bodyPr wrap="square" lIns="0" tIns="0" rIns="0" bIns="0" numCol="1" anchor="t">
              <a:noAutofit/>
            </a:bodyPr>
            <a:lstStyle/>
            <a:p>
              <a:endParaRPr/>
            </a:p>
          </p:txBody>
        </p:sp>
      </p:grpSp>
      <p:sp>
        <p:nvSpPr>
          <p:cNvPr id="741" name="Shape 741"/>
          <p:cNvSpPr/>
          <p:nvPr/>
        </p:nvSpPr>
        <p:spPr>
          <a:xfrm>
            <a:off x="10033000" y="686269"/>
            <a:ext cx="2159000" cy="1"/>
          </a:xfrm>
          <a:prstGeom prst="line">
            <a:avLst/>
          </a:prstGeom>
          <a:ln w="12700">
            <a:solidFill>
              <a:srgbClr val="0077A0"/>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742" name="Shape 742"/>
          <p:cNvSpPr/>
          <p:nvPr/>
        </p:nvSpPr>
        <p:spPr>
          <a:xfrm>
            <a:off x="10033000" y="1371952"/>
            <a:ext cx="2159000" cy="1"/>
          </a:xfrm>
          <a:prstGeom prst="line">
            <a:avLst/>
          </a:prstGeom>
          <a:ln w="12700">
            <a:solidFill>
              <a:srgbClr val="0077A0"/>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743" name="Shape 743"/>
          <p:cNvSpPr/>
          <p:nvPr/>
        </p:nvSpPr>
        <p:spPr>
          <a:xfrm>
            <a:off x="10033000" y="2057634"/>
            <a:ext cx="2159000" cy="1"/>
          </a:xfrm>
          <a:prstGeom prst="line">
            <a:avLst/>
          </a:prstGeom>
          <a:ln w="12700">
            <a:solidFill>
              <a:srgbClr val="0077A0"/>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744" name="Shape 744"/>
          <p:cNvSpPr/>
          <p:nvPr/>
        </p:nvSpPr>
        <p:spPr>
          <a:xfrm>
            <a:off x="10033000" y="2743316"/>
            <a:ext cx="2159000" cy="1"/>
          </a:xfrm>
          <a:prstGeom prst="line">
            <a:avLst/>
          </a:prstGeom>
          <a:ln w="12700">
            <a:solidFill>
              <a:srgbClr val="0077A0"/>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745" name="Shape 745"/>
          <p:cNvSpPr/>
          <p:nvPr/>
        </p:nvSpPr>
        <p:spPr>
          <a:xfrm>
            <a:off x="10033000" y="3428998"/>
            <a:ext cx="2159000" cy="1"/>
          </a:xfrm>
          <a:prstGeom prst="line">
            <a:avLst/>
          </a:prstGeom>
          <a:ln w="12700">
            <a:solidFill>
              <a:srgbClr val="0077A0"/>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746" name="Shape 746"/>
          <p:cNvSpPr/>
          <p:nvPr/>
        </p:nvSpPr>
        <p:spPr>
          <a:xfrm>
            <a:off x="10033000" y="4114679"/>
            <a:ext cx="2159000" cy="1"/>
          </a:xfrm>
          <a:prstGeom prst="line">
            <a:avLst/>
          </a:prstGeom>
          <a:ln w="12700">
            <a:solidFill>
              <a:srgbClr val="0077A0"/>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747" name="Shape 747"/>
          <p:cNvSpPr/>
          <p:nvPr/>
        </p:nvSpPr>
        <p:spPr>
          <a:xfrm>
            <a:off x="10033000" y="4800362"/>
            <a:ext cx="2159000" cy="1"/>
          </a:xfrm>
          <a:prstGeom prst="line">
            <a:avLst/>
          </a:prstGeom>
          <a:ln w="12700">
            <a:solidFill>
              <a:srgbClr val="0077A0"/>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748" name="Shape 748"/>
          <p:cNvSpPr/>
          <p:nvPr/>
        </p:nvSpPr>
        <p:spPr>
          <a:xfrm>
            <a:off x="10033000" y="5486043"/>
            <a:ext cx="2159000" cy="1"/>
          </a:xfrm>
          <a:prstGeom prst="line">
            <a:avLst/>
          </a:prstGeom>
          <a:ln w="12700">
            <a:solidFill>
              <a:srgbClr val="0077A0"/>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749" name="Shape 749"/>
          <p:cNvSpPr/>
          <p:nvPr/>
        </p:nvSpPr>
        <p:spPr>
          <a:xfrm>
            <a:off x="10033000" y="6171725"/>
            <a:ext cx="2159000" cy="1"/>
          </a:xfrm>
          <a:prstGeom prst="line">
            <a:avLst/>
          </a:prstGeom>
          <a:ln w="12700">
            <a:solidFill>
              <a:srgbClr val="0077A0"/>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750" name="Shape 750"/>
          <p:cNvSpPr/>
          <p:nvPr/>
        </p:nvSpPr>
        <p:spPr>
          <a:xfrm>
            <a:off x="482600" y="3069021"/>
            <a:ext cx="4533900" cy="9779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a:defRPr sz="1000">
                <a:solidFill>
                  <a:srgbClr val="FF2600"/>
                </a:solidFill>
              </a:defRPr>
            </a:pPr>
            <a:r>
              <a:t>These slides provide options to create a clickable navigation elements to jump to different sections of your presentation. To create clickable elements (and to remove this note) choose “Slide Master” from the “View” tab.</a:t>
            </a:r>
          </a:p>
          <a:p>
            <a:pPr>
              <a:defRPr sz="1000">
                <a:solidFill>
                  <a:srgbClr val="FF2600"/>
                </a:solidFill>
              </a:defRPr>
            </a:pPr>
            <a:endParaRPr/>
          </a:p>
          <a:p>
            <a:pPr>
              <a:defRPr sz="1000">
                <a:solidFill>
                  <a:srgbClr val="FF2600"/>
                </a:solidFill>
              </a:defRPr>
            </a:pPr>
            <a:r>
              <a:t>To create hyperlinks on the navigation elements, select the element and choose “Hyperlink” from the “Insert” tab. Then choose “Place in This Document” from the dialog box and select a slide.</a:t>
            </a:r>
          </a:p>
        </p:txBody>
      </p:sp>
      <p:sp>
        <p:nvSpPr>
          <p:cNvPr id="751" name="Shape 751"/>
          <p:cNvSpPr>
            <a:spLocks noGrp="1"/>
          </p:cNvSpPr>
          <p:nvPr>
            <p:ph type="body" sz="quarter" idx="13"/>
          </p:nvPr>
        </p:nvSpPr>
        <p:spPr>
          <a:xfrm>
            <a:off x="485775" y="806807"/>
            <a:ext cx="9509126" cy="318477"/>
          </a:xfrm>
          <a:prstGeom prst="rect">
            <a:avLst/>
          </a:prstGeom>
        </p:spPr>
        <p:txBody>
          <a:bodyPr/>
          <a:lstStyle>
            <a:lvl1pPr>
              <a:defRPr sz="2000" b="1">
                <a:solidFill>
                  <a:srgbClr val="002C77"/>
                </a:solidFill>
              </a:defRPr>
            </a:lvl1pPr>
          </a:lstStyle>
          <a:p>
            <a:r>
              <a:t> </a:t>
            </a:r>
          </a:p>
        </p:txBody>
      </p:sp>
      <p:sp>
        <p:nvSpPr>
          <p:cNvPr id="752" name="Shape 752"/>
          <p:cNvSpPr>
            <a:spLocks noGrp="1"/>
          </p:cNvSpPr>
          <p:nvPr>
            <p:ph type="title"/>
          </p:nvPr>
        </p:nvSpPr>
        <p:spPr>
          <a:xfrm>
            <a:off x="485776" y="361950"/>
            <a:ext cx="9509125" cy="504825"/>
          </a:xfrm>
          <a:prstGeom prst="rect">
            <a:avLst/>
          </a:prstGeom>
        </p:spPr>
        <p:txBody>
          <a:bodyPr>
            <a:normAutofit/>
          </a:bodyPr>
          <a:lstStyle/>
          <a:p>
            <a:r>
              <a:t>Texto del título</a:t>
            </a:r>
          </a:p>
        </p:txBody>
      </p:sp>
      <p:sp>
        <p:nvSpPr>
          <p:cNvPr id="753" name="Shape 753"/>
          <p:cNvSpPr>
            <a:spLocks noGrp="1"/>
          </p:cNvSpPr>
          <p:nvPr>
            <p:ph type="body" sz="quarter" idx="1"/>
          </p:nvPr>
        </p:nvSpPr>
        <p:spPr>
          <a:xfrm>
            <a:off x="5200650" y="6388100"/>
            <a:ext cx="4603750" cy="247650"/>
          </a:xfrm>
          <a:prstGeom prst="rect">
            <a:avLst/>
          </a:prstGeom>
        </p:spPr>
        <p:txBody>
          <a:bodyPr anchor="b">
            <a:normAutofit/>
          </a:bodyPr>
          <a:lstStyle>
            <a:lvl1pPr algn="r">
              <a:spcBef>
                <a:spcPts val="0"/>
              </a:spcBef>
              <a:defRPr sz="800"/>
            </a:lvl1pPr>
            <a:lvl2pPr marL="0" indent="457200" algn="r">
              <a:spcBef>
                <a:spcPts val="0"/>
              </a:spcBef>
              <a:buSzTx/>
              <a:buNone/>
              <a:defRPr sz="800"/>
            </a:lvl2pPr>
            <a:lvl3pPr marL="0" indent="914400" algn="r">
              <a:spcBef>
                <a:spcPts val="0"/>
              </a:spcBef>
              <a:buSzTx/>
              <a:buNone/>
              <a:defRPr sz="800"/>
            </a:lvl3pPr>
            <a:lvl4pPr marL="0" indent="1371600" algn="r">
              <a:spcBef>
                <a:spcPts val="0"/>
              </a:spcBef>
              <a:buSzTx/>
              <a:buNone/>
              <a:defRPr sz="800"/>
            </a:lvl4pPr>
            <a:lvl5pPr marL="0" indent="1828800" algn="r">
              <a:spcBef>
                <a:spcPts val="0"/>
              </a:spcBef>
              <a:buSzTx/>
              <a:buNone/>
              <a:defRPr sz="800"/>
            </a:lvl5pPr>
          </a:lstStyle>
          <a:p>
            <a:r>
              <a:t>Nivel de texto 1</a:t>
            </a:r>
          </a:p>
          <a:p>
            <a:pPr lvl="1"/>
            <a:r>
              <a:t>Nivel de texto 2</a:t>
            </a:r>
          </a:p>
          <a:p>
            <a:pPr lvl="2"/>
            <a:r>
              <a:t>Nivel de texto 3</a:t>
            </a:r>
          </a:p>
          <a:p>
            <a:pPr lvl="3"/>
            <a:r>
              <a:t>Nivel de texto 4</a:t>
            </a:r>
          </a:p>
          <a:p>
            <a:pPr lvl="4"/>
            <a:r>
              <a:t>Nivel de texto 5</a:t>
            </a:r>
          </a:p>
        </p:txBody>
      </p:sp>
      <p:sp>
        <p:nvSpPr>
          <p:cNvPr id="754" name="Shape 754"/>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extLst>
      <p:ext uri="{BB962C8B-B14F-4D97-AF65-F5344CB8AC3E}">
        <p14:creationId xmlns:p14="http://schemas.microsoft.com/office/powerpoint/2010/main" val="3099205881"/>
      </p:ext>
    </p:extLst>
  </p:cSld>
  <p:clrMapOvr>
    <a:masterClrMapping/>
  </p:clrMapOvr>
  <p:transition spd="med"/>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x">
  <p:cSld name="Interactive right icons">
    <p:bg>
      <p:bgPr>
        <a:solidFill>
          <a:srgbClr val="FFFFFF"/>
        </a:solidFill>
        <a:effectLst/>
      </p:bgPr>
    </p:bg>
    <p:spTree>
      <p:nvGrpSpPr>
        <p:cNvPr id="1" name=""/>
        <p:cNvGrpSpPr/>
        <p:nvPr/>
      </p:nvGrpSpPr>
      <p:grpSpPr>
        <a:xfrm>
          <a:off x="0" y="0"/>
          <a:ext cx="0" cy="0"/>
          <a:chOff x="0" y="0"/>
          <a:chExt cx="0" cy="0"/>
        </a:xfrm>
      </p:grpSpPr>
      <p:pic>
        <p:nvPicPr>
          <p:cNvPr id="761"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762" name="Shape 762"/>
          <p:cNvSpPr/>
          <p:nvPr/>
        </p:nvSpPr>
        <p:spPr>
          <a:xfrm>
            <a:off x="10998200" y="-1"/>
            <a:ext cx="1193800" cy="1142003"/>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sp>
        <p:nvSpPr>
          <p:cNvPr id="763" name="Shape 763"/>
          <p:cNvSpPr/>
          <p:nvPr/>
        </p:nvSpPr>
        <p:spPr>
          <a:xfrm>
            <a:off x="10998200" y="1145869"/>
            <a:ext cx="1193800" cy="1142995"/>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sp>
        <p:nvSpPr>
          <p:cNvPr id="764" name="Shape 764"/>
          <p:cNvSpPr/>
          <p:nvPr/>
        </p:nvSpPr>
        <p:spPr>
          <a:xfrm>
            <a:off x="10998200" y="2288863"/>
            <a:ext cx="1193800" cy="1142994"/>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sp>
        <p:nvSpPr>
          <p:cNvPr id="765" name="Shape 765"/>
          <p:cNvSpPr/>
          <p:nvPr/>
        </p:nvSpPr>
        <p:spPr>
          <a:xfrm>
            <a:off x="10998200" y="3427838"/>
            <a:ext cx="1193800" cy="1142994"/>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sp>
        <p:nvSpPr>
          <p:cNvPr id="766" name="Shape 766"/>
          <p:cNvSpPr/>
          <p:nvPr/>
        </p:nvSpPr>
        <p:spPr>
          <a:xfrm>
            <a:off x="10998200" y="4570831"/>
            <a:ext cx="1193800" cy="1142994"/>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sp>
        <p:nvSpPr>
          <p:cNvPr id="767" name="Shape 767"/>
          <p:cNvSpPr/>
          <p:nvPr/>
        </p:nvSpPr>
        <p:spPr>
          <a:xfrm>
            <a:off x="10998200" y="5715006"/>
            <a:ext cx="1193800" cy="1142994"/>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sp>
        <p:nvSpPr>
          <p:cNvPr id="768" name="Shape 768"/>
          <p:cNvSpPr/>
          <p:nvPr/>
        </p:nvSpPr>
        <p:spPr>
          <a:xfrm>
            <a:off x="11449577" y="1583735"/>
            <a:ext cx="283731" cy="268102"/>
          </a:xfrm>
          <a:custGeom>
            <a:avLst/>
            <a:gdLst/>
            <a:ahLst/>
            <a:cxnLst>
              <a:cxn ang="0">
                <a:pos x="wd2" y="hd2"/>
              </a:cxn>
              <a:cxn ang="5400000">
                <a:pos x="wd2" y="hd2"/>
              </a:cxn>
              <a:cxn ang="10800000">
                <a:pos x="wd2" y="hd2"/>
              </a:cxn>
              <a:cxn ang="16200000">
                <a:pos x="wd2" y="hd2"/>
              </a:cxn>
            </a:cxnLst>
            <a:rect l="0" t="0" r="r" b="b"/>
            <a:pathLst>
              <a:path w="20937" h="21532" extrusionOk="0">
                <a:moveTo>
                  <a:pt x="18594" y="21532"/>
                </a:moveTo>
                <a:cubicBezTo>
                  <a:pt x="18348" y="21532"/>
                  <a:pt x="18103" y="21532"/>
                  <a:pt x="17857" y="21262"/>
                </a:cubicBezTo>
                <a:cubicBezTo>
                  <a:pt x="14912" y="18022"/>
                  <a:pt x="14912" y="18022"/>
                  <a:pt x="14912" y="18022"/>
                </a:cubicBezTo>
                <a:cubicBezTo>
                  <a:pt x="14666" y="17482"/>
                  <a:pt x="14666" y="16942"/>
                  <a:pt x="14912" y="16402"/>
                </a:cubicBezTo>
                <a:cubicBezTo>
                  <a:pt x="15403" y="16132"/>
                  <a:pt x="15894" y="16132"/>
                  <a:pt x="16384" y="16402"/>
                </a:cubicBezTo>
                <a:cubicBezTo>
                  <a:pt x="19330" y="19642"/>
                  <a:pt x="19330" y="19642"/>
                  <a:pt x="19330" y="19642"/>
                </a:cubicBezTo>
                <a:cubicBezTo>
                  <a:pt x="19575" y="20182"/>
                  <a:pt x="19575" y="20722"/>
                  <a:pt x="19330" y="21262"/>
                </a:cubicBezTo>
                <a:cubicBezTo>
                  <a:pt x="19084" y="21532"/>
                  <a:pt x="18839" y="21532"/>
                  <a:pt x="18594" y="21532"/>
                </a:cubicBezTo>
                <a:close/>
                <a:moveTo>
                  <a:pt x="2884" y="21532"/>
                </a:moveTo>
                <a:cubicBezTo>
                  <a:pt x="2639" y="21532"/>
                  <a:pt x="2394" y="21532"/>
                  <a:pt x="2148" y="21262"/>
                </a:cubicBezTo>
                <a:cubicBezTo>
                  <a:pt x="1903" y="20722"/>
                  <a:pt x="1903" y="20182"/>
                  <a:pt x="2148" y="19642"/>
                </a:cubicBezTo>
                <a:cubicBezTo>
                  <a:pt x="9266" y="11812"/>
                  <a:pt x="9266" y="11812"/>
                  <a:pt x="9266" y="11812"/>
                </a:cubicBezTo>
                <a:cubicBezTo>
                  <a:pt x="7794" y="10192"/>
                  <a:pt x="7794" y="10192"/>
                  <a:pt x="7794" y="10192"/>
                </a:cubicBezTo>
                <a:cubicBezTo>
                  <a:pt x="6566" y="11542"/>
                  <a:pt x="6566" y="11542"/>
                  <a:pt x="6566" y="11542"/>
                </a:cubicBezTo>
                <a:cubicBezTo>
                  <a:pt x="6075" y="11812"/>
                  <a:pt x="5584" y="11812"/>
                  <a:pt x="5094" y="11542"/>
                </a:cubicBezTo>
                <a:cubicBezTo>
                  <a:pt x="184" y="6142"/>
                  <a:pt x="184" y="6142"/>
                  <a:pt x="184" y="6142"/>
                </a:cubicBezTo>
                <a:cubicBezTo>
                  <a:pt x="-61" y="5602"/>
                  <a:pt x="-61" y="5062"/>
                  <a:pt x="184" y="4522"/>
                </a:cubicBezTo>
                <a:cubicBezTo>
                  <a:pt x="675" y="4252"/>
                  <a:pt x="1166" y="4252"/>
                  <a:pt x="1657" y="4522"/>
                </a:cubicBezTo>
                <a:cubicBezTo>
                  <a:pt x="5830" y="9112"/>
                  <a:pt x="5830" y="9112"/>
                  <a:pt x="5830" y="9112"/>
                </a:cubicBezTo>
                <a:cubicBezTo>
                  <a:pt x="6321" y="8572"/>
                  <a:pt x="6321" y="8572"/>
                  <a:pt x="6321" y="8572"/>
                </a:cubicBezTo>
                <a:cubicBezTo>
                  <a:pt x="2148" y="3982"/>
                  <a:pt x="2148" y="3982"/>
                  <a:pt x="2148" y="3982"/>
                </a:cubicBezTo>
                <a:cubicBezTo>
                  <a:pt x="1903" y="3442"/>
                  <a:pt x="1903" y="2902"/>
                  <a:pt x="2148" y="2362"/>
                </a:cubicBezTo>
                <a:cubicBezTo>
                  <a:pt x="2639" y="2092"/>
                  <a:pt x="3130" y="2092"/>
                  <a:pt x="3621" y="2362"/>
                </a:cubicBezTo>
                <a:cubicBezTo>
                  <a:pt x="7794" y="6952"/>
                  <a:pt x="7794" y="6952"/>
                  <a:pt x="7794" y="6952"/>
                </a:cubicBezTo>
                <a:cubicBezTo>
                  <a:pt x="8284" y="6412"/>
                  <a:pt x="8284" y="6412"/>
                  <a:pt x="8284" y="6412"/>
                </a:cubicBezTo>
                <a:cubicBezTo>
                  <a:pt x="4112" y="1822"/>
                  <a:pt x="4112" y="1822"/>
                  <a:pt x="4112" y="1822"/>
                </a:cubicBezTo>
                <a:cubicBezTo>
                  <a:pt x="3866" y="1282"/>
                  <a:pt x="3866" y="742"/>
                  <a:pt x="4112" y="202"/>
                </a:cubicBezTo>
                <a:cubicBezTo>
                  <a:pt x="4603" y="-68"/>
                  <a:pt x="5094" y="-68"/>
                  <a:pt x="5584" y="202"/>
                </a:cubicBezTo>
                <a:cubicBezTo>
                  <a:pt x="10494" y="5602"/>
                  <a:pt x="10494" y="5602"/>
                  <a:pt x="10494" y="5602"/>
                </a:cubicBezTo>
                <a:cubicBezTo>
                  <a:pt x="10739" y="6142"/>
                  <a:pt x="10739" y="6682"/>
                  <a:pt x="10494" y="7222"/>
                </a:cubicBezTo>
                <a:cubicBezTo>
                  <a:pt x="9266" y="8572"/>
                  <a:pt x="9266" y="8572"/>
                  <a:pt x="9266" y="8572"/>
                </a:cubicBezTo>
                <a:cubicBezTo>
                  <a:pt x="10739" y="10192"/>
                  <a:pt x="10739" y="10192"/>
                  <a:pt x="10739" y="10192"/>
                </a:cubicBezTo>
                <a:cubicBezTo>
                  <a:pt x="18839" y="1282"/>
                  <a:pt x="18839" y="1282"/>
                  <a:pt x="18839" y="1282"/>
                </a:cubicBezTo>
                <a:cubicBezTo>
                  <a:pt x="19084" y="1012"/>
                  <a:pt x="19575" y="1012"/>
                  <a:pt x="19821" y="1012"/>
                </a:cubicBezTo>
                <a:cubicBezTo>
                  <a:pt x="20066" y="1012"/>
                  <a:pt x="20312" y="1552"/>
                  <a:pt x="20557" y="1822"/>
                </a:cubicBezTo>
                <a:cubicBezTo>
                  <a:pt x="21539" y="5332"/>
                  <a:pt x="20557" y="9112"/>
                  <a:pt x="18348" y="11542"/>
                </a:cubicBezTo>
                <a:cubicBezTo>
                  <a:pt x="14666" y="15592"/>
                  <a:pt x="11966" y="16132"/>
                  <a:pt x="11966" y="16132"/>
                </a:cubicBezTo>
                <a:cubicBezTo>
                  <a:pt x="11475" y="16132"/>
                  <a:pt x="10984" y="15862"/>
                  <a:pt x="10739" y="15322"/>
                </a:cubicBezTo>
                <a:cubicBezTo>
                  <a:pt x="10739" y="14782"/>
                  <a:pt x="10984" y="14242"/>
                  <a:pt x="11475" y="13972"/>
                </a:cubicBezTo>
                <a:cubicBezTo>
                  <a:pt x="11475" y="13972"/>
                  <a:pt x="13684" y="13432"/>
                  <a:pt x="16875" y="9922"/>
                </a:cubicBezTo>
                <a:cubicBezTo>
                  <a:pt x="18348" y="8572"/>
                  <a:pt x="19084" y="6412"/>
                  <a:pt x="18839" y="4252"/>
                </a:cubicBezTo>
                <a:cubicBezTo>
                  <a:pt x="3621" y="21262"/>
                  <a:pt x="3621" y="21262"/>
                  <a:pt x="3621" y="21262"/>
                </a:cubicBezTo>
                <a:cubicBezTo>
                  <a:pt x="3375" y="21532"/>
                  <a:pt x="3130" y="21532"/>
                  <a:pt x="2884" y="21532"/>
                </a:cubicBezTo>
                <a:close/>
              </a:path>
            </a:pathLst>
          </a:custGeom>
          <a:solidFill>
            <a:srgbClr val="FFFFFF"/>
          </a:solidFill>
          <a:ln w="12700">
            <a:miter lim="400000"/>
          </a:ln>
        </p:spPr>
        <p:txBody>
          <a:bodyPr lIns="0" tIns="0" rIns="0" bIns="0"/>
          <a:lstStyle/>
          <a:p>
            <a:endParaRPr/>
          </a:p>
        </p:txBody>
      </p:sp>
      <p:sp>
        <p:nvSpPr>
          <p:cNvPr id="769" name="Shape 769"/>
          <p:cNvSpPr/>
          <p:nvPr/>
        </p:nvSpPr>
        <p:spPr>
          <a:xfrm>
            <a:off x="11461254" y="4983464"/>
            <a:ext cx="267692" cy="317728"/>
          </a:xfrm>
          <a:custGeom>
            <a:avLst/>
            <a:gdLst/>
            <a:ahLst/>
            <a:cxnLst>
              <a:cxn ang="0">
                <a:pos x="wd2" y="hd2"/>
              </a:cxn>
              <a:cxn ang="5400000">
                <a:pos x="wd2" y="hd2"/>
              </a:cxn>
              <a:cxn ang="10800000">
                <a:pos x="wd2" y="hd2"/>
              </a:cxn>
              <a:cxn ang="16200000">
                <a:pos x="wd2" y="hd2"/>
              </a:cxn>
            </a:cxnLst>
            <a:rect l="0" t="0" r="r" b="b"/>
            <a:pathLst>
              <a:path w="21600" h="21600" extrusionOk="0">
                <a:moveTo>
                  <a:pt x="20520" y="21600"/>
                </a:moveTo>
                <a:cubicBezTo>
                  <a:pt x="10800" y="21600"/>
                  <a:pt x="10800" y="21600"/>
                  <a:pt x="10800" y="21600"/>
                </a:cubicBezTo>
                <a:cubicBezTo>
                  <a:pt x="10260" y="21600"/>
                  <a:pt x="9720" y="21150"/>
                  <a:pt x="9720" y="20700"/>
                </a:cubicBezTo>
                <a:cubicBezTo>
                  <a:pt x="9720" y="17100"/>
                  <a:pt x="9720" y="17100"/>
                  <a:pt x="9720" y="17100"/>
                </a:cubicBezTo>
                <a:cubicBezTo>
                  <a:pt x="9720" y="16650"/>
                  <a:pt x="10260" y="16200"/>
                  <a:pt x="10800" y="16200"/>
                </a:cubicBezTo>
                <a:cubicBezTo>
                  <a:pt x="20520" y="16200"/>
                  <a:pt x="20520" y="16200"/>
                  <a:pt x="20520" y="16200"/>
                </a:cubicBezTo>
                <a:cubicBezTo>
                  <a:pt x="21060" y="16200"/>
                  <a:pt x="21600" y="16650"/>
                  <a:pt x="21600" y="17100"/>
                </a:cubicBezTo>
                <a:cubicBezTo>
                  <a:pt x="21600" y="20700"/>
                  <a:pt x="21600" y="20700"/>
                  <a:pt x="21600" y="20700"/>
                </a:cubicBezTo>
                <a:cubicBezTo>
                  <a:pt x="21600" y="21150"/>
                  <a:pt x="21060" y="21600"/>
                  <a:pt x="20520" y="21600"/>
                </a:cubicBezTo>
                <a:close/>
                <a:moveTo>
                  <a:pt x="11880" y="19800"/>
                </a:moveTo>
                <a:cubicBezTo>
                  <a:pt x="19440" y="19800"/>
                  <a:pt x="19440" y="19800"/>
                  <a:pt x="19440" y="19800"/>
                </a:cubicBezTo>
                <a:cubicBezTo>
                  <a:pt x="19440" y="18000"/>
                  <a:pt x="19440" y="18000"/>
                  <a:pt x="19440" y="18000"/>
                </a:cubicBezTo>
                <a:cubicBezTo>
                  <a:pt x="11880" y="18000"/>
                  <a:pt x="11880" y="18000"/>
                  <a:pt x="11880" y="18000"/>
                </a:cubicBezTo>
                <a:lnTo>
                  <a:pt x="11880" y="19800"/>
                </a:lnTo>
                <a:close/>
                <a:moveTo>
                  <a:pt x="20520" y="14400"/>
                </a:moveTo>
                <a:cubicBezTo>
                  <a:pt x="1080" y="14400"/>
                  <a:pt x="1080" y="14400"/>
                  <a:pt x="1080" y="14400"/>
                </a:cubicBezTo>
                <a:cubicBezTo>
                  <a:pt x="540" y="14400"/>
                  <a:pt x="0" y="13950"/>
                  <a:pt x="0" y="13500"/>
                </a:cubicBezTo>
                <a:cubicBezTo>
                  <a:pt x="0" y="900"/>
                  <a:pt x="0" y="900"/>
                  <a:pt x="0" y="900"/>
                </a:cubicBezTo>
                <a:cubicBezTo>
                  <a:pt x="0" y="450"/>
                  <a:pt x="540" y="0"/>
                  <a:pt x="1080" y="0"/>
                </a:cubicBezTo>
                <a:cubicBezTo>
                  <a:pt x="20520" y="0"/>
                  <a:pt x="20520" y="0"/>
                  <a:pt x="20520" y="0"/>
                </a:cubicBezTo>
                <a:cubicBezTo>
                  <a:pt x="21060" y="0"/>
                  <a:pt x="21600" y="450"/>
                  <a:pt x="21600" y="900"/>
                </a:cubicBezTo>
                <a:cubicBezTo>
                  <a:pt x="21600" y="13500"/>
                  <a:pt x="21600" y="13500"/>
                  <a:pt x="21600" y="13500"/>
                </a:cubicBezTo>
                <a:cubicBezTo>
                  <a:pt x="21600" y="13950"/>
                  <a:pt x="21060" y="14400"/>
                  <a:pt x="20520" y="14400"/>
                </a:cubicBezTo>
                <a:close/>
                <a:moveTo>
                  <a:pt x="2160" y="12600"/>
                </a:moveTo>
                <a:cubicBezTo>
                  <a:pt x="19440" y="12600"/>
                  <a:pt x="19440" y="12600"/>
                  <a:pt x="19440" y="12600"/>
                </a:cubicBezTo>
                <a:cubicBezTo>
                  <a:pt x="19440" y="5400"/>
                  <a:pt x="19440" y="5400"/>
                  <a:pt x="19440" y="5400"/>
                </a:cubicBezTo>
                <a:cubicBezTo>
                  <a:pt x="2160" y="5400"/>
                  <a:pt x="2160" y="5400"/>
                  <a:pt x="2160" y="5400"/>
                </a:cubicBezTo>
                <a:lnTo>
                  <a:pt x="2160" y="12600"/>
                </a:lnTo>
                <a:close/>
                <a:moveTo>
                  <a:pt x="2160" y="3600"/>
                </a:moveTo>
                <a:cubicBezTo>
                  <a:pt x="19440" y="3600"/>
                  <a:pt x="19440" y="3600"/>
                  <a:pt x="19440" y="3600"/>
                </a:cubicBezTo>
                <a:cubicBezTo>
                  <a:pt x="19440" y="1800"/>
                  <a:pt x="19440" y="1800"/>
                  <a:pt x="19440" y="1800"/>
                </a:cubicBezTo>
                <a:cubicBezTo>
                  <a:pt x="2160" y="1800"/>
                  <a:pt x="2160" y="1800"/>
                  <a:pt x="2160" y="1800"/>
                </a:cubicBezTo>
                <a:lnTo>
                  <a:pt x="2160" y="3600"/>
                </a:lnTo>
                <a:close/>
              </a:path>
            </a:pathLst>
          </a:custGeom>
          <a:solidFill>
            <a:srgbClr val="FFFFFF"/>
          </a:solidFill>
          <a:ln w="12700">
            <a:miter lim="400000"/>
          </a:ln>
        </p:spPr>
        <p:txBody>
          <a:bodyPr lIns="0" tIns="0" rIns="0" bIns="0"/>
          <a:lstStyle/>
          <a:p>
            <a:endParaRPr/>
          </a:p>
        </p:txBody>
      </p:sp>
      <p:grpSp>
        <p:nvGrpSpPr>
          <p:cNvPr id="772" name="Group 772"/>
          <p:cNvGrpSpPr/>
          <p:nvPr/>
        </p:nvGrpSpPr>
        <p:grpSpPr>
          <a:xfrm>
            <a:off x="11461469" y="2698368"/>
            <a:ext cx="267262" cy="317544"/>
            <a:chOff x="0" y="0"/>
            <a:chExt cx="267261" cy="317543"/>
          </a:xfrm>
        </p:grpSpPr>
        <p:sp>
          <p:nvSpPr>
            <p:cNvPr id="770" name="Shape 770"/>
            <p:cNvSpPr/>
            <p:nvPr/>
          </p:nvSpPr>
          <p:spPr>
            <a:xfrm>
              <a:off x="0" y="0"/>
              <a:ext cx="267262" cy="277699"/>
            </a:xfrm>
            <a:custGeom>
              <a:avLst/>
              <a:gdLst/>
              <a:ahLst/>
              <a:cxnLst>
                <a:cxn ang="0">
                  <a:pos x="wd2" y="hd2"/>
                </a:cxn>
                <a:cxn ang="5400000">
                  <a:pos x="wd2" y="hd2"/>
                </a:cxn>
                <a:cxn ang="10800000">
                  <a:pos x="wd2" y="hd2"/>
                </a:cxn>
                <a:cxn ang="16200000">
                  <a:pos x="wd2" y="hd2"/>
                </a:cxn>
              </a:cxnLst>
              <a:rect l="0" t="0" r="r" b="b"/>
              <a:pathLst>
                <a:path w="21465" h="21600" extrusionOk="0">
                  <a:moveTo>
                    <a:pt x="20452" y="21600"/>
                  </a:moveTo>
                  <a:cubicBezTo>
                    <a:pt x="1012" y="21600"/>
                    <a:pt x="1012" y="21600"/>
                    <a:pt x="1012" y="21600"/>
                  </a:cubicBezTo>
                  <a:cubicBezTo>
                    <a:pt x="742" y="21600"/>
                    <a:pt x="202" y="21343"/>
                    <a:pt x="202" y="21086"/>
                  </a:cubicBezTo>
                  <a:cubicBezTo>
                    <a:pt x="-68" y="20829"/>
                    <a:pt x="-68" y="20314"/>
                    <a:pt x="202" y="20057"/>
                  </a:cubicBezTo>
                  <a:cubicBezTo>
                    <a:pt x="1282" y="18000"/>
                    <a:pt x="2092" y="15686"/>
                    <a:pt x="2092" y="13371"/>
                  </a:cubicBezTo>
                  <a:cubicBezTo>
                    <a:pt x="2092" y="8229"/>
                    <a:pt x="2092" y="8229"/>
                    <a:pt x="2092" y="8229"/>
                  </a:cubicBezTo>
                  <a:cubicBezTo>
                    <a:pt x="2092" y="3600"/>
                    <a:pt x="5872" y="0"/>
                    <a:pt x="10732" y="0"/>
                  </a:cubicBezTo>
                  <a:cubicBezTo>
                    <a:pt x="15592" y="0"/>
                    <a:pt x="19372" y="3600"/>
                    <a:pt x="19372" y="8229"/>
                  </a:cubicBezTo>
                  <a:cubicBezTo>
                    <a:pt x="19372" y="13371"/>
                    <a:pt x="19372" y="13371"/>
                    <a:pt x="19372" y="13371"/>
                  </a:cubicBezTo>
                  <a:cubicBezTo>
                    <a:pt x="19372" y="15686"/>
                    <a:pt x="20182" y="18000"/>
                    <a:pt x="21262" y="20057"/>
                  </a:cubicBezTo>
                  <a:cubicBezTo>
                    <a:pt x="21532" y="20314"/>
                    <a:pt x="21532" y="20829"/>
                    <a:pt x="21262" y="21086"/>
                  </a:cubicBezTo>
                  <a:cubicBezTo>
                    <a:pt x="21262" y="21343"/>
                    <a:pt x="20722" y="21600"/>
                    <a:pt x="20452" y="21600"/>
                  </a:cubicBezTo>
                  <a:close/>
                  <a:moveTo>
                    <a:pt x="2902" y="19543"/>
                  </a:moveTo>
                  <a:cubicBezTo>
                    <a:pt x="18562" y="19543"/>
                    <a:pt x="18562" y="19543"/>
                    <a:pt x="18562" y="19543"/>
                  </a:cubicBezTo>
                  <a:cubicBezTo>
                    <a:pt x="17752" y="17486"/>
                    <a:pt x="17212" y="15429"/>
                    <a:pt x="17212" y="13371"/>
                  </a:cubicBezTo>
                  <a:cubicBezTo>
                    <a:pt x="17212" y="8229"/>
                    <a:pt x="17212" y="8229"/>
                    <a:pt x="17212" y="8229"/>
                  </a:cubicBezTo>
                  <a:cubicBezTo>
                    <a:pt x="17212" y="4886"/>
                    <a:pt x="14242" y="2057"/>
                    <a:pt x="10732" y="2057"/>
                  </a:cubicBezTo>
                  <a:cubicBezTo>
                    <a:pt x="7222" y="2057"/>
                    <a:pt x="4252" y="4886"/>
                    <a:pt x="4252" y="8229"/>
                  </a:cubicBezTo>
                  <a:cubicBezTo>
                    <a:pt x="4252" y="13371"/>
                    <a:pt x="4252" y="13371"/>
                    <a:pt x="4252" y="13371"/>
                  </a:cubicBezTo>
                  <a:cubicBezTo>
                    <a:pt x="4252" y="15429"/>
                    <a:pt x="3712" y="17486"/>
                    <a:pt x="2902" y="19543"/>
                  </a:cubicBezTo>
                  <a:close/>
                </a:path>
              </a:pathLst>
            </a:custGeom>
            <a:solidFill>
              <a:srgbClr val="FFFFFF"/>
            </a:solidFill>
            <a:ln w="12700" cap="flat">
              <a:noFill/>
              <a:miter lim="400000"/>
            </a:ln>
            <a:effectLst/>
          </p:spPr>
          <p:txBody>
            <a:bodyPr wrap="square" lIns="0" tIns="0" rIns="0" bIns="0" numCol="1" anchor="t">
              <a:noAutofit/>
            </a:bodyPr>
            <a:lstStyle/>
            <a:p>
              <a:endParaRPr/>
            </a:p>
          </p:txBody>
        </p:sp>
        <p:sp>
          <p:nvSpPr>
            <p:cNvPr id="771" name="Shape 771"/>
            <p:cNvSpPr/>
            <p:nvPr/>
          </p:nvSpPr>
          <p:spPr>
            <a:xfrm>
              <a:off x="96729" y="291458"/>
              <a:ext cx="73803" cy="26086"/>
            </a:xfrm>
            <a:custGeom>
              <a:avLst/>
              <a:gdLst/>
              <a:ahLst/>
              <a:cxnLst>
                <a:cxn ang="0">
                  <a:pos x="wd2" y="hd2"/>
                </a:cxn>
                <a:cxn ang="5400000">
                  <a:pos x="wd2" y="hd2"/>
                </a:cxn>
                <a:cxn ang="10800000">
                  <a:pos x="wd2" y="hd2"/>
                </a:cxn>
                <a:cxn ang="16200000">
                  <a:pos x="wd2" y="hd2"/>
                </a:cxn>
              </a:cxnLst>
              <a:rect l="0" t="0" r="r" b="b"/>
              <a:pathLst>
                <a:path w="21600" h="17324" extrusionOk="0">
                  <a:moveTo>
                    <a:pt x="0" y="0"/>
                  </a:moveTo>
                  <a:cubicBezTo>
                    <a:pt x="1964" y="12960"/>
                    <a:pt x="8836" y="21600"/>
                    <a:pt x="14727" y="15120"/>
                  </a:cubicBezTo>
                  <a:cubicBezTo>
                    <a:pt x="17673" y="12960"/>
                    <a:pt x="20618" y="6480"/>
                    <a:pt x="21600" y="0"/>
                  </a:cubicBezTo>
                  <a:lnTo>
                    <a:pt x="0" y="0"/>
                  </a:lnTo>
                  <a:close/>
                </a:path>
              </a:pathLst>
            </a:custGeom>
            <a:solidFill>
              <a:srgbClr val="FFFFFF"/>
            </a:solidFill>
            <a:ln w="12700" cap="flat">
              <a:noFill/>
              <a:miter lim="400000"/>
            </a:ln>
            <a:effectLst/>
          </p:spPr>
          <p:txBody>
            <a:bodyPr wrap="square" lIns="0" tIns="0" rIns="0" bIns="0" numCol="1" anchor="t">
              <a:noAutofit/>
            </a:bodyPr>
            <a:lstStyle/>
            <a:p>
              <a:endParaRPr/>
            </a:p>
          </p:txBody>
        </p:sp>
      </p:grpSp>
      <p:grpSp>
        <p:nvGrpSpPr>
          <p:cNvPr id="775" name="Group 775"/>
          <p:cNvGrpSpPr/>
          <p:nvPr/>
        </p:nvGrpSpPr>
        <p:grpSpPr>
          <a:xfrm>
            <a:off x="11461253" y="6127639"/>
            <a:ext cx="267693" cy="317728"/>
            <a:chOff x="0" y="0"/>
            <a:chExt cx="267691" cy="317726"/>
          </a:xfrm>
        </p:grpSpPr>
        <p:sp>
          <p:nvSpPr>
            <p:cNvPr id="773" name="Shape 773"/>
            <p:cNvSpPr/>
            <p:nvPr/>
          </p:nvSpPr>
          <p:spPr>
            <a:xfrm>
              <a:off x="-1" y="0"/>
              <a:ext cx="267693" cy="317727"/>
            </a:xfrm>
            <a:custGeom>
              <a:avLst/>
              <a:gdLst/>
              <a:ahLst/>
              <a:cxnLst>
                <a:cxn ang="0">
                  <a:pos x="wd2" y="hd2"/>
                </a:cxn>
                <a:cxn ang="5400000">
                  <a:pos x="wd2" y="hd2"/>
                </a:cxn>
                <a:cxn ang="10800000">
                  <a:pos x="wd2" y="hd2"/>
                </a:cxn>
                <a:cxn ang="16200000">
                  <a:pos x="wd2" y="hd2"/>
                </a:cxn>
              </a:cxnLst>
              <a:rect l="0" t="0" r="r" b="b"/>
              <a:pathLst>
                <a:path w="21600" h="21600" extrusionOk="0">
                  <a:moveTo>
                    <a:pt x="20520" y="21600"/>
                  </a:moveTo>
                  <a:cubicBezTo>
                    <a:pt x="1080" y="21600"/>
                    <a:pt x="1080" y="21600"/>
                    <a:pt x="1080" y="21600"/>
                  </a:cubicBezTo>
                  <a:cubicBezTo>
                    <a:pt x="540" y="21600"/>
                    <a:pt x="0" y="21150"/>
                    <a:pt x="0" y="20700"/>
                  </a:cubicBezTo>
                  <a:cubicBezTo>
                    <a:pt x="0" y="900"/>
                    <a:pt x="0" y="900"/>
                    <a:pt x="0" y="900"/>
                  </a:cubicBezTo>
                  <a:cubicBezTo>
                    <a:pt x="0" y="450"/>
                    <a:pt x="540" y="0"/>
                    <a:pt x="1080" y="0"/>
                  </a:cubicBezTo>
                  <a:cubicBezTo>
                    <a:pt x="20520" y="0"/>
                    <a:pt x="20520" y="0"/>
                    <a:pt x="20520" y="0"/>
                  </a:cubicBezTo>
                  <a:cubicBezTo>
                    <a:pt x="21060" y="0"/>
                    <a:pt x="21600" y="450"/>
                    <a:pt x="21600" y="900"/>
                  </a:cubicBezTo>
                  <a:cubicBezTo>
                    <a:pt x="21600" y="20700"/>
                    <a:pt x="21600" y="20700"/>
                    <a:pt x="21600" y="20700"/>
                  </a:cubicBezTo>
                  <a:cubicBezTo>
                    <a:pt x="21600" y="21150"/>
                    <a:pt x="21060" y="21600"/>
                    <a:pt x="20520" y="21600"/>
                  </a:cubicBezTo>
                  <a:close/>
                  <a:moveTo>
                    <a:pt x="2160" y="19800"/>
                  </a:moveTo>
                  <a:cubicBezTo>
                    <a:pt x="19440" y="19800"/>
                    <a:pt x="19440" y="19800"/>
                    <a:pt x="19440" y="19800"/>
                  </a:cubicBezTo>
                  <a:cubicBezTo>
                    <a:pt x="19440" y="1800"/>
                    <a:pt x="19440" y="1800"/>
                    <a:pt x="19440" y="1800"/>
                  </a:cubicBezTo>
                  <a:cubicBezTo>
                    <a:pt x="2160" y="1800"/>
                    <a:pt x="2160" y="1800"/>
                    <a:pt x="2160" y="1800"/>
                  </a:cubicBezTo>
                  <a:lnTo>
                    <a:pt x="2160" y="19800"/>
                  </a:lnTo>
                  <a:close/>
                  <a:moveTo>
                    <a:pt x="10800" y="18000"/>
                  </a:moveTo>
                  <a:cubicBezTo>
                    <a:pt x="10260" y="18000"/>
                    <a:pt x="9720" y="17550"/>
                    <a:pt x="9720" y="17100"/>
                  </a:cubicBezTo>
                  <a:cubicBezTo>
                    <a:pt x="9720" y="4500"/>
                    <a:pt x="9720" y="4500"/>
                    <a:pt x="9720" y="4500"/>
                  </a:cubicBezTo>
                  <a:cubicBezTo>
                    <a:pt x="9720" y="4050"/>
                    <a:pt x="10260" y="3600"/>
                    <a:pt x="10800" y="3600"/>
                  </a:cubicBezTo>
                  <a:cubicBezTo>
                    <a:pt x="11340" y="3600"/>
                    <a:pt x="11880" y="4050"/>
                    <a:pt x="11880" y="4500"/>
                  </a:cubicBezTo>
                  <a:cubicBezTo>
                    <a:pt x="11880" y="17100"/>
                    <a:pt x="11880" y="17100"/>
                    <a:pt x="11880" y="17100"/>
                  </a:cubicBezTo>
                  <a:cubicBezTo>
                    <a:pt x="11880" y="17550"/>
                    <a:pt x="11340" y="18000"/>
                    <a:pt x="10800" y="18000"/>
                  </a:cubicBezTo>
                  <a:close/>
                </a:path>
              </a:pathLst>
            </a:custGeom>
            <a:solidFill>
              <a:srgbClr val="FFFFFF"/>
            </a:solidFill>
            <a:ln w="12700" cap="flat">
              <a:noFill/>
              <a:miter lim="400000"/>
            </a:ln>
            <a:effectLst/>
          </p:spPr>
          <p:txBody>
            <a:bodyPr wrap="square" lIns="0" tIns="0" rIns="0" bIns="0" numCol="1" anchor="t">
              <a:noAutofit/>
            </a:bodyPr>
            <a:lstStyle/>
            <a:p>
              <a:endParaRPr/>
            </a:p>
          </p:txBody>
        </p:sp>
        <p:sp>
          <p:nvSpPr>
            <p:cNvPr id="774" name="Shape 774"/>
            <p:cNvSpPr/>
            <p:nvPr/>
          </p:nvSpPr>
          <p:spPr>
            <a:xfrm>
              <a:off x="69568" y="72140"/>
              <a:ext cx="122374" cy="166781"/>
            </a:xfrm>
            <a:custGeom>
              <a:avLst/>
              <a:gdLst/>
              <a:ahLst/>
              <a:cxnLst>
                <a:cxn ang="0">
                  <a:pos x="wd2" y="hd2"/>
                </a:cxn>
                <a:cxn ang="5400000">
                  <a:pos x="wd2" y="hd2"/>
                </a:cxn>
                <a:cxn ang="10800000">
                  <a:pos x="wd2" y="hd2"/>
                </a:cxn>
                <a:cxn ang="16200000">
                  <a:pos x="wd2" y="hd2"/>
                </a:cxn>
              </a:cxnLst>
              <a:rect l="0" t="0" r="r" b="b"/>
              <a:pathLst>
                <a:path w="20922" h="20869" extrusionOk="0">
                  <a:moveTo>
                    <a:pt x="10455" y="20869"/>
                  </a:moveTo>
                  <a:cubicBezTo>
                    <a:pt x="7613" y="20869"/>
                    <a:pt x="4202" y="20038"/>
                    <a:pt x="1360" y="19623"/>
                  </a:cubicBezTo>
                  <a:cubicBezTo>
                    <a:pt x="223" y="19207"/>
                    <a:pt x="-345" y="17961"/>
                    <a:pt x="223" y="17131"/>
                  </a:cubicBezTo>
                  <a:cubicBezTo>
                    <a:pt x="223" y="16300"/>
                    <a:pt x="1929" y="15884"/>
                    <a:pt x="3066" y="16300"/>
                  </a:cubicBezTo>
                  <a:cubicBezTo>
                    <a:pt x="7613" y="17546"/>
                    <a:pt x="12729" y="17961"/>
                    <a:pt x="15002" y="16715"/>
                  </a:cubicBezTo>
                  <a:cubicBezTo>
                    <a:pt x="15571" y="16300"/>
                    <a:pt x="16139" y="15884"/>
                    <a:pt x="16139" y="14638"/>
                  </a:cubicBezTo>
                  <a:cubicBezTo>
                    <a:pt x="16139" y="13392"/>
                    <a:pt x="14434" y="12977"/>
                    <a:pt x="10455" y="12146"/>
                  </a:cubicBezTo>
                  <a:cubicBezTo>
                    <a:pt x="6476" y="10900"/>
                    <a:pt x="1360" y="9654"/>
                    <a:pt x="1360" y="5500"/>
                  </a:cubicBezTo>
                  <a:cubicBezTo>
                    <a:pt x="1360" y="3423"/>
                    <a:pt x="2497" y="1761"/>
                    <a:pt x="4771" y="931"/>
                  </a:cubicBezTo>
                  <a:cubicBezTo>
                    <a:pt x="9318" y="-731"/>
                    <a:pt x="16708" y="100"/>
                    <a:pt x="20118" y="1346"/>
                  </a:cubicBezTo>
                  <a:cubicBezTo>
                    <a:pt x="20687" y="1761"/>
                    <a:pt x="21255" y="3007"/>
                    <a:pt x="20687" y="3838"/>
                  </a:cubicBezTo>
                  <a:cubicBezTo>
                    <a:pt x="20118" y="4669"/>
                    <a:pt x="18981" y="4669"/>
                    <a:pt x="17844" y="4254"/>
                  </a:cubicBezTo>
                  <a:cubicBezTo>
                    <a:pt x="15571" y="3423"/>
                    <a:pt x="9887" y="2592"/>
                    <a:pt x="7044" y="3838"/>
                  </a:cubicBezTo>
                  <a:cubicBezTo>
                    <a:pt x="5908" y="4254"/>
                    <a:pt x="5908" y="4669"/>
                    <a:pt x="5908" y="5500"/>
                  </a:cubicBezTo>
                  <a:cubicBezTo>
                    <a:pt x="5908" y="7161"/>
                    <a:pt x="7613" y="7992"/>
                    <a:pt x="12160" y="8823"/>
                  </a:cubicBezTo>
                  <a:cubicBezTo>
                    <a:pt x="15571" y="9654"/>
                    <a:pt x="20687" y="10900"/>
                    <a:pt x="20687" y="14638"/>
                  </a:cubicBezTo>
                  <a:cubicBezTo>
                    <a:pt x="20687" y="17131"/>
                    <a:pt x="18981" y="18792"/>
                    <a:pt x="17276" y="19623"/>
                  </a:cubicBezTo>
                  <a:cubicBezTo>
                    <a:pt x="15571" y="20454"/>
                    <a:pt x="13297" y="20869"/>
                    <a:pt x="10455" y="20869"/>
                  </a:cubicBezTo>
                  <a:close/>
                </a:path>
              </a:pathLst>
            </a:custGeom>
            <a:solidFill>
              <a:srgbClr val="FFFFFF"/>
            </a:solidFill>
            <a:ln w="12700" cap="flat">
              <a:noFill/>
              <a:miter lim="400000"/>
            </a:ln>
            <a:effectLst/>
          </p:spPr>
          <p:txBody>
            <a:bodyPr wrap="square" lIns="0" tIns="0" rIns="0" bIns="0" numCol="1" anchor="t">
              <a:noAutofit/>
            </a:bodyPr>
            <a:lstStyle/>
            <a:p>
              <a:endParaRPr/>
            </a:p>
          </p:txBody>
        </p:sp>
      </p:grpSp>
      <p:grpSp>
        <p:nvGrpSpPr>
          <p:cNvPr id="778" name="Group 778"/>
          <p:cNvGrpSpPr/>
          <p:nvPr/>
        </p:nvGrpSpPr>
        <p:grpSpPr>
          <a:xfrm>
            <a:off x="11434985" y="424645"/>
            <a:ext cx="320230" cy="292710"/>
            <a:chOff x="0" y="0"/>
            <a:chExt cx="320229" cy="292709"/>
          </a:xfrm>
        </p:grpSpPr>
        <p:sp>
          <p:nvSpPr>
            <p:cNvPr id="776" name="Shape 776"/>
            <p:cNvSpPr/>
            <p:nvPr/>
          </p:nvSpPr>
          <p:spPr>
            <a:xfrm>
              <a:off x="-1" y="-1"/>
              <a:ext cx="320231" cy="292710"/>
            </a:xfrm>
            <a:custGeom>
              <a:avLst/>
              <a:gdLst/>
              <a:ahLst/>
              <a:cxnLst>
                <a:cxn ang="0">
                  <a:pos x="wd2" y="hd2"/>
                </a:cxn>
                <a:cxn ang="5400000">
                  <a:pos x="wd2" y="hd2"/>
                </a:cxn>
                <a:cxn ang="10800000">
                  <a:pos x="wd2" y="hd2"/>
                </a:cxn>
                <a:cxn ang="16200000">
                  <a:pos x="wd2" y="hd2"/>
                </a:cxn>
              </a:cxnLst>
              <a:rect l="0" t="0" r="r" b="b"/>
              <a:pathLst>
                <a:path w="21600" h="21600" extrusionOk="0">
                  <a:moveTo>
                    <a:pt x="18900" y="21600"/>
                  </a:moveTo>
                  <a:cubicBezTo>
                    <a:pt x="14400" y="21600"/>
                    <a:pt x="14400" y="21600"/>
                    <a:pt x="14400" y="21600"/>
                  </a:cubicBezTo>
                  <a:cubicBezTo>
                    <a:pt x="13950" y="21600"/>
                    <a:pt x="13500" y="21109"/>
                    <a:pt x="13500" y="20618"/>
                  </a:cubicBezTo>
                  <a:cubicBezTo>
                    <a:pt x="13500" y="20127"/>
                    <a:pt x="13950" y="19636"/>
                    <a:pt x="14400" y="19636"/>
                  </a:cubicBezTo>
                  <a:cubicBezTo>
                    <a:pt x="18900" y="19636"/>
                    <a:pt x="18900" y="19636"/>
                    <a:pt x="18900" y="19636"/>
                  </a:cubicBezTo>
                  <a:cubicBezTo>
                    <a:pt x="19350" y="19636"/>
                    <a:pt x="19800" y="19145"/>
                    <a:pt x="19800" y="18655"/>
                  </a:cubicBezTo>
                  <a:cubicBezTo>
                    <a:pt x="19800" y="5891"/>
                    <a:pt x="19800" y="5891"/>
                    <a:pt x="19800" y="5891"/>
                  </a:cubicBezTo>
                  <a:cubicBezTo>
                    <a:pt x="10800" y="5891"/>
                    <a:pt x="10800" y="5891"/>
                    <a:pt x="10800" y="5891"/>
                  </a:cubicBezTo>
                  <a:cubicBezTo>
                    <a:pt x="10575" y="5891"/>
                    <a:pt x="10350" y="5645"/>
                    <a:pt x="10125" y="5400"/>
                  </a:cubicBezTo>
                  <a:cubicBezTo>
                    <a:pt x="7650" y="1964"/>
                    <a:pt x="7650" y="1964"/>
                    <a:pt x="7650" y="1964"/>
                  </a:cubicBezTo>
                  <a:cubicBezTo>
                    <a:pt x="1800" y="1964"/>
                    <a:pt x="1800" y="1964"/>
                    <a:pt x="1800" y="1964"/>
                  </a:cubicBezTo>
                  <a:cubicBezTo>
                    <a:pt x="1800" y="18655"/>
                    <a:pt x="1800" y="18655"/>
                    <a:pt x="1800" y="18655"/>
                  </a:cubicBezTo>
                  <a:cubicBezTo>
                    <a:pt x="1800" y="19145"/>
                    <a:pt x="2250" y="19636"/>
                    <a:pt x="2700" y="19636"/>
                  </a:cubicBezTo>
                  <a:cubicBezTo>
                    <a:pt x="3600" y="19636"/>
                    <a:pt x="3600" y="19636"/>
                    <a:pt x="3600" y="19636"/>
                  </a:cubicBezTo>
                  <a:cubicBezTo>
                    <a:pt x="4050" y="19636"/>
                    <a:pt x="4500" y="20127"/>
                    <a:pt x="4500" y="20618"/>
                  </a:cubicBezTo>
                  <a:cubicBezTo>
                    <a:pt x="4500" y="21109"/>
                    <a:pt x="4050" y="21600"/>
                    <a:pt x="3600" y="21600"/>
                  </a:cubicBezTo>
                  <a:cubicBezTo>
                    <a:pt x="2700" y="21600"/>
                    <a:pt x="2700" y="21600"/>
                    <a:pt x="2700" y="21600"/>
                  </a:cubicBezTo>
                  <a:cubicBezTo>
                    <a:pt x="1125" y="21600"/>
                    <a:pt x="0" y="20373"/>
                    <a:pt x="0" y="18655"/>
                  </a:cubicBezTo>
                  <a:cubicBezTo>
                    <a:pt x="0" y="982"/>
                    <a:pt x="0" y="982"/>
                    <a:pt x="0" y="982"/>
                  </a:cubicBezTo>
                  <a:cubicBezTo>
                    <a:pt x="0" y="491"/>
                    <a:pt x="450" y="0"/>
                    <a:pt x="900" y="0"/>
                  </a:cubicBezTo>
                  <a:cubicBezTo>
                    <a:pt x="8100" y="0"/>
                    <a:pt x="8100" y="0"/>
                    <a:pt x="8100" y="0"/>
                  </a:cubicBezTo>
                  <a:cubicBezTo>
                    <a:pt x="8325" y="0"/>
                    <a:pt x="8550" y="245"/>
                    <a:pt x="8775" y="491"/>
                  </a:cubicBezTo>
                  <a:cubicBezTo>
                    <a:pt x="11250" y="3927"/>
                    <a:pt x="11250" y="3927"/>
                    <a:pt x="11250" y="3927"/>
                  </a:cubicBezTo>
                  <a:cubicBezTo>
                    <a:pt x="20700" y="3927"/>
                    <a:pt x="20700" y="3927"/>
                    <a:pt x="20700" y="3927"/>
                  </a:cubicBezTo>
                  <a:cubicBezTo>
                    <a:pt x="21150" y="3927"/>
                    <a:pt x="21600" y="4418"/>
                    <a:pt x="21600" y="4909"/>
                  </a:cubicBezTo>
                  <a:cubicBezTo>
                    <a:pt x="21600" y="18655"/>
                    <a:pt x="21600" y="18655"/>
                    <a:pt x="21600" y="18655"/>
                  </a:cubicBezTo>
                  <a:cubicBezTo>
                    <a:pt x="21600" y="20373"/>
                    <a:pt x="20475" y="21600"/>
                    <a:pt x="18900" y="21600"/>
                  </a:cubicBezTo>
                  <a:close/>
                </a:path>
              </a:pathLst>
            </a:custGeom>
            <a:solidFill>
              <a:srgbClr val="FFFFFF"/>
            </a:solidFill>
            <a:ln w="12700" cap="flat">
              <a:noFill/>
              <a:miter lim="400000"/>
            </a:ln>
            <a:effectLst/>
          </p:spPr>
          <p:txBody>
            <a:bodyPr wrap="square" lIns="0" tIns="0" rIns="0" bIns="0" numCol="1" anchor="t">
              <a:noAutofit/>
            </a:bodyPr>
            <a:lstStyle/>
            <a:p>
              <a:endParaRPr/>
            </a:p>
          </p:txBody>
        </p:sp>
        <p:sp>
          <p:nvSpPr>
            <p:cNvPr id="777" name="Shape 777"/>
            <p:cNvSpPr/>
            <p:nvPr/>
          </p:nvSpPr>
          <p:spPr>
            <a:xfrm>
              <a:off x="93817" y="107157"/>
              <a:ext cx="185552" cy="185552"/>
            </a:xfrm>
            <a:custGeom>
              <a:avLst/>
              <a:gdLst/>
              <a:ahLst/>
              <a:cxnLst>
                <a:cxn ang="0">
                  <a:pos x="wd2" y="hd2"/>
                </a:cxn>
                <a:cxn ang="5400000">
                  <a:pos x="wd2" y="hd2"/>
                </a:cxn>
                <a:cxn ang="10800000">
                  <a:pos x="wd2" y="hd2"/>
                </a:cxn>
                <a:cxn ang="16200000">
                  <a:pos x="wd2" y="hd2"/>
                </a:cxn>
              </a:cxnLst>
              <a:rect l="0" t="0" r="r" b="b"/>
              <a:pathLst>
                <a:path w="21504" h="21504" extrusionOk="0">
                  <a:moveTo>
                    <a:pt x="1543" y="21504"/>
                  </a:moveTo>
                  <a:cubicBezTo>
                    <a:pt x="1157" y="21504"/>
                    <a:pt x="771" y="21504"/>
                    <a:pt x="386" y="21118"/>
                  </a:cubicBezTo>
                  <a:cubicBezTo>
                    <a:pt x="0" y="20733"/>
                    <a:pt x="0" y="19961"/>
                    <a:pt x="0" y="19575"/>
                  </a:cubicBezTo>
                  <a:cubicBezTo>
                    <a:pt x="1543" y="13404"/>
                    <a:pt x="1543" y="13404"/>
                    <a:pt x="1543" y="13404"/>
                  </a:cubicBezTo>
                  <a:cubicBezTo>
                    <a:pt x="1543" y="13018"/>
                    <a:pt x="1929" y="13018"/>
                    <a:pt x="1929" y="12633"/>
                  </a:cubicBezTo>
                  <a:cubicBezTo>
                    <a:pt x="14271" y="290"/>
                    <a:pt x="14271" y="290"/>
                    <a:pt x="14271" y="290"/>
                  </a:cubicBezTo>
                  <a:cubicBezTo>
                    <a:pt x="15043" y="-96"/>
                    <a:pt x="15814" y="-96"/>
                    <a:pt x="16586" y="290"/>
                  </a:cubicBezTo>
                  <a:cubicBezTo>
                    <a:pt x="21214" y="4918"/>
                    <a:pt x="21214" y="4918"/>
                    <a:pt x="21214" y="4918"/>
                  </a:cubicBezTo>
                  <a:cubicBezTo>
                    <a:pt x="21600" y="5690"/>
                    <a:pt x="21600" y="6461"/>
                    <a:pt x="21214" y="7233"/>
                  </a:cubicBezTo>
                  <a:cubicBezTo>
                    <a:pt x="8871" y="19575"/>
                    <a:pt x="8871" y="19575"/>
                    <a:pt x="8871" y="19575"/>
                  </a:cubicBezTo>
                  <a:cubicBezTo>
                    <a:pt x="8486" y="19575"/>
                    <a:pt x="8486" y="19961"/>
                    <a:pt x="8100" y="19961"/>
                  </a:cubicBezTo>
                  <a:cubicBezTo>
                    <a:pt x="1929" y="21504"/>
                    <a:pt x="1929" y="21504"/>
                    <a:pt x="1929" y="21504"/>
                  </a:cubicBezTo>
                  <a:cubicBezTo>
                    <a:pt x="1929" y="21504"/>
                    <a:pt x="1543" y="21504"/>
                    <a:pt x="1543" y="21504"/>
                  </a:cubicBezTo>
                  <a:close/>
                  <a:moveTo>
                    <a:pt x="7714" y="18418"/>
                  </a:moveTo>
                  <a:cubicBezTo>
                    <a:pt x="7714" y="18418"/>
                    <a:pt x="7714" y="18418"/>
                    <a:pt x="7714" y="18418"/>
                  </a:cubicBezTo>
                  <a:close/>
                  <a:moveTo>
                    <a:pt x="4629" y="14561"/>
                  </a:moveTo>
                  <a:cubicBezTo>
                    <a:pt x="3471" y="18033"/>
                    <a:pt x="3471" y="18033"/>
                    <a:pt x="3471" y="18033"/>
                  </a:cubicBezTo>
                  <a:cubicBezTo>
                    <a:pt x="6943" y="16875"/>
                    <a:pt x="6943" y="16875"/>
                    <a:pt x="6943" y="16875"/>
                  </a:cubicBezTo>
                  <a:cubicBezTo>
                    <a:pt x="17743" y="6075"/>
                    <a:pt x="17743" y="6075"/>
                    <a:pt x="17743" y="6075"/>
                  </a:cubicBezTo>
                  <a:cubicBezTo>
                    <a:pt x="15429" y="3761"/>
                    <a:pt x="15429" y="3761"/>
                    <a:pt x="15429" y="3761"/>
                  </a:cubicBezTo>
                  <a:lnTo>
                    <a:pt x="4629" y="14561"/>
                  </a:lnTo>
                  <a:close/>
                </a:path>
              </a:pathLst>
            </a:custGeom>
            <a:solidFill>
              <a:srgbClr val="FFFFFF"/>
            </a:solidFill>
            <a:ln w="12700" cap="flat">
              <a:noFill/>
              <a:miter lim="400000"/>
            </a:ln>
            <a:effectLst/>
          </p:spPr>
          <p:txBody>
            <a:bodyPr wrap="square" lIns="0" tIns="0" rIns="0" bIns="0" numCol="1" anchor="t">
              <a:noAutofit/>
            </a:bodyPr>
            <a:lstStyle/>
            <a:p>
              <a:endParaRPr/>
            </a:p>
          </p:txBody>
        </p:sp>
      </p:grpSp>
      <p:sp>
        <p:nvSpPr>
          <p:cNvPr id="779" name="Shape 779"/>
          <p:cNvSpPr/>
          <p:nvPr/>
        </p:nvSpPr>
        <p:spPr>
          <a:xfrm>
            <a:off x="11443117" y="3855341"/>
            <a:ext cx="303968" cy="290350"/>
          </a:xfrm>
          <a:custGeom>
            <a:avLst/>
            <a:gdLst/>
            <a:ahLst/>
            <a:cxnLst>
              <a:cxn ang="0">
                <a:pos x="wd2" y="hd2"/>
              </a:cxn>
              <a:cxn ang="5400000">
                <a:pos x="wd2" y="hd2"/>
              </a:cxn>
              <a:cxn ang="10800000">
                <a:pos x="wd2" y="hd2"/>
              </a:cxn>
              <a:cxn ang="16200000">
                <a:pos x="wd2" y="hd2"/>
              </a:cxn>
            </a:cxnLst>
            <a:rect l="0" t="0" r="r" b="b"/>
            <a:pathLst>
              <a:path w="21600" h="21426" extrusionOk="0">
                <a:moveTo>
                  <a:pt x="20700" y="21426"/>
                </a:moveTo>
                <a:cubicBezTo>
                  <a:pt x="900" y="21426"/>
                  <a:pt x="900" y="21426"/>
                  <a:pt x="900" y="21426"/>
                </a:cubicBezTo>
                <a:cubicBezTo>
                  <a:pt x="450" y="21426"/>
                  <a:pt x="0" y="20961"/>
                  <a:pt x="0" y="20497"/>
                </a:cubicBezTo>
                <a:cubicBezTo>
                  <a:pt x="0" y="18174"/>
                  <a:pt x="0" y="18174"/>
                  <a:pt x="0" y="18174"/>
                </a:cubicBezTo>
                <a:cubicBezTo>
                  <a:pt x="0" y="16781"/>
                  <a:pt x="900" y="15852"/>
                  <a:pt x="2025" y="15387"/>
                </a:cubicBezTo>
                <a:cubicBezTo>
                  <a:pt x="3375" y="15155"/>
                  <a:pt x="6300" y="14226"/>
                  <a:pt x="6975" y="14226"/>
                </a:cubicBezTo>
                <a:cubicBezTo>
                  <a:pt x="7650" y="13994"/>
                  <a:pt x="7875" y="13529"/>
                  <a:pt x="7875" y="13529"/>
                </a:cubicBezTo>
                <a:cubicBezTo>
                  <a:pt x="8100" y="12600"/>
                  <a:pt x="7875" y="12136"/>
                  <a:pt x="7650" y="11903"/>
                </a:cubicBezTo>
                <a:cubicBezTo>
                  <a:pt x="6300" y="10974"/>
                  <a:pt x="5400" y="9349"/>
                  <a:pt x="5400" y="7491"/>
                </a:cubicBezTo>
                <a:cubicBezTo>
                  <a:pt x="5400" y="5632"/>
                  <a:pt x="5400" y="5632"/>
                  <a:pt x="5400" y="5632"/>
                </a:cubicBezTo>
                <a:cubicBezTo>
                  <a:pt x="5400" y="4007"/>
                  <a:pt x="6075" y="2613"/>
                  <a:pt x="7200" y="1452"/>
                </a:cubicBezTo>
                <a:cubicBezTo>
                  <a:pt x="8325" y="291"/>
                  <a:pt x="9900" y="-174"/>
                  <a:pt x="11250" y="58"/>
                </a:cubicBezTo>
                <a:cubicBezTo>
                  <a:pt x="14175" y="291"/>
                  <a:pt x="16200" y="2845"/>
                  <a:pt x="16200" y="5865"/>
                </a:cubicBezTo>
                <a:cubicBezTo>
                  <a:pt x="16200" y="7491"/>
                  <a:pt x="16200" y="7491"/>
                  <a:pt x="16200" y="7491"/>
                </a:cubicBezTo>
                <a:cubicBezTo>
                  <a:pt x="16200" y="9349"/>
                  <a:pt x="15525" y="10974"/>
                  <a:pt x="13950" y="11903"/>
                </a:cubicBezTo>
                <a:cubicBezTo>
                  <a:pt x="13725" y="12136"/>
                  <a:pt x="13500" y="12368"/>
                  <a:pt x="13725" y="13297"/>
                </a:cubicBezTo>
                <a:cubicBezTo>
                  <a:pt x="13950" y="13761"/>
                  <a:pt x="14175" y="13994"/>
                  <a:pt x="14625" y="14226"/>
                </a:cubicBezTo>
                <a:cubicBezTo>
                  <a:pt x="14625" y="14226"/>
                  <a:pt x="14850" y="14226"/>
                  <a:pt x="14850" y="14226"/>
                </a:cubicBezTo>
                <a:cubicBezTo>
                  <a:pt x="15075" y="14226"/>
                  <a:pt x="15975" y="14458"/>
                  <a:pt x="16650" y="14691"/>
                </a:cubicBezTo>
                <a:cubicBezTo>
                  <a:pt x="17775" y="14923"/>
                  <a:pt x="18675" y="15387"/>
                  <a:pt x="19575" y="15620"/>
                </a:cubicBezTo>
                <a:cubicBezTo>
                  <a:pt x="20700" y="15852"/>
                  <a:pt x="21600" y="17013"/>
                  <a:pt x="21600" y="18174"/>
                </a:cubicBezTo>
                <a:cubicBezTo>
                  <a:pt x="21600" y="20497"/>
                  <a:pt x="21600" y="20497"/>
                  <a:pt x="21600" y="20497"/>
                </a:cubicBezTo>
                <a:cubicBezTo>
                  <a:pt x="21600" y="20961"/>
                  <a:pt x="21150" y="21426"/>
                  <a:pt x="20700" y="21426"/>
                </a:cubicBezTo>
                <a:close/>
                <a:moveTo>
                  <a:pt x="1800" y="19568"/>
                </a:moveTo>
                <a:cubicBezTo>
                  <a:pt x="19800" y="19568"/>
                  <a:pt x="19800" y="19568"/>
                  <a:pt x="19800" y="19568"/>
                </a:cubicBezTo>
                <a:cubicBezTo>
                  <a:pt x="19800" y="18174"/>
                  <a:pt x="19800" y="18174"/>
                  <a:pt x="19800" y="18174"/>
                </a:cubicBezTo>
                <a:cubicBezTo>
                  <a:pt x="19800" y="17710"/>
                  <a:pt x="19575" y="17478"/>
                  <a:pt x="19125" y="17245"/>
                </a:cubicBezTo>
                <a:cubicBezTo>
                  <a:pt x="19125" y="17245"/>
                  <a:pt x="19125" y="17245"/>
                  <a:pt x="19125" y="17245"/>
                </a:cubicBezTo>
                <a:cubicBezTo>
                  <a:pt x="18225" y="17013"/>
                  <a:pt x="17325" y="16781"/>
                  <a:pt x="16200" y="16549"/>
                </a:cubicBezTo>
                <a:cubicBezTo>
                  <a:pt x="15300" y="16316"/>
                  <a:pt x="14625" y="16084"/>
                  <a:pt x="14175" y="16084"/>
                </a:cubicBezTo>
                <a:cubicBezTo>
                  <a:pt x="13050" y="15620"/>
                  <a:pt x="12375" y="14923"/>
                  <a:pt x="11925" y="13994"/>
                </a:cubicBezTo>
                <a:cubicBezTo>
                  <a:pt x="11700" y="12368"/>
                  <a:pt x="11925" y="11207"/>
                  <a:pt x="13050" y="10510"/>
                </a:cubicBezTo>
                <a:cubicBezTo>
                  <a:pt x="13950" y="9813"/>
                  <a:pt x="14400" y="8652"/>
                  <a:pt x="14400" y="7491"/>
                </a:cubicBezTo>
                <a:cubicBezTo>
                  <a:pt x="14400" y="5865"/>
                  <a:pt x="14400" y="5865"/>
                  <a:pt x="14400" y="5865"/>
                </a:cubicBezTo>
                <a:cubicBezTo>
                  <a:pt x="14400" y="3774"/>
                  <a:pt x="13050" y="2149"/>
                  <a:pt x="11250" y="1916"/>
                </a:cubicBezTo>
                <a:cubicBezTo>
                  <a:pt x="10125" y="1916"/>
                  <a:pt x="9225" y="2149"/>
                  <a:pt x="8325" y="2845"/>
                </a:cubicBezTo>
                <a:cubicBezTo>
                  <a:pt x="7650" y="3542"/>
                  <a:pt x="7200" y="4471"/>
                  <a:pt x="7200" y="5632"/>
                </a:cubicBezTo>
                <a:cubicBezTo>
                  <a:pt x="7200" y="7491"/>
                  <a:pt x="7200" y="7491"/>
                  <a:pt x="7200" y="7491"/>
                </a:cubicBezTo>
                <a:cubicBezTo>
                  <a:pt x="7200" y="8652"/>
                  <a:pt x="7650" y="9813"/>
                  <a:pt x="8550" y="10510"/>
                </a:cubicBezTo>
                <a:cubicBezTo>
                  <a:pt x="9450" y="10974"/>
                  <a:pt x="10125" y="12136"/>
                  <a:pt x="9675" y="13994"/>
                </a:cubicBezTo>
                <a:cubicBezTo>
                  <a:pt x="9450" y="14923"/>
                  <a:pt x="8550" y="15620"/>
                  <a:pt x="7200" y="16084"/>
                </a:cubicBezTo>
                <a:cubicBezTo>
                  <a:pt x="6750" y="16084"/>
                  <a:pt x="4275" y="16781"/>
                  <a:pt x="2475" y="17245"/>
                </a:cubicBezTo>
                <a:cubicBezTo>
                  <a:pt x="2025" y="17478"/>
                  <a:pt x="1800" y="17710"/>
                  <a:pt x="1800" y="18174"/>
                </a:cubicBezTo>
                <a:lnTo>
                  <a:pt x="1800" y="19568"/>
                </a:lnTo>
                <a:close/>
              </a:path>
            </a:pathLst>
          </a:custGeom>
          <a:solidFill>
            <a:srgbClr val="FFFFFF"/>
          </a:solidFill>
          <a:ln w="12700">
            <a:miter lim="400000"/>
          </a:ln>
        </p:spPr>
        <p:txBody>
          <a:bodyPr lIns="0" tIns="0" rIns="0" bIns="0"/>
          <a:lstStyle/>
          <a:p>
            <a:endParaRPr/>
          </a:p>
        </p:txBody>
      </p:sp>
      <p:sp>
        <p:nvSpPr>
          <p:cNvPr id="780" name="Shape 780"/>
          <p:cNvSpPr/>
          <p:nvPr/>
        </p:nvSpPr>
        <p:spPr>
          <a:xfrm>
            <a:off x="11239500" y="1145869"/>
            <a:ext cx="711200" cy="1"/>
          </a:xfrm>
          <a:prstGeom prst="line">
            <a:avLst/>
          </a:prstGeom>
          <a:ln w="12700">
            <a:solidFill>
              <a:srgbClr val="009DE0"/>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781" name="Shape 781"/>
          <p:cNvSpPr/>
          <p:nvPr/>
        </p:nvSpPr>
        <p:spPr>
          <a:xfrm>
            <a:off x="11239500" y="2297641"/>
            <a:ext cx="711200" cy="1"/>
          </a:xfrm>
          <a:prstGeom prst="line">
            <a:avLst/>
          </a:prstGeom>
          <a:ln w="12700">
            <a:solidFill>
              <a:srgbClr val="009DE0"/>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782" name="Shape 782"/>
          <p:cNvSpPr/>
          <p:nvPr/>
        </p:nvSpPr>
        <p:spPr>
          <a:xfrm>
            <a:off x="11239500" y="3433550"/>
            <a:ext cx="711200" cy="1"/>
          </a:xfrm>
          <a:prstGeom prst="line">
            <a:avLst/>
          </a:prstGeom>
          <a:ln w="12700">
            <a:solidFill>
              <a:srgbClr val="009DE0"/>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783" name="Shape 783"/>
          <p:cNvSpPr/>
          <p:nvPr/>
        </p:nvSpPr>
        <p:spPr>
          <a:xfrm>
            <a:off x="11239500" y="4559336"/>
            <a:ext cx="711200" cy="1"/>
          </a:xfrm>
          <a:prstGeom prst="line">
            <a:avLst/>
          </a:prstGeom>
          <a:ln w="12700">
            <a:solidFill>
              <a:srgbClr val="009DE0"/>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784" name="Shape 784"/>
          <p:cNvSpPr/>
          <p:nvPr/>
        </p:nvSpPr>
        <p:spPr>
          <a:xfrm>
            <a:off x="11239500" y="5713824"/>
            <a:ext cx="711200" cy="1"/>
          </a:xfrm>
          <a:prstGeom prst="line">
            <a:avLst/>
          </a:prstGeom>
          <a:ln w="12700">
            <a:solidFill>
              <a:srgbClr val="009DE0"/>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785" name="Shape 785"/>
          <p:cNvSpPr/>
          <p:nvPr/>
        </p:nvSpPr>
        <p:spPr>
          <a:xfrm>
            <a:off x="482600" y="3069021"/>
            <a:ext cx="4533900" cy="9779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a:defRPr sz="1000">
                <a:solidFill>
                  <a:srgbClr val="FF2600"/>
                </a:solidFill>
              </a:defRPr>
            </a:pPr>
            <a:r>
              <a:t>These slides provide options to create a clickable navigation elements to jump to different sections of your presentation. To create clickable elements (and to remove this note) choose “Slide Master” from the “View” tab.</a:t>
            </a:r>
          </a:p>
          <a:p>
            <a:pPr>
              <a:defRPr sz="1000">
                <a:solidFill>
                  <a:srgbClr val="FF2600"/>
                </a:solidFill>
              </a:defRPr>
            </a:pPr>
            <a:endParaRPr/>
          </a:p>
          <a:p>
            <a:pPr>
              <a:defRPr sz="1000">
                <a:solidFill>
                  <a:srgbClr val="FF2600"/>
                </a:solidFill>
              </a:defRPr>
            </a:pPr>
            <a:r>
              <a:t>To create hyperlinks on the navigation elements, select the element and choose “Hyperlink” from the “Insert” tab. Then choose “Place in This Document” from the dialog box and select a slide.</a:t>
            </a:r>
          </a:p>
        </p:txBody>
      </p:sp>
      <p:sp>
        <p:nvSpPr>
          <p:cNvPr id="786" name="Shape 786"/>
          <p:cNvSpPr>
            <a:spLocks noGrp="1"/>
          </p:cNvSpPr>
          <p:nvPr>
            <p:ph type="body" sz="quarter" idx="13"/>
          </p:nvPr>
        </p:nvSpPr>
        <p:spPr>
          <a:xfrm>
            <a:off x="485775" y="806807"/>
            <a:ext cx="9509126" cy="318477"/>
          </a:xfrm>
          <a:prstGeom prst="rect">
            <a:avLst/>
          </a:prstGeom>
        </p:spPr>
        <p:txBody>
          <a:bodyPr/>
          <a:lstStyle>
            <a:lvl1pPr>
              <a:defRPr sz="2000" b="1">
                <a:solidFill>
                  <a:srgbClr val="002C77"/>
                </a:solidFill>
              </a:defRPr>
            </a:lvl1pPr>
          </a:lstStyle>
          <a:p>
            <a:r>
              <a:t> </a:t>
            </a:r>
          </a:p>
        </p:txBody>
      </p:sp>
      <p:sp>
        <p:nvSpPr>
          <p:cNvPr id="787" name="Shape 787"/>
          <p:cNvSpPr>
            <a:spLocks noGrp="1"/>
          </p:cNvSpPr>
          <p:nvPr>
            <p:ph type="title"/>
          </p:nvPr>
        </p:nvSpPr>
        <p:spPr>
          <a:xfrm>
            <a:off x="485776" y="361950"/>
            <a:ext cx="9509125" cy="504825"/>
          </a:xfrm>
          <a:prstGeom prst="rect">
            <a:avLst/>
          </a:prstGeom>
        </p:spPr>
        <p:txBody>
          <a:bodyPr>
            <a:normAutofit/>
          </a:bodyPr>
          <a:lstStyle/>
          <a:p>
            <a:r>
              <a:t>Texto del título</a:t>
            </a:r>
          </a:p>
        </p:txBody>
      </p:sp>
      <p:sp>
        <p:nvSpPr>
          <p:cNvPr id="788" name="Shape 788"/>
          <p:cNvSpPr>
            <a:spLocks noGrp="1"/>
          </p:cNvSpPr>
          <p:nvPr>
            <p:ph type="body" sz="quarter" idx="1"/>
          </p:nvPr>
        </p:nvSpPr>
        <p:spPr>
          <a:xfrm>
            <a:off x="6162923" y="6388100"/>
            <a:ext cx="4603751" cy="247650"/>
          </a:xfrm>
          <a:prstGeom prst="rect">
            <a:avLst/>
          </a:prstGeom>
        </p:spPr>
        <p:txBody>
          <a:bodyPr anchor="b">
            <a:normAutofit/>
          </a:bodyPr>
          <a:lstStyle>
            <a:lvl1pPr algn="r">
              <a:spcBef>
                <a:spcPts val="0"/>
              </a:spcBef>
              <a:defRPr sz="800"/>
            </a:lvl1pPr>
            <a:lvl2pPr marL="0" indent="457200" algn="r">
              <a:spcBef>
                <a:spcPts val="0"/>
              </a:spcBef>
              <a:buSzTx/>
              <a:buNone/>
              <a:defRPr sz="800"/>
            </a:lvl2pPr>
            <a:lvl3pPr marL="0" indent="914400" algn="r">
              <a:spcBef>
                <a:spcPts val="0"/>
              </a:spcBef>
              <a:buSzTx/>
              <a:buNone/>
              <a:defRPr sz="800"/>
            </a:lvl3pPr>
            <a:lvl4pPr marL="0" indent="1371600" algn="r">
              <a:spcBef>
                <a:spcPts val="0"/>
              </a:spcBef>
              <a:buSzTx/>
              <a:buNone/>
              <a:defRPr sz="800"/>
            </a:lvl4pPr>
            <a:lvl5pPr marL="0" indent="1828800" algn="r">
              <a:spcBef>
                <a:spcPts val="0"/>
              </a:spcBef>
              <a:buSzTx/>
              <a:buNone/>
              <a:defRPr sz="800"/>
            </a:lvl5pPr>
          </a:lstStyle>
          <a:p>
            <a:r>
              <a:t>Nivel de texto 1</a:t>
            </a:r>
          </a:p>
          <a:p>
            <a:pPr lvl="1"/>
            <a:r>
              <a:t>Nivel de texto 2</a:t>
            </a:r>
          </a:p>
          <a:p>
            <a:pPr lvl="2"/>
            <a:r>
              <a:t>Nivel de texto 3</a:t>
            </a:r>
          </a:p>
          <a:p>
            <a:pPr lvl="3"/>
            <a:r>
              <a:t>Nivel de texto 4</a:t>
            </a:r>
          </a:p>
          <a:p>
            <a:pPr lvl="4"/>
            <a:r>
              <a:t>Nivel de texto 5</a:t>
            </a:r>
          </a:p>
        </p:txBody>
      </p:sp>
      <p:sp>
        <p:nvSpPr>
          <p:cNvPr id="789" name="Shape 789"/>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extLst>
      <p:ext uri="{BB962C8B-B14F-4D97-AF65-F5344CB8AC3E}">
        <p14:creationId xmlns:p14="http://schemas.microsoft.com/office/powerpoint/2010/main" val="950589260"/>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x">
  <p:cSld name="Split callout photo">
    <p:bg>
      <p:bgPr>
        <a:solidFill>
          <a:srgbClr val="FFFFFF"/>
        </a:solidFill>
        <a:effectLst/>
      </p:bgPr>
    </p:bg>
    <p:spTree>
      <p:nvGrpSpPr>
        <p:cNvPr id="1" name=""/>
        <p:cNvGrpSpPr/>
        <p:nvPr/>
      </p:nvGrpSpPr>
      <p:grpSpPr>
        <a:xfrm>
          <a:off x="0" y="0"/>
          <a:ext cx="0" cy="0"/>
          <a:chOff x="0" y="0"/>
          <a:chExt cx="0" cy="0"/>
        </a:xfrm>
      </p:grpSpPr>
      <p:pic>
        <p:nvPicPr>
          <p:cNvPr id="144"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145" name="Shape 145"/>
          <p:cNvSpPr>
            <a:spLocks noGrp="1"/>
          </p:cNvSpPr>
          <p:nvPr>
            <p:ph type="pic" sz="half" idx="13"/>
          </p:nvPr>
        </p:nvSpPr>
        <p:spPr>
          <a:xfrm>
            <a:off x="8131175" y="0"/>
            <a:ext cx="4060825" cy="6858000"/>
          </a:xfrm>
          <a:prstGeom prst="rect">
            <a:avLst/>
          </a:prstGeom>
        </p:spPr>
        <p:txBody>
          <a:bodyPr lIns="91439" tIns="45719" rIns="91439" bIns="45719"/>
          <a:lstStyle/>
          <a:p>
            <a:endParaRPr/>
          </a:p>
        </p:txBody>
      </p:sp>
      <p:sp>
        <p:nvSpPr>
          <p:cNvPr id="146" name="Shape 146"/>
          <p:cNvSpPr>
            <a:spLocks noGrp="1"/>
          </p:cNvSpPr>
          <p:nvPr>
            <p:ph type="title"/>
          </p:nvPr>
        </p:nvSpPr>
        <p:spPr>
          <a:xfrm>
            <a:off x="457201" y="355600"/>
            <a:ext cx="7429501" cy="495300"/>
          </a:xfrm>
          <a:prstGeom prst="rect">
            <a:avLst/>
          </a:prstGeom>
        </p:spPr>
        <p:txBody>
          <a:bodyPr>
            <a:normAutofit/>
          </a:bodyPr>
          <a:lstStyle/>
          <a:p>
            <a:r>
              <a:t>Texto del título</a:t>
            </a:r>
          </a:p>
        </p:txBody>
      </p:sp>
      <p:sp>
        <p:nvSpPr>
          <p:cNvPr id="147" name="Shape 147"/>
          <p:cNvSpPr>
            <a:spLocks noGrp="1"/>
          </p:cNvSpPr>
          <p:nvPr>
            <p:ph type="body" sz="quarter" idx="1"/>
          </p:nvPr>
        </p:nvSpPr>
        <p:spPr>
          <a:xfrm>
            <a:off x="485776" y="806807"/>
            <a:ext cx="7400926" cy="318477"/>
          </a:xfrm>
          <a:prstGeom prst="rect">
            <a:avLst/>
          </a:prstGeom>
        </p:spPr>
        <p:txBody>
          <a:bodyPr>
            <a:normAutofit/>
          </a:bodyPr>
          <a:lstStyle>
            <a:lvl1pPr>
              <a:defRPr b="1">
                <a:solidFill>
                  <a:srgbClr val="002C77"/>
                </a:solidFill>
              </a:defRPr>
            </a:lvl1pPr>
            <a:lvl2pPr marL="0" indent="457200">
              <a:buSzTx/>
              <a:buNone/>
              <a:defRPr b="1">
                <a:solidFill>
                  <a:srgbClr val="002C77"/>
                </a:solidFill>
              </a:defRPr>
            </a:lvl2pPr>
            <a:lvl3pPr marL="0" indent="914400">
              <a:buSzTx/>
              <a:buNone/>
              <a:defRPr b="1">
                <a:solidFill>
                  <a:srgbClr val="002C77"/>
                </a:solidFill>
              </a:defRPr>
            </a:lvl3pPr>
            <a:lvl4pPr marL="0" indent="1371600">
              <a:buSzTx/>
              <a:buNone/>
              <a:defRPr b="1">
                <a:solidFill>
                  <a:srgbClr val="002C77"/>
                </a:solidFill>
              </a:defRPr>
            </a:lvl4pPr>
            <a:lvl5pPr marL="0" indent="1828800">
              <a:buSzTx/>
              <a:buNone/>
              <a:defRPr b="1">
                <a:solidFill>
                  <a:srgbClr val="002C77"/>
                </a:solidFill>
              </a:defRPr>
            </a:lvl5pPr>
          </a:lstStyle>
          <a:p>
            <a:r>
              <a:t>Nivel de texto 1</a:t>
            </a:r>
          </a:p>
          <a:p>
            <a:pPr lvl="1"/>
            <a:r>
              <a:t>Nivel de texto 2</a:t>
            </a:r>
          </a:p>
          <a:p>
            <a:pPr lvl="2"/>
            <a:r>
              <a:t>Nivel de texto 3</a:t>
            </a:r>
          </a:p>
          <a:p>
            <a:pPr lvl="3"/>
            <a:r>
              <a:t>Nivel de texto 4</a:t>
            </a:r>
          </a:p>
          <a:p>
            <a:pPr lvl="4"/>
            <a:r>
              <a:t>Nivel de texto 5</a:t>
            </a:r>
          </a:p>
        </p:txBody>
      </p:sp>
      <p:sp>
        <p:nvSpPr>
          <p:cNvPr id="148" name="Shape 148"/>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cSld>
  <p:clrMapOvr>
    <a:masterClrMapping/>
  </p:clrMapOvr>
  <p:transition spd="med"/>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tx">
  <p:cSld name="BACK PAGES">
    <p:spTree>
      <p:nvGrpSpPr>
        <p:cNvPr id="1" name=""/>
        <p:cNvGrpSpPr/>
        <p:nvPr/>
      </p:nvGrpSpPr>
      <p:grpSpPr>
        <a:xfrm>
          <a:off x="0" y="0"/>
          <a:ext cx="0" cy="0"/>
          <a:chOff x="0" y="0"/>
          <a:chExt cx="0" cy="0"/>
        </a:xfrm>
      </p:grpSpPr>
      <p:sp>
        <p:nvSpPr>
          <p:cNvPr id="796" name="Shape 796"/>
          <p:cNvSpPr/>
          <p:nvPr/>
        </p:nvSpPr>
        <p:spPr>
          <a:xfrm>
            <a:off x="374977" y="2577629"/>
            <a:ext cx="8483998" cy="1702744"/>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lvl1pPr>
              <a:defRPr sz="12000" b="1">
                <a:solidFill>
                  <a:srgbClr val="FFFFFF"/>
                </a:solidFill>
              </a:defRPr>
            </a:lvl1pPr>
          </a:lstStyle>
          <a:p>
            <a:r>
              <a:t>Back pages</a:t>
            </a:r>
          </a:p>
        </p:txBody>
      </p:sp>
      <p:sp>
        <p:nvSpPr>
          <p:cNvPr id="797" name="Shape 797"/>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2003339819"/>
      </p:ext>
    </p:extLst>
  </p:cSld>
  <p:clrMapOvr>
    <a:masterClrMapping/>
  </p:clrMapOvr>
  <p:transition spd="med"/>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tx">
  <p:cSld name="Back page">
    <p:bg>
      <p:bgPr>
        <a:solidFill>
          <a:srgbClr val="FFFFFF"/>
        </a:solidFill>
        <a:effectLst/>
      </p:bgPr>
    </p:bg>
    <p:spTree>
      <p:nvGrpSpPr>
        <p:cNvPr id="1" name=""/>
        <p:cNvGrpSpPr/>
        <p:nvPr/>
      </p:nvGrpSpPr>
      <p:grpSpPr>
        <a:xfrm>
          <a:off x="0" y="0"/>
          <a:ext cx="0" cy="0"/>
          <a:chOff x="0" y="0"/>
          <a:chExt cx="0" cy="0"/>
        </a:xfrm>
      </p:grpSpPr>
      <p:sp>
        <p:nvSpPr>
          <p:cNvPr id="804" name="Shape 804"/>
          <p:cNvSpPr/>
          <p:nvPr/>
        </p:nvSpPr>
        <p:spPr>
          <a:xfrm>
            <a:off x="485775" y="6207380"/>
            <a:ext cx="2493392" cy="2032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lvl1pPr>
              <a:defRPr sz="1400">
                <a:solidFill>
                  <a:srgbClr val="002C77"/>
                </a:solidFill>
              </a:defRPr>
            </a:lvl1pPr>
          </a:lstStyle>
          <a:p>
            <a:r>
              <a:t>A business of Marsh McLennan</a:t>
            </a:r>
          </a:p>
        </p:txBody>
      </p:sp>
      <p:pic>
        <p:nvPicPr>
          <p:cNvPr id="805" name="image7.png"/>
          <p:cNvPicPr>
            <a:picLocks noChangeAspect="1"/>
          </p:cNvPicPr>
          <p:nvPr/>
        </p:nvPicPr>
        <p:blipFill>
          <a:blip r:embed="rId2"/>
          <a:stretch>
            <a:fillRect/>
          </a:stretch>
        </p:blipFill>
        <p:spPr>
          <a:xfrm>
            <a:off x="453671" y="3257184"/>
            <a:ext cx="3816325" cy="343632"/>
          </a:xfrm>
          <a:prstGeom prst="rect">
            <a:avLst/>
          </a:prstGeom>
          <a:ln w="12700">
            <a:miter lim="400000"/>
          </a:ln>
        </p:spPr>
      </p:pic>
      <p:sp>
        <p:nvSpPr>
          <p:cNvPr id="806" name="Shape 806"/>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2862353965"/>
      </p:ext>
    </p:extLst>
  </p:cSld>
  <p:clrMapOvr>
    <a:masterClrMapping/>
  </p:clrMapOvr>
  <p:transition spd="med"/>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tx">
  <p:cSld name="Back page blue">
    <p:bg>
      <p:bgPr>
        <a:solidFill>
          <a:srgbClr val="002C77"/>
        </a:solidFill>
        <a:effectLst/>
      </p:bgPr>
    </p:bg>
    <p:spTree>
      <p:nvGrpSpPr>
        <p:cNvPr id="1" name=""/>
        <p:cNvGrpSpPr/>
        <p:nvPr/>
      </p:nvGrpSpPr>
      <p:grpSpPr>
        <a:xfrm>
          <a:off x="0" y="0"/>
          <a:ext cx="0" cy="0"/>
          <a:chOff x="0" y="0"/>
          <a:chExt cx="0" cy="0"/>
        </a:xfrm>
      </p:grpSpPr>
      <p:pic>
        <p:nvPicPr>
          <p:cNvPr id="813" name="image11.png"/>
          <p:cNvPicPr>
            <a:picLocks noChangeAspect="1"/>
          </p:cNvPicPr>
          <p:nvPr/>
        </p:nvPicPr>
        <p:blipFill>
          <a:blip r:embed="rId2"/>
          <a:stretch>
            <a:fillRect/>
          </a:stretch>
        </p:blipFill>
        <p:spPr>
          <a:xfrm>
            <a:off x="486802" y="2984401"/>
            <a:ext cx="2615184" cy="544831"/>
          </a:xfrm>
          <a:prstGeom prst="rect">
            <a:avLst/>
          </a:prstGeom>
          <a:ln w="12700">
            <a:miter lim="400000"/>
          </a:ln>
        </p:spPr>
      </p:pic>
      <p:sp>
        <p:nvSpPr>
          <p:cNvPr id="814" name="Shape 814"/>
          <p:cNvSpPr/>
          <p:nvPr/>
        </p:nvSpPr>
        <p:spPr>
          <a:xfrm>
            <a:off x="485775" y="6207380"/>
            <a:ext cx="2493392" cy="2032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lvl1pPr>
              <a:defRPr sz="1400">
                <a:solidFill>
                  <a:srgbClr val="FFFFFF"/>
                </a:solidFill>
              </a:defRPr>
            </a:lvl1pPr>
          </a:lstStyle>
          <a:p>
            <a:r>
              <a:t>A business of Marsh McLennan</a:t>
            </a:r>
          </a:p>
        </p:txBody>
      </p:sp>
      <p:sp>
        <p:nvSpPr>
          <p:cNvPr id="815" name="Shape 815"/>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461894641"/>
      </p:ext>
    </p:extLst>
  </p:cSld>
  <p:clrMapOvr>
    <a:masterClrMapping/>
  </p:clrMapOvr>
  <p:transition spd="med"/>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tx">
  <p:cSld name="Back page + disclaimer">
    <p:bg>
      <p:bgPr>
        <a:solidFill>
          <a:srgbClr val="FFFFFF"/>
        </a:solidFill>
        <a:effectLst/>
      </p:bgPr>
    </p:bg>
    <p:spTree>
      <p:nvGrpSpPr>
        <p:cNvPr id="1" name=""/>
        <p:cNvGrpSpPr/>
        <p:nvPr/>
      </p:nvGrpSpPr>
      <p:grpSpPr>
        <a:xfrm>
          <a:off x="0" y="0"/>
          <a:ext cx="0" cy="0"/>
          <a:chOff x="0" y="0"/>
          <a:chExt cx="0" cy="0"/>
        </a:xfrm>
      </p:grpSpPr>
      <p:pic>
        <p:nvPicPr>
          <p:cNvPr id="822" name="image2.png"/>
          <p:cNvPicPr>
            <a:picLocks noChangeAspect="1"/>
          </p:cNvPicPr>
          <p:nvPr/>
        </p:nvPicPr>
        <p:blipFill>
          <a:blip r:embed="rId2"/>
          <a:stretch>
            <a:fillRect/>
          </a:stretch>
        </p:blipFill>
        <p:spPr>
          <a:xfrm>
            <a:off x="486802" y="554728"/>
            <a:ext cx="1857072" cy="386891"/>
          </a:xfrm>
          <a:prstGeom prst="rect">
            <a:avLst/>
          </a:prstGeom>
          <a:ln w="12700">
            <a:miter lim="400000"/>
          </a:ln>
        </p:spPr>
      </p:pic>
      <p:sp>
        <p:nvSpPr>
          <p:cNvPr id="823" name="Shape 823"/>
          <p:cNvSpPr/>
          <p:nvPr/>
        </p:nvSpPr>
        <p:spPr>
          <a:xfrm>
            <a:off x="485775" y="6207380"/>
            <a:ext cx="2493392" cy="2032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lvl1pPr>
              <a:defRPr sz="1400">
                <a:solidFill>
                  <a:srgbClr val="002C77"/>
                </a:solidFill>
              </a:defRPr>
            </a:lvl1pPr>
          </a:lstStyle>
          <a:p>
            <a:r>
              <a:t>A business of Marsh McLennan</a:t>
            </a:r>
          </a:p>
        </p:txBody>
      </p:sp>
      <p:sp>
        <p:nvSpPr>
          <p:cNvPr id="824" name="Shape 824"/>
          <p:cNvSpPr>
            <a:spLocks noGrp="1"/>
          </p:cNvSpPr>
          <p:nvPr>
            <p:ph type="body" idx="1"/>
          </p:nvPr>
        </p:nvSpPr>
        <p:spPr>
          <a:xfrm>
            <a:off x="485775" y="1609725"/>
            <a:ext cx="11223625" cy="3703321"/>
          </a:xfrm>
          <a:prstGeom prst="rect">
            <a:avLst/>
          </a:prstGeom>
        </p:spPr>
        <p:txBody>
          <a:bodyPr>
            <a:normAutofit/>
          </a:bodyPr>
          <a:lstStyle>
            <a:lvl1pPr>
              <a:spcBef>
                <a:spcPts val="600"/>
              </a:spcBef>
              <a:defRPr sz="800">
                <a:solidFill>
                  <a:srgbClr val="002C77"/>
                </a:solidFill>
              </a:defRPr>
            </a:lvl1pPr>
            <a:lvl2pPr marL="123401" indent="-120226">
              <a:spcBef>
                <a:spcPts val="600"/>
              </a:spcBef>
              <a:defRPr sz="800">
                <a:solidFill>
                  <a:srgbClr val="002C77"/>
                </a:solidFill>
              </a:defRPr>
            </a:lvl2pPr>
            <a:lvl3pPr marL="381000" indent="-152400">
              <a:spcBef>
                <a:spcPts val="600"/>
              </a:spcBef>
              <a:defRPr sz="800">
                <a:solidFill>
                  <a:srgbClr val="002C77"/>
                </a:solidFill>
              </a:defRPr>
            </a:lvl3pPr>
            <a:lvl4pPr marL="609600" indent="-152400">
              <a:spcBef>
                <a:spcPts val="600"/>
              </a:spcBef>
              <a:defRPr sz="800">
                <a:solidFill>
                  <a:srgbClr val="002C77"/>
                </a:solidFill>
              </a:defRPr>
            </a:lvl4pPr>
            <a:lvl5pPr marL="838200" indent="-152400">
              <a:spcBef>
                <a:spcPts val="600"/>
              </a:spcBef>
              <a:defRPr sz="800">
                <a:solidFill>
                  <a:srgbClr val="002C77"/>
                </a:solidFill>
              </a:defRPr>
            </a:lvl5pPr>
          </a:lstStyle>
          <a:p>
            <a:r>
              <a:t>Nivel de texto 1</a:t>
            </a:r>
          </a:p>
          <a:p>
            <a:pPr lvl="1"/>
            <a:r>
              <a:t>Nivel de texto 2</a:t>
            </a:r>
          </a:p>
          <a:p>
            <a:pPr lvl="2"/>
            <a:r>
              <a:t>Nivel de texto 3</a:t>
            </a:r>
          </a:p>
          <a:p>
            <a:pPr lvl="3"/>
            <a:r>
              <a:t>Nivel de texto 4</a:t>
            </a:r>
          </a:p>
          <a:p>
            <a:pPr lvl="4"/>
            <a:r>
              <a:t>Nivel de texto 5</a:t>
            </a:r>
          </a:p>
        </p:txBody>
      </p:sp>
      <p:sp>
        <p:nvSpPr>
          <p:cNvPr id="825" name="Shape 825"/>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3183406171"/>
      </p:ext>
    </p:extLst>
  </p:cSld>
  <p:clrMapOvr>
    <a:masterClrMapping/>
  </p:clrMapOvr>
  <p:transition spd="med"/>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x">
  <p:cSld name="Back page blue + disclaimer">
    <p:bg>
      <p:bgPr>
        <a:solidFill>
          <a:srgbClr val="002C77"/>
        </a:solidFill>
        <a:effectLst/>
      </p:bgPr>
    </p:bg>
    <p:spTree>
      <p:nvGrpSpPr>
        <p:cNvPr id="1" name=""/>
        <p:cNvGrpSpPr/>
        <p:nvPr/>
      </p:nvGrpSpPr>
      <p:grpSpPr>
        <a:xfrm>
          <a:off x="0" y="0"/>
          <a:ext cx="0" cy="0"/>
          <a:chOff x="0" y="0"/>
          <a:chExt cx="0" cy="0"/>
        </a:xfrm>
      </p:grpSpPr>
      <p:sp>
        <p:nvSpPr>
          <p:cNvPr id="832" name="Shape 832"/>
          <p:cNvSpPr/>
          <p:nvPr/>
        </p:nvSpPr>
        <p:spPr>
          <a:xfrm>
            <a:off x="474201" y="5585605"/>
            <a:ext cx="5874842" cy="3556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defRPr sz="1200">
                <a:solidFill>
                  <a:srgbClr val="002C77"/>
                </a:solidFill>
              </a:defRPr>
            </a:lvl1pPr>
          </a:lstStyle>
          <a:p>
            <a:r>
              <a:t>We are leaders in risk, strategy and people. One company, with four global businesses, united by a shared purpose to make a difference in the moments that matter.</a:t>
            </a:r>
          </a:p>
        </p:txBody>
      </p:sp>
      <p:pic>
        <p:nvPicPr>
          <p:cNvPr id="833" name="image11.png"/>
          <p:cNvPicPr>
            <a:picLocks noChangeAspect="1"/>
          </p:cNvPicPr>
          <p:nvPr/>
        </p:nvPicPr>
        <p:blipFill>
          <a:blip r:embed="rId2"/>
          <a:stretch>
            <a:fillRect/>
          </a:stretch>
        </p:blipFill>
        <p:spPr>
          <a:xfrm>
            <a:off x="486802" y="554728"/>
            <a:ext cx="1857072" cy="386891"/>
          </a:xfrm>
          <a:prstGeom prst="rect">
            <a:avLst/>
          </a:prstGeom>
          <a:ln w="12700">
            <a:miter lim="400000"/>
          </a:ln>
        </p:spPr>
      </p:pic>
      <p:sp>
        <p:nvSpPr>
          <p:cNvPr id="834" name="Shape 834"/>
          <p:cNvSpPr/>
          <p:nvPr/>
        </p:nvSpPr>
        <p:spPr>
          <a:xfrm>
            <a:off x="485775" y="6207380"/>
            <a:ext cx="2493392" cy="2032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lvl1pPr>
              <a:defRPr sz="1400">
                <a:solidFill>
                  <a:srgbClr val="FFFFFF"/>
                </a:solidFill>
              </a:defRPr>
            </a:lvl1pPr>
          </a:lstStyle>
          <a:p>
            <a:r>
              <a:t>A business of Marsh McLennan</a:t>
            </a:r>
          </a:p>
        </p:txBody>
      </p:sp>
      <p:sp>
        <p:nvSpPr>
          <p:cNvPr id="835" name="Shape 835"/>
          <p:cNvSpPr>
            <a:spLocks noGrp="1"/>
          </p:cNvSpPr>
          <p:nvPr>
            <p:ph type="body" idx="1"/>
          </p:nvPr>
        </p:nvSpPr>
        <p:spPr>
          <a:xfrm>
            <a:off x="485775" y="1609725"/>
            <a:ext cx="11223625" cy="3703805"/>
          </a:xfrm>
          <a:prstGeom prst="rect">
            <a:avLst/>
          </a:prstGeom>
        </p:spPr>
        <p:txBody>
          <a:bodyPr>
            <a:normAutofit/>
          </a:bodyPr>
          <a:lstStyle>
            <a:lvl1pPr>
              <a:spcBef>
                <a:spcPts val="600"/>
              </a:spcBef>
              <a:defRPr sz="800">
                <a:solidFill>
                  <a:srgbClr val="FFFFFF"/>
                </a:solidFill>
              </a:defRPr>
            </a:lvl1pPr>
            <a:lvl2pPr marL="123401" indent="-120226">
              <a:spcBef>
                <a:spcPts val="600"/>
              </a:spcBef>
              <a:defRPr sz="800">
                <a:solidFill>
                  <a:srgbClr val="FFFFFF"/>
                </a:solidFill>
              </a:defRPr>
            </a:lvl2pPr>
            <a:lvl3pPr marL="381000" indent="-152400">
              <a:spcBef>
                <a:spcPts val="600"/>
              </a:spcBef>
              <a:defRPr sz="800">
                <a:solidFill>
                  <a:srgbClr val="FFFFFF"/>
                </a:solidFill>
              </a:defRPr>
            </a:lvl3pPr>
            <a:lvl4pPr marL="609600" indent="-152400">
              <a:spcBef>
                <a:spcPts val="600"/>
              </a:spcBef>
              <a:defRPr sz="800">
                <a:solidFill>
                  <a:srgbClr val="FFFFFF"/>
                </a:solidFill>
              </a:defRPr>
            </a:lvl4pPr>
            <a:lvl5pPr marL="838200" indent="-152400">
              <a:spcBef>
                <a:spcPts val="600"/>
              </a:spcBef>
              <a:defRPr sz="800">
                <a:solidFill>
                  <a:srgbClr val="FFFFFF"/>
                </a:solidFill>
              </a:defRPr>
            </a:lvl5pPr>
          </a:lstStyle>
          <a:p>
            <a:r>
              <a:t>Nivel de texto 1</a:t>
            </a:r>
          </a:p>
          <a:p>
            <a:pPr lvl="1"/>
            <a:r>
              <a:t>Nivel de texto 2</a:t>
            </a:r>
          </a:p>
          <a:p>
            <a:pPr lvl="2"/>
            <a:r>
              <a:t>Nivel de texto 3</a:t>
            </a:r>
          </a:p>
          <a:p>
            <a:pPr lvl="3"/>
            <a:r>
              <a:t>Nivel de texto 4</a:t>
            </a:r>
          </a:p>
          <a:p>
            <a:pPr lvl="4"/>
            <a:r>
              <a:t>Nivel de texto 5</a:t>
            </a:r>
          </a:p>
        </p:txBody>
      </p:sp>
      <p:sp>
        <p:nvSpPr>
          <p:cNvPr id="836" name="Shape 836"/>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612716187"/>
      </p:ext>
    </p:extLst>
  </p:cSld>
  <p:clrMapOvr>
    <a:masterClrMapping/>
  </p:clrMapOvr>
  <p:transition spd="med"/>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x">
  <p:cSld name="Title Slide">
    <p:bg>
      <p:bgPr>
        <a:solidFill>
          <a:srgbClr val="FFFFFF"/>
        </a:solidFill>
        <a:effectLst/>
      </p:bgPr>
    </p:bg>
    <p:spTree>
      <p:nvGrpSpPr>
        <p:cNvPr id="1" name=""/>
        <p:cNvGrpSpPr/>
        <p:nvPr/>
      </p:nvGrpSpPr>
      <p:grpSpPr>
        <a:xfrm>
          <a:off x="0" y="0"/>
          <a:ext cx="0" cy="0"/>
          <a:chOff x="0" y="0"/>
          <a:chExt cx="0" cy="0"/>
        </a:xfrm>
      </p:grpSpPr>
      <p:pic>
        <p:nvPicPr>
          <p:cNvPr id="843" name="image18.png"/>
          <p:cNvPicPr>
            <a:picLocks noChangeAspect="1"/>
          </p:cNvPicPr>
          <p:nvPr/>
        </p:nvPicPr>
        <p:blipFill>
          <a:blip r:embed="rId2"/>
          <a:stretch>
            <a:fillRect/>
          </a:stretch>
        </p:blipFill>
        <p:spPr>
          <a:xfrm>
            <a:off x="338178" y="6613462"/>
            <a:ext cx="908605" cy="136589"/>
          </a:xfrm>
          <a:prstGeom prst="rect">
            <a:avLst/>
          </a:prstGeom>
          <a:ln w="12700">
            <a:miter lim="400000"/>
          </a:ln>
        </p:spPr>
      </p:pic>
      <p:sp>
        <p:nvSpPr>
          <p:cNvPr id="844" name="Shape 844"/>
          <p:cNvSpPr>
            <a:spLocks noGrp="1"/>
          </p:cNvSpPr>
          <p:nvPr>
            <p:ph type="title"/>
          </p:nvPr>
        </p:nvSpPr>
        <p:spPr>
          <a:xfrm>
            <a:off x="1524000" y="1122362"/>
            <a:ext cx="9144000" cy="2387601"/>
          </a:xfrm>
          <a:prstGeom prst="rect">
            <a:avLst/>
          </a:prstGeom>
        </p:spPr>
        <p:txBody>
          <a:bodyPr lIns="45719" tIns="45719" rIns="45719" bIns="45719" anchor="b">
            <a:normAutofit/>
          </a:bodyPr>
          <a:lstStyle>
            <a:lvl1pPr algn="ctr" defTabSz="914400">
              <a:lnSpc>
                <a:spcPct val="90000"/>
              </a:lnSpc>
              <a:defRPr sz="4800">
                <a:solidFill>
                  <a:srgbClr val="000000"/>
                </a:solidFill>
                <a:latin typeface="Helvetica"/>
                <a:ea typeface="Helvetica"/>
                <a:cs typeface="Helvetica"/>
                <a:sym typeface="Helvetica"/>
              </a:defRPr>
            </a:lvl1pPr>
          </a:lstStyle>
          <a:p>
            <a:r>
              <a:t>Texto del título</a:t>
            </a:r>
          </a:p>
        </p:txBody>
      </p:sp>
      <p:sp>
        <p:nvSpPr>
          <p:cNvPr id="845" name="Shape 845"/>
          <p:cNvSpPr>
            <a:spLocks noGrp="1"/>
          </p:cNvSpPr>
          <p:nvPr>
            <p:ph type="body" sz="quarter" idx="1"/>
          </p:nvPr>
        </p:nvSpPr>
        <p:spPr>
          <a:xfrm>
            <a:off x="1524000" y="3602037"/>
            <a:ext cx="9144000" cy="1655763"/>
          </a:xfrm>
          <a:prstGeom prst="rect">
            <a:avLst/>
          </a:prstGeom>
        </p:spPr>
        <p:txBody>
          <a:bodyPr lIns="45719" tIns="45719" rIns="45719" bIns="45719">
            <a:normAutofit/>
          </a:bodyPr>
          <a:lstStyle>
            <a:lvl1pPr algn="ctr" defTabSz="914400">
              <a:lnSpc>
                <a:spcPct val="90000"/>
              </a:lnSpc>
              <a:spcBef>
                <a:spcPts val="1000"/>
              </a:spcBef>
              <a:defRPr sz="2400">
                <a:solidFill>
                  <a:srgbClr val="000000"/>
                </a:solidFill>
                <a:latin typeface="Helvetica"/>
                <a:ea typeface="Helvetica"/>
                <a:cs typeface="Helvetica"/>
                <a:sym typeface="Helvetica"/>
              </a:defRPr>
            </a:lvl1pPr>
            <a:lvl2pPr marL="0" indent="457200" algn="ctr" defTabSz="914400">
              <a:lnSpc>
                <a:spcPct val="90000"/>
              </a:lnSpc>
              <a:spcBef>
                <a:spcPts val="1000"/>
              </a:spcBef>
              <a:buSzTx/>
              <a:buNone/>
              <a:defRPr sz="2400">
                <a:solidFill>
                  <a:srgbClr val="000000"/>
                </a:solidFill>
                <a:latin typeface="Helvetica"/>
                <a:ea typeface="Helvetica"/>
                <a:cs typeface="Helvetica"/>
                <a:sym typeface="Helvetica"/>
              </a:defRPr>
            </a:lvl2pPr>
            <a:lvl3pPr marL="0" indent="914400" algn="ctr" defTabSz="914400">
              <a:lnSpc>
                <a:spcPct val="90000"/>
              </a:lnSpc>
              <a:spcBef>
                <a:spcPts val="1000"/>
              </a:spcBef>
              <a:buSzTx/>
              <a:buNone/>
              <a:defRPr sz="2400">
                <a:solidFill>
                  <a:srgbClr val="000000"/>
                </a:solidFill>
                <a:latin typeface="Helvetica"/>
                <a:ea typeface="Helvetica"/>
                <a:cs typeface="Helvetica"/>
                <a:sym typeface="Helvetica"/>
              </a:defRPr>
            </a:lvl3pPr>
            <a:lvl4pPr marL="0" indent="1371600" algn="ctr" defTabSz="914400">
              <a:lnSpc>
                <a:spcPct val="90000"/>
              </a:lnSpc>
              <a:spcBef>
                <a:spcPts val="1000"/>
              </a:spcBef>
              <a:buSzTx/>
              <a:buNone/>
              <a:defRPr sz="2400">
                <a:solidFill>
                  <a:srgbClr val="000000"/>
                </a:solidFill>
                <a:latin typeface="Helvetica"/>
                <a:ea typeface="Helvetica"/>
                <a:cs typeface="Helvetica"/>
                <a:sym typeface="Helvetica"/>
              </a:defRPr>
            </a:lvl4pPr>
            <a:lvl5pPr marL="0" indent="1828800" algn="ctr" defTabSz="914400">
              <a:lnSpc>
                <a:spcPct val="90000"/>
              </a:lnSpc>
              <a:spcBef>
                <a:spcPts val="1000"/>
              </a:spcBef>
              <a:buSzTx/>
              <a:buNone/>
              <a:defRPr sz="2400">
                <a:solidFill>
                  <a:srgbClr val="000000"/>
                </a:solidFill>
                <a:latin typeface="Helvetica"/>
                <a:ea typeface="Helvetica"/>
                <a:cs typeface="Helvetica"/>
                <a:sym typeface="Helvetica"/>
              </a:defRPr>
            </a:lvl5pPr>
          </a:lstStyle>
          <a:p>
            <a:r>
              <a:t>Nivel de texto 1</a:t>
            </a:r>
          </a:p>
          <a:p>
            <a:pPr lvl="1"/>
            <a:r>
              <a:t>Nivel de texto 2</a:t>
            </a:r>
          </a:p>
          <a:p>
            <a:pPr lvl="2"/>
            <a:r>
              <a:t>Nivel de texto 3</a:t>
            </a:r>
          </a:p>
          <a:p>
            <a:pPr lvl="3"/>
            <a:r>
              <a:t>Nivel de texto 4</a:t>
            </a:r>
          </a:p>
          <a:p>
            <a:pPr lvl="4"/>
            <a:r>
              <a:t>Nivel de texto 5</a:t>
            </a:r>
          </a:p>
        </p:txBody>
      </p:sp>
      <p:sp>
        <p:nvSpPr>
          <p:cNvPr id="846" name="Shape 846"/>
          <p:cNvSpPr>
            <a:spLocks noGrp="1"/>
          </p:cNvSpPr>
          <p:nvPr>
            <p:ph type="sldNum" sz="quarter" idx="2"/>
          </p:nvPr>
        </p:nvSpPr>
        <p:spPr>
          <a:xfrm>
            <a:off x="10556240" y="5437188"/>
            <a:ext cx="1270001" cy="1270001"/>
          </a:xfrm>
          <a:prstGeom prst="rect">
            <a:avLst/>
          </a:prstGeom>
        </p:spPr>
        <p:txBody>
          <a:bodyPr/>
          <a:lstStyle>
            <a:lvl1pPr>
              <a:defRPr sz="800">
                <a:solidFill>
                  <a:srgbClr val="888888"/>
                </a:solidFill>
                <a:latin typeface="Helvetica"/>
                <a:ea typeface="Helvetica"/>
                <a:cs typeface="Helvetica"/>
                <a:sym typeface="Helvetica"/>
              </a:defRPr>
            </a:lvl1pPr>
          </a:lstStyle>
          <a:p>
            <a:fld id="{86CB4B4D-7CA3-9044-876B-883B54F8677D}" type="slidenum">
              <a:t>‹Nº›</a:t>
            </a:fld>
            <a:endParaRPr/>
          </a:p>
        </p:txBody>
      </p:sp>
    </p:spTree>
    <p:extLst>
      <p:ext uri="{BB962C8B-B14F-4D97-AF65-F5344CB8AC3E}">
        <p14:creationId xmlns:p14="http://schemas.microsoft.com/office/powerpoint/2010/main" val="1893337150"/>
      </p:ext>
    </p:extLst>
  </p:cSld>
  <p:clrMapOvr>
    <a:masterClrMapping/>
  </p:clrMapOvr>
  <p:transition spd="med"/>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tx">
  <p:cSld name="Title and Content">
    <p:bg>
      <p:bgPr>
        <a:solidFill>
          <a:srgbClr val="FFFFFF"/>
        </a:solidFill>
        <a:effectLst/>
      </p:bgPr>
    </p:bg>
    <p:spTree>
      <p:nvGrpSpPr>
        <p:cNvPr id="1" name=""/>
        <p:cNvGrpSpPr/>
        <p:nvPr/>
      </p:nvGrpSpPr>
      <p:grpSpPr>
        <a:xfrm>
          <a:off x="0" y="0"/>
          <a:ext cx="0" cy="0"/>
          <a:chOff x="0" y="0"/>
          <a:chExt cx="0" cy="0"/>
        </a:xfrm>
      </p:grpSpPr>
      <p:pic>
        <p:nvPicPr>
          <p:cNvPr id="853" name="image18.tif"/>
          <p:cNvPicPr>
            <a:picLocks noChangeAspect="1"/>
          </p:cNvPicPr>
          <p:nvPr/>
        </p:nvPicPr>
        <p:blipFill>
          <a:blip r:embed="rId2"/>
          <a:stretch>
            <a:fillRect/>
          </a:stretch>
        </p:blipFill>
        <p:spPr>
          <a:xfrm>
            <a:off x="338178" y="6613462"/>
            <a:ext cx="908605" cy="136589"/>
          </a:xfrm>
          <a:prstGeom prst="rect">
            <a:avLst/>
          </a:prstGeom>
          <a:ln w="12700">
            <a:miter lim="400000"/>
          </a:ln>
        </p:spPr>
      </p:pic>
      <p:sp>
        <p:nvSpPr>
          <p:cNvPr id="854" name="Shape 854"/>
          <p:cNvSpPr>
            <a:spLocks noGrp="1"/>
          </p:cNvSpPr>
          <p:nvPr>
            <p:ph type="title"/>
          </p:nvPr>
        </p:nvSpPr>
        <p:spPr>
          <a:xfrm>
            <a:off x="838200" y="365125"/>
            <a:ext cx="10515600" cy="1325564"/>
          </a:xfrm>
          <a:prstGeom prst="rect">
            <a:avLst/>
          </a:prstGeom>
        </p:spPr>
        <p:txBody>
          <a:bodyPr lIns="45719" tIns="45719" rIns="45719" bIns="45719" anchor="ctr">
            <a:normAutofit/>
          </a:bodyPr>
          <a:lstStyle>
            <a:lvl1pPr defTabSz="914400">
              <a:lnSpc>
                <a:spcPct val="90000"/>
              </a:lnSpc>
              <a:defRPr sz="4400">
                <a:solidFill>
                  <a:srgbClr val="000000"/>
                </a:solidFill>
                <a:latin typeface="Helvetica"/>
                <a:ea typeface="Helvetica"/>
                <a:cs typeface="Helvetica"/>
                <a:sym typeface="Helvetica"/>
              </a:defRPr>
            </a:lvl1pPr>
          </a:lstStyle>
          <a:p>
            <a:r>
              <a:t>Texto del título</a:t>
            </a:r>
          </a:p>
        </p:txBody>
      </p:sp>
      <p:sp>
        <p:nvSpPr>
          <p:cNvPr id="855" name="Shape 855"/>
          <p:cNvSpPr>
            <a:spLocks noGrp="1"/>
          </p:cNvSpPr>
          <p:nvPr>
            <p:ph type="body" idx="1"/>
          </p:nvPr>
        </p:nvSpPr>
        <p:spPr>
          <a:xfrm>
            <a:off x="838200" y="1825625"/>
            <a:ext cx="10515600" cy="4351338"/>
          </a:xfrm>
          <a:prstGeom prst="rect">
            <a:avLst/>
          </a:prstGeom>
        </p:spPr>
        <p:txBody>
          <a:bodyPr lIns="45719" tIns="45719" rIns="45719" bIns="45719">
            <a:normAutofit/>
          </a:bodyPr>
          <a:lstStyle>
            <a:lvl1pPr marL="228600" indent="-228600" defTabSz="914400">
              <a:lnSpc>
                <a:spcPct val="90000"/>
              </a:lnSpc>
              <a:spcBef>
                <a:spcPts val="1000"/>
              </a:spcBef>
              <a:buSzPct val="100000"/>
              <a:buFont typeface="Arial"/>
              <a:buChar char="•"/>
              <a:defRPr sz="2800">
                <a:solidFill>
                  <a:srgbClr val="000000"/>
                </a:solidFill>
                <a:latin typeface="Helvetica"/>
                <a:ea typeface="Helvetica"/>
                <a:cs typeface="Helvetica"/>
                <a:sym typeface="Helvetica"/>
              </a:defRPr>
            </a:lvl1pPr>
            <a:lvl2pPr marL="723900" indent="-266700" defTabSz="914400">
              <a:lnSpc>
                <a:spcPct val="90000"/>
              </a:lnSpc>
              <a:spcBef>
                <a:spcPts val="1000"/>
              </a:spcBef>
              <a:buFont typeface="Arial"/>
              <a:defRPr sz="2800">
                <a:solidFill>
                  <a:srgbClr val="000000"/>
                </a:solidFill>
                <a:latin typeface="Helvetica"/>
                <a:ea typeface="Helvetica"/>
                <a:cs typeface="Helvetica"/>
                <a:sym typeface="Helvetica"/>
              </a:defRPr>
            </a:lvl2pPr>
            <a:lvl3pPr marL="1234439" indent="-320039" defTabSz="914400">
              <a:lnSpc>
                <a:spcPct val="90000"/>
              </a:lnSpc>
              <a:spcBef>
                <a:spcPts val="1000"/>
              </a:spcBef>
              <a:buFont typeface="Arial"/>
              <a:buChar char="•"/>
              <a:defRPr sz="2800">
                <a:solidFill>
                  <a:srgbClr val="000000"/>
                </a:solidFill>
                <a:latin typeface="Helvetica"/>
                <a:ea typeface="Helvetica"/>
                <a:cs typeface="Helvetica"/>
                <a:sym typeface="Helvetica"/>
              </a:defRPr>
            </a:lvl3pPr>
            <a:lvl4pPr marL="1727200" indent="-355600" defTabSz="914400">
              <a:lnSpc>
                <a:spcPct val="90000"/>
              </a:lnSpc>
              <a:spcBef>
                <a:spcPts val="1000"/>
              </a:spcBef>
              <a:buFont typeface="Arial"/>
              <a:defRPr sz="2800">
                <a:solidFill>
                  <a:srgbClr val="000000"/>
                </a:solidFill>
                <a:latin typeface="Helvetica"/>
                <a:ea typeface="Helvetica"/>
                <a:cs typeface="Helvetica"/>
                <a:sym typeface="Helvetica"/>
              </a:defRPr>
            </a:lvl4pPr>
            <a:lvl5pPr marL="2184400" indent="-355600" defTabSz="914400">
              <a:lnSpc>
                <a:spcPct val="90000"/>
              </a:lnSpc>
              <a:spcBef>
                <a:spcPts val="1000"/>
              </a:spcBef>
              <a:buFont typeface="Arial"/>
              <a:buChar char="•"/>
              <a:defRPr sz="2800">
                <a:solidFill>
                  <a:srgbClr val="000000"/>
                </a:solidFill>
                <a:latin typeface="Helvetica"/>
                <a:ea typeface="Helvetica"/>
                <a:cs typeface="Helvetica"/>
                <a:sym typeface="Helvetica"/>
              </a:defRPr>
            </a:lvl5pPr>
          </a:lstStyle>
          <a:p>
            <a:r>
              <a:t>Nivel de texto 1</a:t>
            </a:r>
          </a:p>
          <a:p>
            <a:pPr lvl="1"/>
            <a:r>
              <a:t>Nivel de texto 2</a:t>
            </a:r>
          </a:p>
          <a:p>
            <a:pPr lvl="2"/>
            <a:r>
              <a:t>Nivel de texto 3</a:t>
            </a:r>
          </a:p>
          <a:p>
            <a:pPr lvl="3"/>
            <a:r>
              <a:t>Nivel de texto 4</a:t>
            </a:r>
          </a:p>
          <a:p>
            <a:pPr lvl="4"/>
            <a:r>
              <a:t>Nivel de texto 5</a:t>
            </a:r>
          </a:p>
        </p:txBody>
      </p:sp>
      <p:sp>
        <p:nvSpPr>
          <p:cNvPr id="856" name="Shape 856"/>
          <p:cNvSpPr>
            <a:spLocks noGrp="1"/>
          </p:cNvSpPr>
          <p:nvPr>
            <p:ph type="sldNum" sz="quarter" idx="2"/>
          </p:nvPr>
        </p:nvSpPr>
        <p:spPr>
          <a:xfrm>
            <a:off x="10556240" y="5437188"/>
            <a:ext cx="1270001" cy="1270001"/>
          </a:xfrm>
          <a:prstGeom prst="rect">
            <a:avLst/>
          </a:prstGeom>
        </p:spPr>
        <p:txBody>
          <a:bodyPr/>
          <a:lstStyle>
            <a:lvl1pPr>
              <a:defRPr sz="800">
                <a:solidFill>
                  <a:srgbClr val="888888"/>
                </a:solidFill>
                <a:latin typeface="Helvetica"/>
                <a:ea typeface="Helvetica"/>
                <a:cs typeface="Helvetica"/>
                <a:sym typeface="Helvetica"/>
              </a:defRPr>
            </a:lvl1pPr>
          </a:lstStyle>
          <a:p>
            <a:fld id="{86CB4B4D-7CA3-9044-876B-883B54F8677D}" type="slidenum">
              <a:t>‹Nº›</a:t>
            </a:fld>
            <a:endParaRPr/>
          </a:p>
        </p:txBody>
      </p:sp>
    </p:spTree>
    <p:extLst>
      <p:ext uri="{BB962C8B-B14F-4D97-AF65-F5344CB8AC3E}">
        <p14:creationId xmlns:p14="http://schemas.microsoft.com/office/powerpoint/2010/main" val="158919661"/>
      </p:ext>
    </p:extLst>
  </p:cSld>
  <p:clrMapOvr>
    <a:masterClrMapping/>
  </p:clrMapOvr>
  <p:transition spd="med"/>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type="tx">
  <p:cSld name="Section Header">
    <p:bg>
      <p:bgPr>
        <a:solidFill>
          <a:srgbClr val="FFFFFF"/>
        </a:solidFill>
        <a:effectLst/>
      </p:bgPr>
    </p:bg>
    <p:spTree>
      <p:nvGrpSpPr>
        <p:cNvPr id="1" name=""/>
        <p:cNvGrpSpPr/>
        <p:nvPr/>
      </p:nvGrpSpPr>
      <p:grpSpPr>
        <a:xfrm>
          <a:off x="0" y="0"/>
          <a:ext cx="0" cy="0"/>
          <a:chOff x="0" y="0"/>
          <a:chExt cx="0" cy="0"/>
        </a:xfrm>
      </p:grpSpPr>
      <p:pic>
        <p:nvPicPr>
          <p:cNvPr id="863" name="image18.tif"/>
          <p:cNvPicPr>
            <a:picLocks noChangeAspect="1"/>
          </p:cNvPicPr>
          <p:nvPr/>
        </p:nvPicPr>
        <p:blipFill>
          <a:blip r:embed="rId2"/>
          <a:stretch>
            <a:fillRect/>
          </a:stretch>
        </p:blipFill>
        <p:spPr>
          <a:xfrm>
            <a:off x="338178" y="6613462"/>
            <a:ext cx="908605" cy="136589"/>
          </a:xfrm>
          <a:prstGeom prst="rect">
            <a:avLst/>
          </a:prstGeom>
          <a:ln w="12700">
            <a:miter lim="400000"/>
          </a:ln>
        </p:spPr>
      </p:pic>
      <p:sp>
        <p:nvSpPr>
          <p:cNvPr id="864" name="Shape 864"/>
          <p:cNvSpPr>
            <a:spLocks noGrp="1"/>
          </p:cNvSpPr>
          <p:nvPr>
            <p:ph type="title"/>
          </p:nvPr>
        </p:nvSpPr>
        <p:spPr>
          <a:xfrm>
            <a:off x="831850" y="1709739"/>
            <a:ext cx="10515600" cy="2852737"/>
          </a:xfrm>
          <a:prstGeom prst="rect">
            <a:avLst/>
          </a:prstGeom>
        </p:spPr>
        <p:txBody>
          <a:bodyPr lIns="45719" tIns="45719" rIns="45719" bIns="45719" anchor="b">
            <a:normAutofit/>
          </a:bodyPr>
          <a:lstStyle>
            <a:lvl1pPr defTabSz="914400">
              <a:lnSpc>
                <a:spcPct val="90000"/>
              </a:lnSpc>
              <a:defRPr sz="4800">
                <a:solidFill>
                  <a:srgbClr val="000000"/>
                </a:solidFill>
                <a:latin typeface="Helvetica"/>
                <a:ea typeface="Helvetica"/>
                <a:cs typeface="Helvetica"/>
                <a:sym typeface="Helvetica"/>
              </a:defRPr>
            </a:lvl1pPr>
          </a:lstStyle>
          <a:p>
            <a:r>
              <a:t>Texto del título</a:t>
            </a:r>
          </a:p>
        </p:txBody>
      </p:sp>
      <p:sp>
        <p:nvSpPr>
          <p:cNvPr id="865" name="Shape 865"/>
          <p:cNvSpPr>
            <a:spLocks noGrp="1"/>
          </p:cNvSpPr>
          <p:nvPr>
            <p:ph type="body" sz="quarter" idx="1"/>
          </p:nvPr>
        </p:nvSpPr>
        <p:spPr>
          <a:xfrm>
            <a:off x="831850" y="4589464"/>
            <a:ext cx="10515600" cy="1500188"/>
          </a:xfrm>
          <a:prstGeom prst="rect">
            <a:avLst/>
          </a:prstGeom>
        </p:spPr>
        <p:txBody>
          <a:bodyPr lIns="45719" tIns="45719" rIns="45719" bIns="45719">
            <a:normAutofit/>
          </a:bodyPr>
          <a:lstStyle>
            <a:lvl1pPr defTabSz="914400">
              <a:lnSpc>
                <a:spcPct val="90000"/>
              </a:lnSpc>
              <a:spcBef>
                <a:spcPts val="1000"/>
              </a:spcBef>
              <a:defRPr sz="2400">
                <a:solidFill>
                  <a:srgbClr val="888888"/>
                </a:solidFill>
                <a:latin typeface="Helvetica"/>
                <a:ea typeface="Helvetica"/>
                <a:cs typeface="Helvetica"/>
                <a:sym typeface="Helvetica"/>
              </a:defRPr>
            </a:lvl1pPr>
            <a:lvl2pPr marL="0" indent="457200" defTabSz="914400">
              <a:lnSpc>
                <a:spcPct val="90000"/>
              </a:lnSpc>
              <a:spcBef>
                <a:spcPts val="1000"/>
              </a:spcBef>
              <a:buSzTx/>
              <a:buNone/>
              <a:defRPr sz="2400">
                <a:solidFill>
                  <a:srgbClr val="888888"/>
                </a:solidFill>
                <a:latin typeface="Helvetica"/>
                <a:ea typeface="Helvetica"/>
                <a:cs typeface="Helvetica"/>
                <a:sym typeface="Helvetica"/>
              </a:defRPr>
            </a:lvl2pPr>
            <a:lvl3pPr marL="0" indent="914400" defTabSz="914400">
              <a:lnSpc>
                <a:spcPct val="90000"/>
              </a:lnSpc>
              <a:spcBef>
                <a:spcPts val="1000"/>
              </a:spcBef>
              <a:buSzTx/>
              <a:buNone/>
              <a:defRPr sz="2400">
                <a:solidFill>
                  <a:srgbClr val="888888"/>
                </a:solidFill>
                <a:latin typeface="Helvetica"/>
                <a:ea typeface="Helvetica"/>
                <a:cs typeface="Helvetica"/>
                <a:sym typeface="Helvetica"/>
              </a:defRPr>
            </a:lvl3pPr>
            <a:lvl4pPr marL="0" indent="1371600" defTabSz="914400">
              <a:lnSpc>
                <a:spcPct val="90000"/>
              </a:lnSpc>
              <a:spcBef>
                <a:spcPts val="1000"/>
              </a:spcBef>
              <a:buSzTx/>
              <a:buNone/>
              <a:defRPr sz="2400">
                <a:solidFill>
                  <a:srgbClr val="888888"/>
                </a:solidFill>
                <a:latin typeface="Helvetica"/>
                <a:ea typeface="Helvetica"/>
                <a:cs typeface="Helvetica"/>
                <a:sym typeface="Helvetica"/>
              </a:defRPr>
            </a:lvl4pPr>
            <a:lvl5pPr marL="0" indent="1828800" defTabSz="914400">
              <a:lnSpc>
                <a:spcPct val="90000"/>
              </a:lnSpc>
              <a:spcBef>
                <a:spcPts val="1000"/>
              </a:spcBef>
              <a:buSzTx/>
              <a:buNone/>
              <a:defRPr sz="2400">
                <a:solidFill>
                  <a:srgbClr val="888888"/>
                </a:solidFill>
                <a:latin typeface="Helvetica"/>
                <a:ea typeface="Helvetica"/>
                <a:cs typeface="Helvetica"/>
                <a:sym typeface="Helvetica"/>
              </a:defRPr>
            </a:lvl5pPr>
          </a:lstStyle>
          <a:p>
            <a:r>
              <a:t>Nivel de texto 1</a:t>
            </a:r>
          </a:p>
          <a:p>
            <a:pPr lvl="1"/>
            <a:r>
              <a:t>Nivel de texto 2</a:t>
            </a:r>
          </a:p>
          <a:p>
            <a:pPr lvl="2"/>
            <a:r>
              <a:t>Nivel de texto 3</a:t>
            </a:r>
          </a:p>
          <a:p>
            <a:pPr lvl="3"/>
            <a:r>
              <a:t>Nivel de texto 4</a:t>
            </a:r>
          </a:p>
          <a:p>
            <a:pPr lvl="4"/>
            <a:r>
              <a:t>Nivel de texto 5</a:t>
            </a:r>
          </a:p>
        </p:txBody>
      </p:sp>
      <p:sp>
        <p:nvSpPr>
          <p:cNvPr id="866" name="Shape 866"/>
          <p:cNvSpPr>
            <a:spLocks noGrp="1"/>
          </p:cNvSpPr>
          <p:nvPr>
            <p:ph type="sldNum" sz="quarter" idx="2"/>
          </p:nvPr>
        </p:nvSpPr>
        <p:spPr>
          <a:xfrm>
            <a:off x="10556240" y="5437188"/>
            <a:ext cx="1270001" cy="1270001"/>
          </a:xfrm>
          <a:prstGeom prst="rect">
            <a:avLst/>
          </a:prstGeom>
        </p:spPr>
        <p:txBody>
          <a:bodyPr/>
          <a:lstStyle>
            <a:lvl1pPr>
              <a:defRPr sz="800">
                <a:solidFill>
                  <a:srgbClr val="888888"/>
                </a:solidFill>
                <a:latin typeface="Helvetica"/>
                <a:ea typeface="Helvetica"/>
                <a:cs typeface="Helvetica"/>
                <a:sym typeface="Helvetica"/>
              </a:defRPr>
            </a:lvl1pPr>
          </a:lstStyle>
          <a:p>
            <a:fld id="{86CB4B4D-7CA3-9044-876B-883B54F8677D}" type="slidenum">
              <a:t>‹Nº›</a:t>
            </a:fld>
            <a:endParaRPr/>
          </a:p>
        </p:txBody>
      </p:sp>
    </p:spTree>
    <p:extLst>
      <p:ext uri="{BB962C8B-B14F-4D97-AF65-F5344CB8AC3E}">
        <p14:creationId xmlns:p14="http://schemas.microsoft.com/office/powerpoint/2010/main" val="515756374"/>
      </p:ext>
    </p:extLst>
  </p:cSld>
  <p:clrMapOvr>
    <a:masterClrMapping/>
  </p:clrMapOvr>
  <p:transition spd="med"/>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tx">
  <p:cSld name="Two Content">
    <p:bg>
      <p:bgPr>
        <a:solidFill>
          <a:srgbClr val="FFFFFF"/>
        </a:solidFill>
        <a:effectLst/>
      </p:bgPr>
    </p:bg>
    <p:spTree>
      <p:nvGrpSpPr>
        <p:cNvPr id="1" name=""/>
        <p:cNvGrpSpPr/>
        <p:nvPr/>
      </p:nvGrpSpPr>
      <p:grpSpPr>
        <a:xfrm>
          <a:off x="0" y="0"/>
          <a:ext cx="0" cy="0"/>
          <a:chOff x="0" y="0"/>
          <a:chExt cx="0" cy="0"/>
        </a:xfrm>
      </p:grpSpPr>
      <p:pic>
        <p:nvPicPr>
          <p:cNvPr id="873" name="image18.tif"/>
          <p:cNvPicPr>
            <a:picLocks noChangeAspect="1"/>
          </p:cNvPicPr>
          <p:nvPr/>
        </p:nvPicPr>
        <p:blipFill>
          <a:blip r:embed="rId2"/>
          <a:stretch>
            <a:fillRect/>
          </a:stretch>
        </p:blipFill>
        <p:spPr>
          <a:xfrm>
            <a:off x="338178" y="6613462"/>
            <a:ext cx="908605" cy="136589"/>
          </a:xfrm>
          <a:prstGeom prst="rect">
            <a:avLst/>
          </a:prstGeom>
          <a:ln w="12700">
            <a:miter lim="400000"/>
          </a:ln>
        </p:spPr>
      </p:pic>
      <p:sp>
        <p:nvSpPr>
          <p:cNvPr id="874" name="Shape 874"/>
          <p:cNvSpPr>
            <a:spLocks noGrp="1"/>
          </p:cNvSpPr>
          <p:nvPr>
            <p:ph type="title"/>
          </p:nvPr>
        </p:nvSpPr>
        <p:spPr>
          <a:xfrm>
            <a:off x="838200" y="365125"/>
            <a:ext cx="10515600" cy="1325564"/>
          </a:xfrm>
          <a:prstGeom prst="rect">
            <a:avLst/>
          </a:prstGeom>
        </p:spPr>
        <p:txBody>
          <a:bodyPr lIns="45719" tIns="45719" rIns="45719" bIns="45719" anchor="ctr">
            <a:normAutofit/>
          </a:bodyPr>
          <a:lstStyle>
            <a:lvl1pPr defTabSz="914400">
              <a:lnSpc>
                <a:spcPct val="90000"/>
              </a:lnSpc>
              <a:defRPr sz="4400">
                <a:solidFill>
                  <a:srgbClr val="000000"/>
                </a:solidFill>
                <a:latin typeface="Helvetica"/>
                <a:ea typeface="Helvetica"/>
                <a:cs typeface="Helvetica"/>
                <a:sym typeface="Helvetica"/>
              </a:defRPr>
            </a:lvl1pPr>
          </a:lstStyle>
          <a:p>
            <a:r>
              <a:t>Texto del título</a:t>
            </a:r>
          </a:p>
        </p:txBody>
      </p:sp>
      <p:sp>
        <p:nvSpPr>
          <p:cNvPr id="875" name="Shape 875"/>
          <p:cNvSpPr>
            <a:spLocks noGrp="1"/>
          </p:cNvSpPr>
          <p:nvPr>
            <p:ph type="body" sz="half" idx="1"/>
          </p:nvPr>
        </p:nvSpPr>
        <p:spPr>
          <a:xfrm>
            <a:off x="838200" y="1825625"/>
            <a:ext cx="5181600" cy="4351338"/>
          </a:xfrm>
          <a:prstGeom prst="rect">
            <a:avLst/>
          </a:prstGeom>
        </p:spPr>
        <p:txBody>
          <a:bodyPr lIns="45719" tIns="45719" rIns="45719" bIns="45719">
            <a:normAutofit/>
          </a:bodyPr>
          <a:lstStyle>
            <a:lvl1pPr marL="228600" indent="-228600" defTabSz="914400">
              <a:lnSpc>
                <a:spcPct val="90000"/>
              </a:lnSpc>
              <a:spcBef>
                <a:spcPts val="1000"/>
              </a:spcBef>
              <a:buSzPct val="100000"/>
              <a:buFont typeface="Arial"/>
              <a:buChar char="•"/>
              <a:defRPr sz="2800">
                <a:solidFill>
                  <a:srgbClr val="000000"/>
                </a:solidFill>
                <a:latin typeface="Helvetica"/>
                <a:ea typeface="Helvetica"/>
                <a:cs typeface="Helvetica"/>
                <a:sym typeface="Helvetica"/>
              </a:defRPr>
            </a:lvl1pPr>
            <a:lvl2pPr marL="723900" indent="-266700" defTabSz="914400">
              <a:lnSpc>
                <a:spcPct val="90000"/>
              </a:lnSpc>
              <a:spcBef>
                <a:spcPts val="1000"/>
              </a:spcBef>
              <a:buFont typeface="Arial"/>
              <a:defRPr sz="2800">
                <a:solidFill>
                  <a:srgbClr val="000000"/>
                </a:solidFill>
                <a:latin typeface="Helvetica"/>
                <a:ea typeface="Helvetica"/>
                <a:cs typeface="Helvetica"/>
                <a:sym typeface="Helvetica"/>
              </a:defRPr>
            </a:lvl2pPr>
            <a:lvl3pPr marL="1234439" indent="-320039" defTabSz="914400">
              <a:lnSpc>
                <a:spcPct val="90000"/>
              </a:lnSpc>
              <a:spcBef>
                <a:spcPts val="1000"/>
              </a:spcBef>
              <a:buFont typeface="Arial"/>
              <a:buChar char="•"/>
              <a:defRPr sz="2800">
                <a:solidFill>
                  <a:srgbClr val="000000"/>
                </a:solidFill>
                <a:latin typeface="Helvetica"/>
                <a:ea typeface="Helvetica"/>
                <a:cs typeface="Helvetica"/>
                <a:sym typeface="Helvetica"/>
              </a:defRPr>
            </a:lvl3pPr>
            <a:lvl4pPr marL="1727200" indent="-355600" defTabSz="914400">
              <a:lnSpc>
                <a:spcPct val="90000"/>
              </a:lnSpc>
              <a:spcBef>
                <a:spcPts val="1000"/>
              </a:spcBef>
              <a:buFont typeface="Arial"/>
              <a:defRPr sz="2800">
                <a:solidFill>
                  <a:srgbClr val="000000"/>
                </a:solidFill>
                <a:latin typeface="Helvetica"/>
                <a:ea typeface="Helvetica"/>
                <a:cs typeface="Helvetica"/>
                <a:sym typeface="Helvetica"/>
              </a:defRPr>
            </a:lvl4pPr>
            <a:lvl5pPr marL="2184400" indent="-355600" defTabSz="914400">
              <a:lnSpc>
                <a:spcPct val="90000"/>
              </a:lnSpc>
              <a:spcBef>
                <a:spcPts val="1000"/>
              </a:spcBef>
              <a:buFont typeface="Arial"/>
              <a:buChar char="•"/>
              <a:defRPr sz="2800">
                <a:solidFill>
                  <a:srgbClr val="000000"/>
                </a:solidFill>
                <a:latin typeface="Helvetica"/>
                <a:ea typeface="Helvetica"/>
                <a:cs typeface="Helvetica"/>
                <a:sym typeface="Helvetica"/>
              </a:defRPr>
            </a:lvl5pPr>
          </a:lstStyle>
          <a:p>
            <a:r>
              <a:t>Nivel de texto 1</a:t>
            </a:r>
          </a:p>
          <a:p>
            <a:pPr lvl="1"/>
            <a:r>
              <a:t>Nivel de texto 2</a:t>
            </a:r>
          </a:p>
          <a:p>
            <a:pPr lvl="2"/>
            <a:r>
              <a:t>Nivel de texto 3</a:t>
            </a:r>
          </a:p>
          <a:p>
            <a:pPr lvl="3"/>
            <a:r>
              <a:t>Nivel de texto 4</a:t>
            </a:r>
          </a:p>
          <a:p>
            <a:pPr lvl="4"/>
            <a:r>
              <a:t>Nivel de texto 5</a:t>
            </a:r>
          </a:p>
        </p:txBody>
      </p:sp>
      <p:sp>
        <p:nvSpPr>
          <p:cNvPr id="876" name="Shape 876"/>
          <p:cNvSpPr>
            <a:spLocks noGrp="1"/>
          </p:cNvSpPr>
          <p:nvPr>
            <p:ph type="sldNum" sz="quarter" idx="2"/>
          </p:nvPr>
        </p:nvSpPr>
        <p:spPr>
          <a:xfrm>
            <a:off x="10556240" y="5437188"/>
            <a:ext cx="1270001" cy="1270001"/>
          </a:xfrm>
          <a:prstGeom prst="rect">
            <a:avLst/>
          </a:prstGeom>
        </p:spPr>
        <p:txBody>
          <a:bodyPr/>
          <a:lstStyle>
            <a:lvl1pPr>
              <a:defRPr sz="800">
                <a:solidFill>
                  <a:srgbClr val="888888"/>
                </a:solidFill>
                <a:latin typeface="Helvetica"/>
                <a:ea typeface="Helvetica"/>
                <a:cs typeface="Helvetica"/>
                <a:sym typeface="Helvetica"/>
              </a:defRPr>
            </a:lvl1pPr>
          </a:lstStyle>
          <a:p>
            <a:fld id="{86CB4B4D-7CA3-9044-876B-883B54F8677D}" type="slidenum">
              <a:t>‹Nº›</a:t>
            </a:fld>
            <a:endParaRPr/>
          </a:p>
        </p:txBody>
      </p:sp>
    </p:spTree>
    <p:extLst>
      <p:ext uri="{BB962C8B-B14F-4D97-AF65-F5344CB8AC3E}">
        <p14:creationId xmlns:p14="http://schemas.microsoft.com/office/powerpoint/2010/main" val="4059514115"/>
      </p:ext>
    </p:extLst>
  </p:cSld>
  <p:clrMapOvr>
    <a:masterClrMapping/>
  </p:clrMapOvr>
  <p:transition spd="med"/>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tx">
  <p:cSld name="Comparison">
    <p:bg>
      <p:bgPr>
        <a:solidFill>
          <a:srgbClr val="FFFFFF"/>
        </a:solidFill>
        <a:effectLst/>
      </p:bgPr>
    </p:bg>
    <p:spTree>
      <p:nvGrpSpPr>
        <p:cNvPr id="1" name=""/>
        <p:cNvGrpSpPr/>
        <p:nvPr/>
      </p:nvGrpSpPr>
      <p:grpSpPr>
        <a:xfrm>
          <a:off x="0" y="0"/>
          <a:ext cx="0" cy="0"/>
          <a:chOff x="0" y="0"/>
          <a:chExt cx="0" cy="0"/>
        </a:xfrm>
      </p:grpSpPr>
      <p:pic>
        <p:nvPicPr>
          <p:cNvPr id="883" name="image18.tif"/>
          <p:cNvPicPr>
            <a:picLocks noChangeAspect="1"/>
          </p:cNvPicPr>
          <p:nvPr/>
        </p:nvPicPr>
        <p:blipFill>
          <a:blip r:embed="rId2"/>
          <a:stretch>
            <a:fillRect/>
          </a:stretch>
        </p:blipFill>
        <p:spPr>
          <a:xfrm>
            <a:off x="338178" y="6613462"/>
            <a:ext cx="908605" cy="136589"/>
          </a:xfrm>
          <a:prstGeom prst="rect">
            <a:avLst/>
          </a:prstGeom>
          <a:ln w="12700">
            <a:miter lim="400000"/>
          </a:ln>
        </p:spPr>
      </p:pic>
      <p:sp>
        <p:nvSpPr>
          <p:cNvPr id="884" name="Shape 884"/>
          <p:cNvSpPr>
            <a:spLocks noGrp="1"/>
          </p:cNvSpPr>
          <p:nvPr>
            <p:ph type="body" sz="quarter" idx="13"/>
          </p:nvPr>
        </p:nvSpPr>
        <p:spPr>
          <a:xfrm>
            <a:off x="6172200" y="1681163"/>
            <a:ext cx="5183188" cy="823913"/>
          </a:xfrm>
          <a:prstGeom prst="rect">
            <a:avLst/>
          </a:prstGeom>
        </p:spPr>
        <p:txBody>
          <a:bodyPr lIns="45719" tIns="45719" rIns="45719" bIns="45719" anchor="b"/>
          <a:lstStyle>
            <a:lvl1pPr defTabSz="914400">
              <a:lnSpc>
                <a:spcPct val="90000"/>
              </a:lnSpc>
              <a:spcBef>
                <a:spcPts val="1000"/>
              </a:spcBef>
              <a:defRPr sz="2400" b="1">
                <a:solidFill>
                  <a:srgbClr val="000000"/>
                </a:solidFill>
                <a:latin typeface="Helvetica"/>
                <a:ea typeface="Helvetica"/>
                <a:cs typeface="Helvetica"/>
                <a:sym typeface="Helvetica"/>
              </a:defRPr>
            </a:lvl1pPr>
          </a:lstStyle>
          <a:p>
            <a:r>
              <a:t> </a:t>
            </a:r>
          </a:p>
        </p:txBody>
      </p:sp>
      <p:sp>
        <p:nvSpPr>
          <p:cNvPr id="885" name="Shape 885"/>
          <p:cNvSpPr>
            <a:spLocks noGrp="1"/>
          </p:cNvSpPr>
          <p:nvPr>
            <p:ph type="title"/>
          </p:nvPr>
        </p:nvSpPr>
        <p:spPr>
          <a:xfrm>
            <a:off x="839787" y="365125"/>
            <a:ext cx="10515601" cy="1325564"/>
          </a:xfrm>
          <a:prstGeom prst="rect">
            <a:avLst/>
          </a:prstGeom>
        </p:spPr>
        <p:txBody>
          <a:bodyPr lIns="45719" tIns="45719" rIns="45719" bIns="45719" anchor="ctr">
            <a:normAutofit/>
          </a:bodyPr>
          <a:lstStyle>
            <a:lvl1pPr defTabSz="914400">
              <a:lnSpc>
                <a:spcPct val="90000"/>
              </a:lnSpc>
              <a:defRPr sz="4400">
                <a:solidFill>
                  <a:srgbClr val="000000"/>
                </a:solidFill>
                <a:latin typeface="Helvetica"/>
                <a:ea typeface="Helvetica"/>
                <a:cs typeface="Helvetica"/>
                <a:sym typeface="Helvetica"/>
              </a:defRPr>
            </a:lvl1pPr>
          </a:lstStyle>
          <a:p>
            <a:r>
              <a:t>Texto del título</a:t>
            </a:r>
          </a:p>
        </p:txBody>
      </p:sp>
      <p:sp>
        <p:nvSpPr>
          <p:cNvPr id="886" name="Shape 886"/>
          <p:cNvSpPr>
            <a:spLocks noGrp="1"/>
          </p:cNvSpPr>
          <p:nvPr>
            <p:ph type="body" sz="quarter" idx="1"/>
          </p:nvPr>
        </p:nvSpPr>
        <p:spPr>
          <a:xfrm>
            <a:off x="839788" y="1681163"/>
            <a:ext cx="5157789" cy="823913"/>
          </a:xfrm>
          <a:prstGeom prst="rect">
            <a:avLst/>
          </a:prstGeom>
        </p:spPr>
        <p:txBody>
          <a:bodyPr lIns="45719" tIns="45719" rIns="45719" bIns="45719" anchor="b">
            <a:normAutofit/>
          </a:bodyPr>
          <a:lstStyle>
            <a:lvl1pPr defTabSz="914400">
              <a:lnSpc>
                <a:spcPct val="90000"/>
              </a:lnSpc>
              <a:spcBef>
                <a:spcPts val="1000"/>
              </a:spcBef>
              <a:defRPr sz="2400" b="1">
                <a:solidFill>
                  <a:srgbClr val="000000"/>
                </a:solidFill>
                <a:latin typeface="Helvetica"/>
                <a:ea typeface="Helvetica"/>
                <a:cs typeface="Helvetica"/>
                <a:sym typeface="Helvetica"/>
              </a:defRPr>
            </a:lvl1pPr>
            <a:lvl2pPr marL="0" indent="457200" defTabSz="914400">
              <a:lnSpc>
                <a:spcPct val="90000"/>
              </a:lnSpc>
              <a:spcBef>
                <a:spcPts val="1000"/>
              </a:spcBef>
              <a:buSzTx/>
              <a:buNone/>
              <a:defRPr sz="2400" b="1">
                <a:solidFill>
                  <a:srgbClr val="000000"/>
                </a:solidFill>
                <a:latin typeface="Helvetica"/>
                <a:ea typeface="Helvetica"/>
                <a:cs typeface="Helvetica"/>
                <a:sym typeface="Helvetica"/>
              </a:defRPr>
            </a:lvl2pPr>
            <a:lvl3pPr marL="0" indent="914400" defTabSz="914400">
              <a:lnSpc>
                <a:spcPct val="90000"/>
              </a:lnSpc>
              <a:spcBef>
                <a:spcPts val="1000"/>
              </a:spcBef>
              <a:buSzTx/>
              <a:buNone/>
              <a:defRPr sz="2400" b="1">
                <a:solidFill>
                  <a:srgbClr val="000000"/>
                </a:solidFill>
                <a:latin typeface="Helvetica"/>
                <a:ea typeface="Helvetica"/>
                <a:cs typeface="Helvetica"/>
                <a:sym typeface="Helvetica"/>
              </a:defRPr>
            </a:lvl3pPr>
            <a:lvl4pPr marL="0" indent="1371600" defTabSz="914400">
              <a:lnSpc>
                <a:spcPct val="90000"/>
              </a:lnSpc>
              <a:spcBef>
                <a:spcPts val="1000"/>
              </a:spcBef>
              <a:buSzTx/>
              <a:buNone/>
              <a:defRPr sz="2400" b="1">
                <a:solidFill>
                  <a:srgbClr val="000000"/>
                </a:solidFill>
                <a:latin typeface="Helvetica"/>
                <a:ea typeface="Helvetica"/>
                <a:cs typeface="Helvetica"/>
                <a:sym typeface="Helvetica"/>
              </a:defRPr>
            </a:lvl4pPr>
            <a:lvl5pPr marL="0" indent="1828800" defTabSz="914400">
              <a:lnSpc>
                <a:spcPct val="90000"/>
              </a:lnSpc>
              <a:spcBef>
                <a:spcPts val="1000"/>
              </a:spcBef>
              <a:buSzTx/>
              <a:buNone/>
              <a:defRPr sz="2400" b="1">
                <a:solidFill>
                  <a:srgbClr val="000000"/>
                </a:solidFill>
                <a:latin typeface="Helvetica"/>
                <a:ea typeface="Helvetica"/>
                <a:cs typeface="Helvetica"/>
                <a:sym typeface="Helvetica"/>
              </a:defRPr>
            </a:lvl5pPr>
          </a:lstStyle>
          <a:p>
            <a:r>
              <a:t>Nivel de texto 1</a:t>
            </a:r>
          </a:p>
          <a:p>
            <a:pPr lvl="1"/>
            <a:r>
              <a:t>Nivel de texto 2</a:t>
            </a:r>
          </a:p>
          <a:p>
            <a:pPr lvl="2"/>
            <a:r>
              <a:t>Nivel de texto 3</a:t>
            </a:r>
          </a:p>
          <a:p>
            <a:pPr lvl="3"/>
            <a:r>
              <a:t>Nivel de texto 4</a:t>
            </a:r>
          </a:p>
          <a:p>
            <a:pPr lvl="4"/>
            <a:r>
              <a:t>Nivel de texto 5</a:t>
            </a:r>
          </a:p>
        </p:txBody>
      </p:sp>
      <p:sp>
        <p:nvSpPr>
          <p:cNvPr id="887" name="Shape 887"/>
          <p:cNvSpPr>
            <a:spLocks noGrp="1"/>
          </p:cNvSpPr>
          <p:nvPr>
            <p:ph type="sldNum" sz="quarter" idx="2"/>
          </p:nvPr>
        </p:nvSpPr>
        <p:spPr>
          <a:xfrm>
            <a:off x="10556240" y="5437188"/>
            <a:ext cx="1270001" cy="1270001"/>
          </a:xfrm>
          <a:prstGeom prst="rect">
            <a:avLst/>
          </a:prstGeom>
        </p:spPr>
        <p:txBody>
          <a:bodyPr/>
          <a:lstStyle>
            <a:lvl1pPr>
              <a:defRPr sz="800">
                <a:solidFill>
                  <a:srgbClr val="888888"/>
                </a:solidFill>
                <a:latin typeface="Helvetica"/>
                <a:ea typeface="Helvetica"/>
                <a:cs typeface="Helvetica"/>
                <a:sym typeface="Helvetica"/>
              </a:defRPr>
            </a:lvl1pPr>
          </a:lstStyle>
          <a:p>
            <a:fld id="{86CB4B4D-7CA3-9044-876B-883B54F8677D}" type="slidenum">
              <a:t>‹Nº›</a:t>
            </a:fld>
            <a:endParaRPr/>
          </a:p>
        </p:txBody>
      </p:sp>
    </p:spTree>
    <p:extLst>
      <p:ext uri="{BB962C8B-B14F-4D97-AF65-F5344CB8AC3E}">
        <p14:creationId xmlns:p14="http://schemas.microsoft.com/office/powerpoint/2010/main" val="4182318074"/>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x">
  <p:cSld name="En blanco">
    <p:bg>
      <p:bgPr>
        <a:solidFill>
          <a:srgbClr val="FFFFFF"/>
        </a:solidFill>
        <a:effectLst/>
      </p:bgPr>
    </p:bg>
    <p:spTree>
      <p:nvGrpSpPr>
        <p:cNvPr id="1" name=""/>
        <p:cNvGrpSpPr/>
        <p:nvPr/>
      </p:nvGrpSpPr>
      <p:grpSpPr>
        <a:xfrm>
          <a:off x="0" y="0"/>
          <a:ext cx="0" cy="0"/>
          <a:chOff x="0" y="0"/>
          <a:chExt cx="0" cy="0"/>
        </a:xfrm>
      </p:grpSpPr>
      <p:pic>
        <p:nvPicPr>
          <p:cNvPr id="155"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156" name="Shape 156"/>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cSld>
  <p:clrMapOvr>
    <a:masterClrMapping/>
  </p:clrMapOvr>
  <p:transition spd="med"/>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tx">
  <p:cSld name="Title Only">
    <p:bg>
      <p:bgPr>
        <a:solidFill>
          <a:srgbClr val="FFFFFF"/>
        </a:solidFill>
        <a:effectLst/>
      </p:bgPr>
    </p:bg>
    <p:spTree>
      <p:nvGrpSpPr>
        <p:cNvPr id="1" name=""/>
        <p:cNvGrpSpPr/>
        <p:nvPr/>
      </p:nvGrpSpPr>
      <p:grpSpPr>
        <a:xfrm>
          <a:off x="0" y="0"/>
          <a:ext cx="0" cy="0"/>
          <a:chOff x="0" y="0"/>
          <a:chExt cx="0" cy="0"/>
        </a:xfrm>
      </p:grpSpPr>
      <p:pic>
        <p:nvPicPr>
          <p:cNvPr id="894" name="image18.tif"/>
          <p:cNvPicPr>
            <a:picLocks noChangeAspect="1"/>
          </p:cNvPicPr>
          <p:nvPr/>
        </p:nvPicPr>
        <p:blipFill>
          <a:blip r:embed="rId2"/>
          <a:stretch>
            <a:fillRect/>
          </a:stretch>
        </p:blipFill>
        <p:spPr>
          <a:xfrm>
            <a:off x="338178" y="6613462"/>
            <a:ext cx="908605" cy="136589"/>
          </a:xfrm>
          <a:prstGeom prst="rect">
            <a:avLst/>
          </a:prstGeom>
          <a:ln w="12700">
            <a:miter lim="400000"/>
          </a:ln>
        </p:spPr>
      </p:pic>
      <p:sp>
        <p:nvSpPr>
          <p:cNvPr id="895" name="Shape 895"/>
          <p:cNvSpPr>
            <a:spLocks noGrp="1"/>
          </p:cNvSpPr>
          <p:nvPr>
            <p:ph type="title"/>
          </p:nvPr>
        </p:nvSpPr>
        <p:spPr>
          <a:xfrm>
            <a:off x="838200" y="365125"/>
            <a:ext cx="10515600" cy="1325564"/>
          </a:xfrm>
          <a:prstGeom prst="rect">
            <a:avLst/>
          </a:prstGeom>
        </p:spPr>
        <p:txBody>
          <a:bodyPr lIns="45719" tIns="45719" rIns="45719" bIns="45719" anchor="ctr">
            <a:normAutofit/>
          </a:bodyPr>
          <a:lstStyle>
            <a:lvl1pPr defTabSz="914400">
              <a:lnSpc>
                <a:spcPct val="90000"/>
              </a:lnSpc>
              <a:defRPr sz="4400">
                <a:solidFill>
                  <a:srgbClr val="000000"/>
                </a:solidFill>
                <a:latin typeface="Helvetica"/>
                <a:ea typeface="Helvetica"/>
                <a:cs typeface="Helvetica"/>
                <a:sym typeface="Helvetica"/>
              </a:defRPr>
            </a:lvl1pPr>
          </a:lstStyle>
          <a:p>
            <a:r>
              <a:t>Texto del título</a:t>
            </a:r>
          </a:p>
        </p:txBody>
      </p:sp>
      <p:sp>
        <p:nvSpPr>
          <p:cNvPr id="896" name="Shape 896"/>
          <p:cNvSpPr>
            <a:spLocks noGrp="1"/>
          </p:cNvSpPr>
          <p:nvPr>
            <p:ph type="sldNum" sz="quarter" idx="2"/>
          </p:nvPr>
        </p:nvSpPr>
        <p:spPr>
          <a:xfrm>
            <a:off x="10556240" y="5437188"/>
            <a:ext cx="1270001" cy="1270001"/>
          </a:xfrm>
          <a:prstGeom prst="rect">
            <a:avLst/>
          </a:prstGeom>
        </p:spPr>
        <p:txBody>
          <a:bodyPr/>
          <a:lstStyle>
            <a:lvl1pPr>
              <a:defRPr sz="800">
                <a:solidFill>
                  <a:srgbClr val="888888"/>
                </a:solidFill>
                <a:latin typeface="Helvetica"/>
                <a:ea typeface="Helvetica"/>
                <a:cs typeface="Helvetica"/>
                <a:sym typeface="Helvetica"/>
              </a:defRPr>
            </a:lvl1pPr>
          </a:lstStyle>
          <a:p>
            <a:fld id="{86CB4B4D-7CA3-9044-876B-883B54F8677D}" type="slidenum">
              <a:t>‹Nº›</a:t>
            </a:fld>
            <a:endParaRPr/>
          </a:p>
        </p:txBody>
      </p:sp>
    </p:spTree>
    <p:extLst>
      <p:ext uri="{BB962C8B-B14F-4D97-AF65-F5344CB8AC3E}">
        <p14:creationId xmlns:p14="http://schemas.microsoft.com/office/powerpoint/2010/main" val="3654899162"/>
      </p:ext>
    </p:extLst>
  </p:cSld>
  <p:clrMapOvr>
    <a:masterClrMapping/>
  </p:clrMapOvr>
  <p:transition spd="med"/>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x">
  <p:cSld name="Blank">
    <p:bg>
      <p:bgPr>
        <a:solidFill>
          <a:srgbClr val="FFFFFF"/>
        </a:solidFill>
        <a:effectLst/>
      </p:bgPr>
    </p:bg>
    <p:spTree>
      <p:nvGrpSpPr>
        <p:cNvPr id="1" name=""/>
        <p:cNvGrpSpPr/>
        <p:nvPr/>
      </p:nvGrpSpPr>
      <p:grpSpPr>
        <a:xfrm>
          <a:off x="0" y="0"/>
          <a:ext cx="0" cy="0"/>
          <a:chOff x="0" y="0"/>
          <a:chExt cx="0" cy="0"/>
        </a:xfrm>
      </p:grpSpPr>
      <p:pic>
        <p:nvPicPr>
          <p:cNvPr id="903" name="image18.tif"/>
          <p:cNvPicPr>
            <a:picLocks noChangeAspect="1"/>
          </p:cNvPicPr>
          <p:nvPr/>
        </p:nvPicPr>
        <p:blipFill>
          <a:blip r:embed="rId2"/>
          <a:stretch>
            <a:fillRect/>
          </a:stretch>
        </p:blipFill>
        <p:spPr>
          <a:xfrm>
            <a:off x="338178" y="6613462"/>
            <a:ext cx="908605" cy="136589"/>
          </a:xfrm>
          <a:prstGeom prst="rect">
            <a:avLst/>
          </a:prstGeom>
          <a:ln w="12700">
            <a:miter lim="400000"/>
          </a:ln>
        </p:spPr>
      </p:pic>
      <p:sp>
        <p:nvSpPr>
          <p:cNvPr id="904" name="Shape 904"/>
          <p:cNvSpPr>
            <a:spLocks noGrp="1"/>
          </p:cNvSpPr>
          <p:nvPr>
            <p:ph type="sldNum" sz="quarter" idx="2"/>
          </p:nvPr>
        </p:nvSpPr>
        <p:spPr>
          <a:xfrm>
            <a:off x="10556240" y="5437188"/>
            <a:ext cx="1270001" cy="1270001"/>
          </a:xfrm>
          <a:prstGeom prst="rect">
            <a:avLst/>
          </a:prstGeom>
        </p:spPr>
        <p:txBody>
          <a:bodyPr/>
          <a:lstStyle>
            <a:lvl1pPr>
              <a:defRPr sz="800">
                <a:solidFill>
                  <a:srgbClr val="888888"/>
                </a:solidFill>
                <a:latin typeface="Helvetica"/>
                <a:ea typeface="Helvetica"/>
                <a:cs typeface="Helvetica"/>
                <a:sym typeface="Helvetica"/>
              </a:defRPr>
            </a:lvl1pPr>
          </a:lstStyle>
          <a:p>
            <a:fld id="{86CB4B4D-7CA3-9044-876B-883B54F8677D}" type="slidenum">
              <a:t>‹Nº›</a:t>
            </a:fld>
            <a:endParaRPr/>
          </a:p>
        </p:txBody>
      </p:sp>
    </p:spTree>
    <p:extLst>
      <p:ext uri="{BB962C8B-B14F-4D97-AF65-F5344CB8AC3E}">
        <p14:creationId xmlns:p14="http://schemas.microsoft.com/office/powerpoint/2010/main" val="3536294548"/>
      </p:ext>
    </p:extLst>
  </p:cSld>
  <p:clrMapOvr>
    <a:masterClrMapping/>
  </p:clrMapOvr>
  <p:transition spd="med"/>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tx">
  <p:cSld name="Content with Caption">
    <p:bg>
      <p:bgPr>
        <a:solidFill>
          <a:srgbClr val="FFFFFF"/>
        </a:solidFill>
        <a:effectLst/>
      </p:bgPr>
    </p:bg>
    <p:spTree>
      <p:nvGrpSpPr>
        <p:cNvPr id="1" name=""/>
        <p:cNvGrpSpPr/>
        <p:nvPr/>
      </p:nvGrpSpPr>
      <p:grpSpPr>
        <a:xfrm>
          <a:off x="0" y="0"/>
          <a:ext cx="0" cy="0"/>
          <a:chOff x="0" y="0"/>
          <a:chExt cx="0" cy="0"/>
        </a:xfrm>
      </p:grpSpPr>
      <p:pic>
        <p:nvPicPr>
          <p:cNvPr id="911" name="image18.tif"/>
          <p:cNvPicPr>
            <a:picLocks noChangeAspect="1"/>
          </p:cNvPicPr>
          <p:nvPr/>
        </p:nvPicPr>
        <p:blipFill>
          <a:blip r:embed="rId2"/>
          <a:stretch>
            <a:fillRect/>
          </a:stretch>
        </p:blipFill>
        <p:spPr>
          <a:xfrm>
            <a:off x="338178" y="6613462"/>
            <a:ext cx="908605" cy="136589"/>
          </a:xfrm>
          <a:prstGeom prst="rect">
            <a:avLst/>
          </a:prstGeom>
          <a:ln w="12700">
            <a:miter lim="400000"/>
          </a:ln>
        </p:spPr>
      </p:pic>
      <p:sp>
        <p:nvSpPr>
          <p:cNvPr id="912" name="Shape 912"/>
          <p:cNvSpPr>
            <a:spLocks noGrp="1"/>
          </p:cNvSpPr>
          <p:nvPr>
            <p:ph type="body" sz="quarter" idx="13"/>
          </p:nvPr>
        </p:nvSpPr>
        <p:spPr>
          <a:xfrm>
            <a:off x="839788" y="2057400"/>
            <a:ext cx="3932238" cy="3811588"/>
          </a:xfrm>
          <a:prstGeom prst="rect">
            <a:avLst/>
          </a:prstGeom>
        </p:spPr>
        <p:txBody>
          <a:bodyPr lIns="45719" tIns="45719" rIns="45719" bIns="45719"/>
          <a:lstStyle>
            <a:lvl1pPr defTabSz="914400">
              <a:lnSpc>
                <a:spcPct val="90000"/>
              </a:lnSpc>
              <a:spcBef>
                <a:spcPts val="1000"/>
              </a:spcBef>
              <a:defRPr sz="1600">
                <a:solidFill>
                  <a:srgbClr val="000000"/>
                </a:solidFill>
                <a:latin typeface="Helvetica"/>
                <a:ea typeface="Helvetica"/>
                <a:cs typeface="Helvetica"/>
                <a:sym typeface="Helvetica"/>
              </a:defRPr>
            </a:lvl1pPr>
          </a:lstStyle>
          <a:p>
            <a:r>
              <a:t> </a:t>
            </a:r>
          </a:p>
        </p:txBody>
      </p:sp>
      <p:sp>
        <p:nvSpPr>
          <p:cNvPr id="913" name="Shape 913"/>
          <p:cNvSpPr>
            <a:spLocks noGrp="1"/>
          </p:cNvSpPr>
          <p:nvPr>
            <p:ph type="title"/>
          </p:nvPr>
        </p:nvSpPr>
        <p:spPr>
          <a:xfrm>
            <a:off x="839788" y="457200"/>
            <a:ext cx="3932239" cy="1600200"/>
          </a:xfrm>
          <a:prstGeom prst="rect">
            <a:avLst/>
          </a:prstGeom>
        </p:spPr>
        <p:txBody>
          <a:bodyPr lIns="45719" tIns="45719" rIns="45719" bIns="45719" anchor="b">
            <a:normAutofit/>
          </a:bodyPr>
          <a:lstStyle>
            <a:lvl1pPr defTabSz="914400">
              <a:lnSpc>
                <a:spcPct val="90000"/>
              </a:lnSpc>
              <a:defRPr sz="3200">
                <a:solidFill>
                  <a:srgbClr val="000000"/>
                </a:solidFill>
                <a:latin typeface="Helvetica"/>
                <a:ea typeface="Helvetica"/>
                <a:cs typeface="Helvetica"/>
                <a:sym typeface="Helvetica"/>
              </a:defRPr>
            </a:lvl1pPr>
          </a:lstStyle>
          <a:p>
            <a:r>
              <a:t>Texto del título</a:t>
            </a:r>
          </a:p>
        </p:txBody>
      </p:sp>
      <p:sp>
        <p:nvSpPr>
          <p:cNvPr id="914" name="Shape 914"/>
          <p:cNvSpPr>
            <a:spLocks noGrp="1"/>
          </p:cNvSpPr>
          <p:nvPr>
            <p:ph type="body" sz="half" idx="1"/>
          </p:nvPr>
        </p:nvSpPr>
        <p:spPr>
          <a:xfrm>
            <a:off x="5183187" y="987425"/>
            <a:ext cx="6172201" cy="4873626"/>
          </a:xfrm>
          <a:prstGeom prst="rect">
            <a:avLst/>
          </a:prstGeom>
        </p:spPr>
        <p:txBody>
          <a:bodyPr lIns="45719" tIns="45719" rIns="45719" bIns="45719">
            <a:normAutofit/>
          </a:bodyPr>
          <a:lstStyle>
            <a:lvl1pPr marL="228600" indent="-228600" defTabSz="914400">
              <a:lnSpc>
                <a:spcPct val="90000"/>
              </a:lnSpc>
              <a:spcBef>
                <a:spcPts val="1000"/>
              </a:spcBef>
              <a:buSzPct val="100000"/>
              <a:buFont typeface="Arial"/>
              <a:buChar char="•"/>
              <a:defRPr sz="3200">
                <a:solidFill>
                  <a:srgbClr val="000000"/>
                </a:solidFill>
                <a:latin typeface="Helvetica"/>
                <a:ea typeface="Helvetica"/>
                <a:cs typeface="Helvetica"/>
                <a:sym typeface="Helvetica"/>
              </a:defRPr>
            </a:lvl1pPr>
            <a:lvl2pPr marL="718457" indent="-261257" defTabSz="914400">
              <a:lnSpc>
                <a:spcPct val="90000"/>
              </a:lnSpc>
              <a:spcBef>
                <a:spcPts val="1000"/>
              </a:spcBef>
              <a:buFont typeface="Arial"/>
              <a:defRPr sz="3200">
                <a:solidFill>
                  <a:srgbClr val="000000"/>
                </a:solidFill>
                <a:latin typeface="Helvetica"/>
                <a:ea typeface="Helvetica"/>
                <a:cs typeface="Helvetica"/>
                <a:sym typeface="Helvetica"/>
              </a:defRPr>
            </a:lvl2pPr>
            <a:lvl3pPr marL="1219200" indent="-304800" defTabSz="914400">
              <a:lnSpc>
                <a:spcPct val="90000"/>
              </a:lnSpc>
              <a:spcBef>
                <a:spcPts val="1000"/>
              </a:spcBef>
              <a:buFont typeface="Arial"/>
              <a:buChar char="•"/>
              <a:defRPr sz="3200">
                <a:solidFill>
                  <a:srgbClr val="000000"/>
                </a:solidFill>
                <a:latin typeface="Helvetica"/>
                <a:ea typeface="Helvetica"/>
                <a:cs typeface="Helvetica"/>
                <a:sym typeface="Helvetica"/>
              </a:defRPr>
            </a:lvl3pPr>
            <a:lvl4pPr marL="1737360" indent="-365760" defTabSz="914400">
              <a:lnSpc>
                <a:spcPct val="90000"/>
              </a:lnSpc>
              <a:spcBef>
                <a:spcPts val="1000"/>
              </a:spcBef>
              <a:buFont typeface="Arial"/>
              <a:defRPr sz="3200">
                <a:solidFill>
                  <a:srgbClr val="000000"/>
                </a:solidFill>
                <a:latin typeface="Helvetica"/>
                <a:ea typeface="Helvetica"/>
                <a:cs typeface="Helvetica"/>
                <a:sym typeface="Helvetica"/>
              </a:defRPr>
            </a:lvl4pPr>
            <a:lvl5pPr marL="2194560" indent="-365760" defTabSz="914400">
              <a:lnSpc>
                <a:spcPct val="90000"/>
              </a:lnSpc>
              <a:spcBef>
                <a:spcPts val="1000"/>
              </a:spcBef>
              <a:buFont typeface="Arial"/>
              <a:buChar char="•"/>
              <a:defRPr sz="3200">
                <a:solidFill>
                  <a:srgbClr val="000000"/>
                </a:solidFill>
                <a:latin typeface="Helvetica"/>
                <a:ea typeface="Helvetica"/>
                <a:cs typeface="Helvetica"/>
                <a:sym typeface="Helvetica"/>
              </a:defRPr>
            </a:lvl5pPr>
          </a:lstStyle>
          <a:p>
            <a:r>
              <a:t>Nivel de texto 1</a:t>
            </a:r>
          </a:p>
          <a:p>
            <a:pPr lvl="1"/>
            <a:r>
              <a:t>Nivel de texto 2</a:t>
            </a:r>
          </a:p>
          <a:p>
            <a:pPr lvl="2"/>
            <a:r>
              <a:t>Nivel de texto 3</a:t>
            </a:r>
          </a:p>
          <a:p>
            <a:pPr lvl="3"/>
            <a:r>
              <a:t>Nivel de texto 4</a:t>
            </a:r>
          </a:p>
          <a:p>
            <a:pPr lvl="4"/>
            <a:r>
              <a:t>Nivel de texto 5</a:t>
            </a:r>
          </a:p>
        </p:txBody>
      </p:sp>
      <p:sp>
        <p:nvSpPr>
          <p:cNvPr id="915" name="Shape 915"/>
          <p:cNvSpPr>
            <a:spLocks noGrp="1"/>
          </p:cNvSpPr>
          <p:nvPr>
            <p:ph type="sldNum" sz="quarter" idx="2"/>
          </p:nvPr>
        </p:nvSpPr>
        <p:spPr>
          <a:xfrm>
            <a:off x="10556240" y="5437188"/>
            <a:ext cx="1270001" cy="1270001"/>
          </a:xfrm>
          <a:prstGeom prst="rect">
            <a:avLst/>
          </a:prstGeom>
        </p:spPr>
        <p:txBody>
          <a:bodyPr/>
          <a:lstStyle>
            <a:lvl1pPr>
              <a:defRPr sz="800">
                <a:solidFill>
                  <a:srgbClr val="888888"/>
                </a:solidFill>
                <a:latin typeface="Helvetica"/>
                <a:ea typeface="Helvetica"/>
                <a:cs typeface="Helvetica"/>
                <a:sym typeface="Helvetica"/>
              </a:defRPr>
            </a:lvl1pPr>
          </a:lstStyle>
          <a:p>
            <a:fld id="{86CB4B4D-7CA3-9044-876B-883B54F8677D}" type="slidenum">
              <a:t>‹Nº›</a:t>
            </a:fld>
            <a:endParaRPr/>
          </a:p>
        </p:txBody>
      </p:sp>
    </p:spTree>
    <p:extLst>
      <p:ext uri="{BB962C8B-B14F-4D97-AF65-F5344CB8AC3E}">
        <p14:creationId xmlns:p14="http://schemas.microsoft.com/office/powerpoint/2010/main" val="3235798371"/>
      </p:ext>
    </p:extLst>
  </p:cSld>
  <p:clrMapOvr>
    <a:masterClrMapping/>
  </p:clrMapOvr>
  <p:transition spd="med"/>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x">
  <p:cSld name="Picture with Caption">
    <p:bg>
      <p:bgPr>
        <a:solidFill>
          <a:srgbClr val="FFFFFF"/>
        </a:solidFill>
        <a:effectLst/>
      </p:bgPr>
    </p:bg>
    <p:spTree>
      <p:nvGrpSpPr>
        <p:cNvPr id="1" name=""/>
        <p:cNvGrpSpPr/>
        <p:nvPr/>
      </p:nvGrpSpPr>
      <p:grpSpPr>
        <a:xfrm>
          <a:off x="0" y="0"/>
          <a:ext cx="0" cy="0"/>
          <a:chOff x="0" y="0"/>
          <a:chExt cx="0" cy="0"/>
        </a:xfrm>
      </p:grpSpPr>
      <p:pic>
        <p:nvPicPr>
          <p:cNvPr id="922" name="image18.tif"/>
          <p:cNvPicPr>
            <a:picLocks noChangeAspect="1"/>
          </p:cNvPicPr>
          <p:nvPr/>
        </p:nvPicPr>
        <p:blipFill>
          <a:blip r:embed="rId2"/>
          <a:stretch>
            <a:fillRect/>
          </a:stretch>
        </p:blipFill>
        <p:spPr>
          <a:xfrm>
            <a:off x="338178" y="6613462"/>
            <a:ext cx="908605" cy="136589"/>
          </a:xfrm>
          <a:prstGeom prst="rect">
            <a:avLst/>
          </a:prstGeom>
          <a:ln w="12700">
            <a:miter lim="400000"/>
          </a:ln>
        </p:spPr>
      </p:pic>
      <p:sp>
        <p:nvSpPr>
          <p:cNvPr id="923" name="Shape 923"/>
          <p:cNvSpPr>
            <a:spLocks noGrp="1"/>
          </p:cNvSpPr>
          <p:nvPr>
            <p:ph type="pic" sz="half" idx="13"/>
          </p:nvPr>
        </p:nvSpPr>
        <p:spPr>
          <a:xfrm>
            <a:off x="5183187" y="987425"/>
            <a:ext cx="6172201" cy="4873626"/>
          </a:xfrm>
          <a:prstGeom prst="rect">
            <a:avLst/>
          </a:prstGeom>
        </p:spPr>
        <p:txBody>
          <a:bodyPr lIns="91439" tIns="45719" rIns="91439" bIns="45719"/>
          <a:lstStyle/>
          <a:p>
            <a:endParaRPr/>
          </a:p>
        </p:txBody>
      </p:sp>
      <p:sp>
        <p:nvSpPr>
          <p:cNvPr id="924" name="Shape 924"/>
          <p:cNvSpPr>
            <a:spLocks noGrp="1"/>
          </p:cNvSpPr>
          <p:nvPr>
            <p:ph type="title"/>
          </p:nvPr>
        </p:nvSpPr>
        <p:spPr>
          <a:xfrm>
            <a:off x="839788" y="457200"/>
            <a:ext cx="3932239" cy="1600200"/>
          </a:xfrm>
          <a:prstGeom prst="rect">
            <a:avLst/>
          </a:prstGeom>
        </p:spPr>
        <p:txBody>
          <a:bodyPr lIns="45719" tIns="45719" rIns="45719" bIns="45719" anchor="b">
            <a:normAutofit/>
          </a:bodyPr>
          <a:lstStyle>
            <a:lvl1pPr defTabSz="914400">
              <a:lnSpc>
                <a:spcPct val="90000"/>
              </a:lnSpc>
              <a:defRPr sz="3200">
                <a:solidFill>
                  <a:srgbClr val="000000"/>
                </a:solidFill>
                <a:latin typeface="Helvetica"/>
                <a:ea typeface="Helvetica"/>
                <a:cs typeface="Helvetica"/>
                <a:sym typeface="Helvetica"/>
              </a:defRPr>
            </a:lvl1pPr>
          </a:lstStyle>
          <a:p>
            <a:r>
              <a:t>Texto del título</a:t>
            </a:r>
          </a:p>
        </p:txBody>
      </p:sp>
      <p:sp>
        <p:nvSpPr>
          <p:cNvPr id="925" name="Shape 925"/>
          <p:cNvSpPr>
            <a:spLocks noGrp="1"/>
          </p:cNvSpPr>
          <p:nvPr>
            <p:ph type="body" sz="quarter" idx="1"/>
          </p:nvPr>
        </p:nvSpPr>
        <p:spPr>
          <a:xfrm>
            <a:off x="839788" y="2057400"/>
            <a:ext cx="3932239" cy="3811588"/>
          </a:xfrm>
          <a:prstGeom prst="rect">
            <a:avLst/>
          </a:prstGeom>
        </p:spPr>
        <p:txBody>
          <a:bodyPr lIns="45719" tIns="45719" rIns="45719" bIns="45719">
            <a:normAutofit/>
          </a:bodyPr>
          <a:lstStyle>
            <a:lvl1pPr defTabSz="914400">
              <a:lnSpc>
                <a:spcPct val="90000"/>
              </a:lnSpc>
              <a:spcBef>
                <a:spcPts val="1000"/>
              </a:spcBef>
              <a:defRPr sz="1600">
                <a:solidFill>
                  <a:srgbClr val="000000"/>
                </a:solidFill>
                <a:latin typeface="Helvetica"/>
                <a:ea typeface="Helvetica"/>
                <a:cs typeface="Helvetica"/>
                <a:sym typeface="Helvetica"/>
              </a:defRPr>
            </a:lvl1pPr>
            <a:lvl2pPr marL="0" indent="457200" defTabSz="914400">
              <a:lnSpc>
                <a:spcPct val="90000"/>
              </a:lnSpc>
              <a:spcBef>
                <a:spcPts val="1000"/>
              </a:spcBef>
              <a:buSzTx/>
              <a:buNone/>
              <a:defRPr sz="1600">
                <a:solidFill>
                  <a:srgbClr val="000000"/>
                </a:solidFill>
                <a:latin typeface="Helvetica"/>
                <a:ea typeface="Helvetica"/>
                <a:cs typeface="Helvetica"/>
                <a:sym typeface="Helvetica"/>
              </a:defRPr>
            </a:lvl2pPr>
            <a:lvl3pPr marL="0" indent="914400" defTabSz="914400">
              <a:lnSpc>
                <a:spcPct val="90000"/>
              </a:lnSpc>
              <a:spcBef>
                <a:spcPts val="1000"/>
              </a:spcBef>
              <a:buSzTx/>
              <a:buNone/>
              <a:defRPr sz="1600">
                <a:solidFill>
                  <a:srgbClr val="000000"/>
                </a:solidFill>
                <a:latin typeface="Helvetica"/>
                <a:ea typeface="Helvetica"/>
                <a:cs typeface="Helvetica"/>
                <a:sym typeface="Helvetica"/>
              </a:defRPr>
            </a:lvl3pPr>
            <a:lvl4pPr marL="0" indent="1371600" defTabSz="914400">
              <a:lnSpc>
                <a:spcPct val="90000"/>
              </a:lnSpc>
              <a:spcBef>
                <a:spcPts val="1000"/>
              </a:spcBef>
              <a:buSzTx/>
              <a:buNone/>
              <a:defRPr sz="1600">
                <a:solidFill>
                  <a:srgbClr val="000000"/>
                </a:solidFill>
                <a:latin typeface="Helvetica"/>
                <a:ea typeface="Helvetica"/>
                <a:cs typeface="Helvetica"/>
                <a:sym typeface="Helvetica"/>
              </a:defRPr>
            </a:lvl4pPr>
            <a:lvl5pPr marL="0" indent="1828800" defTabSz="914400">
              <a:lnSpc>
                <a:spcPct val="90000"/>
              </a:lnSpc>
              <a:spcBef>
                <a:spcPts val="1000"/>
              </a:spcBef>
              <a:buSzTx/>
              <a:buNone/>
              <a:defRPr sz="1600">
                <a:solidFill>
                  <a:srgbClr val="000000"/>
                </a:solidFill>
                <a:latin typeface="Helvetica"/>
                <a:ea typeface="Helvetica"/>
                <a:cs typeface="Helvetica"/>
                <a:sym typeface="Helvetica"/>
              </a:defRPr>
            </a:lvl5pPr>
          </a:lstStyle>
          <a:p>
            <a:r>
              <a:t>Nivel de texto 1</a:t>
            </a:r>
          </a:p>
          <a:p>
            <a:pPr lvl="1"/>
            <a:r>
              <a:t>Nivel de texto 2</a:t>
            </a:r>
          </a:p>
          <a:p>
            <a:pPr lvl="2"/>
            <a:r>
              <a:t>Nivel de texto 3</a:t>
            </a:r>
          </a:p>
          <a:p>
            <a:pPr lvl="3"/>
            <a:r>
              <a:t>Nivel de texto 4</a:t>
            </a:r>
          </a:p>
          <a:p>
            <a:pPr lvl="4"/>
            <a:r>
              <a:t>Nivel de texto 5</a:t>
            </a:r>
          </a:p>
        </p:txBody>
      </p:sp>
      <p:sp>
        <p:nvSpPr>
          <p:cNvPr id="926" name="Shape 926"/>
          <p:cNvSpPr>
            <a:spLocks noGrp="1"/>
          </p:cNvSpPr>
          <p:nvPr>
            <p:ph type="sldNum" sz="quarter" idx="2"/>
          </p:nvPr>
        </p:nvSpPr>
        <p:spPr>
          <a:xfrm>
            <a:off x="10556240" y="5437188"/>
            <a:ext cx="1270001" cy="1270001"/>
          </a:xfrm>
          <a:prstGeom prst="rect">
            <a:avLst/>
          </a:prstGeom>
        </p:spPr>
        <p:txBody>
          <a:bodyPr/>
          <a:lstStyle>
            <a:lvl1pPr>
              <a:defRPr sz="800">
                <a:solidFill>
                  <a:srgbClr val="888888"/>
                </a:solidFill>
                <a:latin typeface="Helvetica"/>
                <a:ea typeface="Helvetica"/>
                <a:cs typeface="Helvetica"/>
                <a:sym typeface="Helvetica"/>
              </a:defRPr>
            </a:lvl1pPr>
          </a:lstStyle>
          <a:p>
            <a:fld id="{86CB4B4D-7CA3-9044-876B-883B54F8677D}" type="slidenum">
              <a:t>‹Nº›</a:t>
            </a:fld>
            <a:endParaRPr/>
          </a:p>
        </p:txBody>
      </p:sp>
    </p:spTree>
    <p:extLst>
      <p:ext uri="{BB962C8B-B14F-4D97-AF65-F5344CB8AC3E}">
        <p14:creationId xmlns:p14="http://schemas.microsoft.com/office/powerpoint/2010/main" val="2603875825"/>
      </p:ext>
    </p:extLst>
  </p:cSld>
  <p:clrMapOvr>
    <a:masterClrMapping/>
  </p:clrMapOvr>
  <p:transition spd="med"/>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type="tx">
  <p:cSld name="Title and Vertical Text">
    <p:bg>
      <p:bgPr>
        <a:solidFill>
          <a:srgbClr val="FFFFFF"/>
        </a:solidFill>
        <a:effectLst/>
      </p:bgPr>
    </p:bg>
    <p:spTree>
      <p:nvGrpSpPr>
        <p:cNvPr id="1" name=""/>
        <p:cNvGrpSpPr/>
        <p:nvPr/>
      </p:nvGrpSpPr>
      <p:grpSpPr>
        <a:xfrm>
          <a:off x="0" y="0"/>
          <a:ext cx="0" cy="0"/>
          <a:chOff x="0" y="0"/>
          <a:chExt cx="0" cy="0"/>
        </a:xfrm>
      </p:grpSpPr>
      <p:pic>
        <p:nvPicPr>
          <p:cNvPr id="933" name="image18.tif"/>
          <p:cNvPicPr>
            <a:picLocks noChangeAspect="1"/>
          </p:cNvPicPr>
          <p:nvPr/>
        </p:nvPicPr>
        <p:blipFill>
          <a:blip r:embed="rId2"/>
          <a:stretch>
            <a:fillRect/>
          </a:stretch>
        </p:blipFill>
        <p:spPr>
          <a:xfrm>
            <a:off x="338178" y="6613462"/>
            <a:ext cx="908605" cy="136589"/>
          </a:xfrm>
          <a:prstGeom prst="rect">
            <a:avLst/>
          </a:prstGeom>
          <a:ln w="12700">
            <a:miter lim="400000"/>
          </a:ln>
        </p:spPr>
      </p:pic>
      <p:sp>
        <p:nvSpPr>
          <p:cNvPr id="934" name="Shape 934"/>
          <p:cNvSpPr>
            <a:spLocks noGrp="1"/>
          </p:cNvSpPr>
          <p:nvPr>
            <p:ph type="title"/>
          </p:nvPr>
        </p:nvSpPr>
        <p:spPr>
          <a:xfrm>
            <a:off x="838200" y="365125"/>
            <a:ext cx="10515600" cy="1325564"/>
          </a:xfrm>
          <a:prstGeom prst="rect">
            <a:avLst/>
          </a:prstGeom>
        </p:spPr>
        <p:txBody>
          <a:bodyPr lIns="45719" tIns="45719" rIns="45719" bIns="45719" anchor="ctr">
            <a:normAutofit/>
          </a:bodyPr>
          <a:lstStyle>
            <a:lvl1pPr defTabSz="914400">
              <a:lnSpc>
                <a:spcPct val="90000"/>
              </a:lnSpc>
              <a:defRPr sz="4400">
                <a:solidFill>
                  <a:srgbClr val="000000"/>
                </a:solidFill>
                <a:latin typeface="Helvetica"/>
                <a:ea typeface="Helvetica"/>
                <a:cs typeface="Helvetica"/>
                <a:sym typeface="Helvetica"/>
              </a:defRPr>
            </a:lvl1pPr>
          </a:lstStyle>
          <a:p>
            <a:r>
              <a:t>Texto del título</a:t>
            </a:r>
          </a:p>
        </p:txBody>
      </p:sp>
      <p:sp>
        <p:nvSpPr>
          <p:cNvPr id="935" name="Shape 935"/>
          <p:cNvSpPr>
            <a:spLocks noGrp="1"/>
          </p:cNvSpPr>
          <p:nvPr>
            <p:ph type="body" idx="1"/>
          </p:nvPr>
        </p:nvSpPr>
        <p:spPr>
          <a:xfrm>
            <a:off x="838200" y="1825625"/>
            <a:ext cx="10515600" cy="4351338"/>
          </a:xfrm>
          <a:prstGeom prst="rect">
            <a:avLst/>
          </a:prstGeom>
        </p:spPr>
        <p:txBody>
          <a:bodyPr lIns="45719" tIns="45719" rIns="45719" bIns="45719">
            <a:normAutofit/>
          </a:bodyPr>
          <a:lstStyle>
            <a:lvl1pPr marL="228600" indent="-228600" defTabSz="914400">
              <a:lnSpc>
                <a:spcPct val="90000"/>
              </a:lnSpc>
              <a:spcBef>
                <a:spcPts val="1000"/>
              </a:spcBef>
              <a:buSzPct val="100000"/>
              <a:buFont typeface="Arial"/>
              <a:buChar char="•"/>
              <a:defRPr sz="2800">
                <a:solidFill>
                  <a:srgbClr val="000000"/>
                </a:solidFill>
                <a:latin typeface="Helvetica"/>
                <a:ea typeface="Helvetica"/>
                <a:cs typeface="Helvetica"/>
                <a:sym typeface="Helvetica"/>
              </a:defRPr>
            </a:lvl1pPr>
            <a:lvl2pPr marL="723900" indent="-266700" defTabSz="914400">
              <a:lnSpc>
                <a:spcPct val="90000"/>
              </a:lnSpc>
              <a:spcBef>
                <a:spcPts val="1000"/>
              </a:spcBef>
              <a:buFont typeface="Arial"/>
              <a:defRPr sz="2800">
                <a:solidFill>
                  <a:srgbClr val="000000"/>
                </a:solidFill>
                <a:latin typeface="Helvetica"/>
                <a:ea typeface="Helvetica"/>
                <a:cs typeface="Helvetica"/>
                <a:sym typeface="Helvetica"/>
              </a:defRPr>
            </a:lvl2pPr>
            <a:lvl3pPr marL="1234439" indent="-320039" defTabSz="914400">
              <a:lnSpc>
                <a:spcPct val="90000"/>
              </a:lnSpc>
              <a:spcBef>
                <a:spcPts val="1000"/>
              </a:spcBef>
              <a:buFont typeface="Arial"/>
              <a:buChar char="•"/>
              <a:defRPr sz="2800">
                <a:solidFill>
                  <a:srgbClr val="000000"/>
                </a:solidFill>
                <a:latin typeface="Helvetica"/>
                <a:ea typeface="Helvetica"/>
                <a:cs typeface="Helvetica"/>
                <a:sym typeface="Helvetica"/>
              </a:defRPr>
            </a:lvl3pPr>
            <a:lvl4pPr marL="1727200" indent="-355600" defTabSz="914400">
              <a:lnSpc>
                <a:spcPct val="90000"/>
              </a:lnSpc>
              <a:spcBef>
                <a:spcPts val="1000"/>
              </a:spcBef>
              <a:buFont typeface="Arial"/>
              <a:defRPr sz="2800">
                <a:solidFill>
                  <a:srgbClr val="000000"/>
                </a:solidFill>
                <a:latin typeface="Helvetica"/>
                <a:ea typeface="Helvetica"/>
                <a:cs typeface="Helvetica"/>
                <a:sym typeface="Helvetica"/>
              </a:defRPr>
            </a:lvl4pPr>
            <a:lvl5pPr marL="2184400" indent="-355600" defTabSz="914400">
              <a:lnSpc>
                <a:spcPct val="90000"/>
              </a:lnSpc>
              <a:spcBef>
                <a:spcPts val="1000"/>
              </a:spcBef>
              <a:buFont typeface="Arial"/>
              <a:buChar char="•"/>
              <a:defRPr sz="2800">
                <a:solidFill>
                  <a:srgbClr val="000000"/>
                </a:solidFill>
                <a:latin typeface="Helvetica"/>
                <a:ea typeface="Helvetica"/>
                <a:cs typeface="Helvetica"/>
                <a:sym typeface="Helvetica"/>
              </a:defRPr>
            </a:lvl5pPr>
          </a:lstStyle>
          <a:p>
            <a:r>
              <a:t>Nivel de texto 1</a:t>
            </a:r>
          </a:p>
          <a:p>
            <a:pPr lvl="1"/>
            <a:r>
              <a:t>Nivel de texto 2</a:t>
            </a:r>
          </a:p>
          <a:p>
            <a:pPr lvl="2"/>
            <a:r>
              <a:t>Nivel de texto 3</a:t>
            </a:r>
          </a:p>
          <a:p>
            <a:pPr lvl="3"/>
            <a:r>
              <a:t>Nivel de texto 4</a:t>
            </a:r>
          </a:p>
          <a:p>
            <a:pPr lvl="4"/>
            <a:r>
              <a:t>Nivel de texto 5</a:t>
            </a:r>
          </a:p>
        </p:txBody>
      </p:sp>
      <p:sp>
        <p:nvSpPr>
          <p:cNvPr id="936" name="Shape 936"/>
          <p:cNvSpPr>
            <a:spLocks noGrp="1"/>
          </p:cNvSpPr>
          <p:nvPr>
            <p:ph type="sldNum" sz="quarter" idx="2"/>
          </p:nvPr>
        </p:nvSpPr>
        <p:spPr>
          <a:xfrm>
            <a:off x="10556240" y="5437188"/>
            <a:ext cx="1270001" cy="1270001"/>
          </a:xfrm>
          <a:prstGeom prst="rect">
            <a:avLst/>
          </a:prstGeom>
        </p:spPr>
        <p:txBody>
          <a:bodyPr/>
          <a:lstStyle>
            <a:lvl1pPr>
              <a:defRPr sz="800">
                <a:solidFill>
                  <a:srgbClr val="888888"/>
                </a:solidFill>
                <a:latin typeface="Helvetica"/>
                <a:ea typeface="Helvetica"/>
                <a:cs typeface="Helvetica"/>
                <a:sym typeface="Helvetica"/>
              </a:defRPr>
            </a:lvl1pPr>
          </a:lstStyle>
          <a:p>
            <a:fld id="{86CB4B4D-7CA3-9044-876B-883B54F8677D}" type="slidenum">
              <a:t>‹Nº›</a:t>
            </a:fld>
            <a:endParaRPr/>
          </a:p>
        </p:txBody>
      </p:sp>
    </p:spTree>
    <p:extLst>
      <p:ext uri="{BB962C8B-B14F-4D97-AF65-F5344CB8AC3E}">
        <p14:creationId xmlns:p14="http://schemas.microsoft.com/office/powerpoint/2010/main" val="2435499670"/>
      </p:ext>
    </p:extLst>
  </p:cSld>
  <p:clrMapOvr>
    <a:masterClrMapping/>
  </p:clrMapOvr>
  <p:transition spd="med"/>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type="tx">
  <p:cSld name="Vertical Title and Text">
    <p:bg>
      <p:bgPr>
        <a:solidFill>
          <a:srgbClr val="FFFFFF"/>
        </a:solidFill>
        <a:effectLst/>
      </p:bgPr>
    </p:bg>
    <p:spTree>
      <p:nvGrpSpPr>
        <p:cNvPr id="1" name=""/>
        <p:cNvGrpSpPr/>
        <p:nvPr/>
      </p:nvGrpSpPr>
      <p:grpSpPr>
        <a:xfrm>
          <a:off x="0" y="0"/>
          <a:ext cx="0" cy="0"/>
          <a:chOff x="0" y="0"/>
          <a:chExt cx="0" cy="0"/>
        </a:xfrm>
      </p:grpSpPr>
      <p:pic>
        <p:nvPicPr>
          <p:cNvPr id="943" name="image18.tif"/>
          <p:cNvPicPr>
            <a:picLocks noChangeAspect="1"/>
          </p:cNvPicPr>
          <p:nvPr/>
        </p:nvPicPr>
        <p:blipFill>
          <a:blip r:embed="rId2"/>
          <a:stretch>
            <a:fillRect/>
          </a:stretch>
        </p:blipFill>
        <p:spPr>
          <a:xfrm>
            <a:off x="338178" y="6613462"/>
            <a:ext cx="908605" cy="136589"/>
          </a:xfrm>
          <a:prstGeom prst="rect">
            <a:avLst/>
          </a:prstGeom>
          <a:ln w="12700">
            <a:miter lim="400000"/>
          </a:ln>
        </p:spPr>
      </p:pic>
      <p:sp>
        <p:nvSpPr>
          <p:cNvPr id="944" name="Shape 944"/>
          <p:cNvSpPr>
            <a:spLocks noGrp="1"/>
          </p:cNvSpPr>
          <p:nvPr>
            <p:ph type="title"/>
          </p:nvPr>
        </p:nvSpPr>
        <p:spPr>
          <a:xfrm>
            <a:off x="8724900" y="365125"/>
            <a:ext cx="2628900" cy="5811838"/>
          </a:xfrm>
          <a:prstGeom prst="rect">
            <a:avLst/>
          </a:prstGeom>
        </p:spPr>
        <p:txBody>
          <a:bodyPr lIns="45719" tIns="45719" rIns="45719" bIns="45719" anchor="ctr">
            <a:normAutofit/>
          </a:bodyPr>
          <a:lstStyle>
            <a:lvl1pPr defTabSz="914400">
              <a:lnSpc>
                <a:spcPct val="90000"/>
              </a:lnSpc>
              <a:defRPr sz="4400">
                <a:solidFill>
                  <a:srgbClr val="000000"/>
                </a:solidFill>
                <a:latin typeface="Helvetica"/>
                <a:ea typeface="Helvetica"/>
                <a:cs typeface="Helvetica"/>
                <a:sym typeface="Helvetica"/>
              </a:defRPr>
            </a:lvl1pPr>
          </a:lstStyle>
          <a:p>
            <a:r>
              <a:t>Texto del título</a:t>
            </a:r>
          </a:p>
        </p:txBody>
      </p:sp>
      <p:sp>
        <p:nvSpPr>
          <p:cNvPr id="945" name="Shape 945"/>
          <p:cNvSpPr>
            <a:spLocks noGrp="1"/>
          </p:cNvSpPr>
          <p:nvPr>
            <p:ph type="body" idx="1"/>
          </p:nvPr>
        </p:nvSpPr>
        <p:spPr>
          <a:xfrm>
            <a:off x="838200" y="365125"/>
            <a:ext cx="7734300" cy="5811838"/>
          </a:xfrm>
          <a:prstGeom prst="rect">
            <a:avLst/>
          </a:prstGeom>
        </p:spPr>
        <p:txBody>
          <a:bodyPr lIns="45719" tIns="45719" rIns="45719" bIns="45719">
            <a:normAutofit/>
          </a:bodyPr>
          <a:lstStyle>
            <a:lvl1pPr marL="228600" indent="-228600" defTabSz="914400">
              <a:lnSpc>
                <a:spcPct val="90000"/>
              </a:lnSpc>
              <a:spcBef>
                <a:spcPts val="1000"/>
              </a:spcBef>
              <a:buSzPct val="100000"/>
              <a:buFont typeface="Arial"/>
              <a:buChar char="•"/>
              <a:defRPr sz="2800">
                <a:solidFill>
                  <a:srgbClr val="000000"/>
                </a:solidFill>
                <a:latin typeface="Helvetica"/>
                <a:ea typeface="Helvetica"/>
                <a:cs typeface="Helvetica"/>
                <a:sym typeface="Helvetica"/>
              </a:defRPr>
            </a:lvl1pPr>
            <a:lvl2pPr marL="723900" indent="-266700" defTabSz="914400">
              <a:lnSpc>
                <a:spcPct val="90000"/>
              </a:lnSpc>
              <a:spcBef>
                <a:spcPts val="1000"/>
              </a:spcBef>
              <a:buFont typeface="Arial"/>
              <a:defRPr sz="2800">
                <a:solidFill>
                  <a:srgbClr val="000000"/>
                </a:solidFill>
                <a:latin typeface="Helvetica"/>
                <a:ea typeface="Helvetica"/>
                <a:cs typeface="Helvetica"/>
                <a:sym typeface="Helvetica"/>
              </a:defRPr>
            </a:lvl2pPr>
            <a:lvl3pPr marL="1234439" indent="-320039" defTabSz="914400">
              <a:lnSpc>
                <a:spcPct val="90000"/>
              </a:lnSpc>
              <a:spcBef>
                <a:spcPts val="1000"/>
              </a:spcBef>
              <a:buFont typeface="Arial"/>
              <a:buChar char="•"/>
              <a:defRPr sz="2800">
                <a:solidFill>
                  <a:srgbClr val="000000"/>
                </a:solidFill>
                <a:latin typeface="Helvetica"/>
                <a:ea typeface="Helvetica"/>
                <a:cs typeface="Helvetica"/>
                <a:sym typeface="Helvetica"/>
              </a:defRPr>
            </a:lvl3pPr>
            <a:lvl4pPr marL="1727200" indent="-355600" defTabSz="914400">
              <a:lnSpc>
                <a:spcPct val="90000"/>
              </a:lnSpc>
              <a:spcBef>
                <a:spcPts val="1000"/>
              </a:spcBef>
              <a:buFont typeface="Arial"/>
              <a:defRPr sz="2800">
                <a:solidFill>
                  <a:srgbClr val="000000"/>
                </a:solidFill>
                <a:latin typeface="Helvetica"/>
                <a:ea typeface="Helvetica"/>
                <a:cs typeface="Helvetica"/>
                <a:sym typeface="Helvetica"/>
              </a:defRPr>
            </a:lvl4pPr>
            <a:lvl5pPr marL="2184400" indent="-355600" defTabSz="914400">
              <a:lnSpc>
                <a:spcPct val="90000"/>
              </a:lnSpc>
              <a:spcBef>
                <a:spcPts val="1000"/>
              </a:spcBef>
              <a:buFont typeface="Arial"/>
              <a:buChar char="•"/>
              <a:defRPr sz="2800">
                <a:solidFill>
                  <a:srgbClr val="000000"/>
                </a:solidFill>
                <a:latin typeface="Helvetica"/>
                <a:ea typeface="Helvetica"/>
                <a:cs typeface="Helvetica"/>
                <a:sym typeface="Helvetica"/>
              </a:defRPr>
            </a:lvl5pPr>
          </a:lstStyle>
          <a:p>
            <a:r>
              <a:t>Nivel de texto 1</a:t>
            </a:r>
          </a:p>
          <a:p>
            <a:pPr lvl="1"/>
            <a:r>
              <a:t>Nivel de texto 2</a:t>
            </a:r>
          </a:p>
          <a:p>
            <a:pPr lvl="2"/>
            <a:r>
              <a:t>Nivel de texto 3</a:t>
            </a:r>
          </a:p>
          <a:p>
            <a:pPr lvl="3"/>
            <a:r>
              <a:t>Nivel de texto 4</a:t>
            </a:r>
          </a:p>
          <a:p>
            <a:pPr lvl="4"/>
            <a:r>
              <a:t>Nivel de texto 5</a:t>
            </a:r>
          </a:p>
        </p:txBody>
      </p:sp>
      <p:sp>
        <p:nvSpPr>
          <p:cNvPr id="946" name="Shape 946"/>
          <p:cNvSpPr>
            <a:spLocks noGrp="1"/>
          </p:cNvSpPr>
          <p:nvPr>
            <p:ph type="sldNum" sz="quarter" idx="2"/>
          </p:nvPr>
        </p:nvSpPr>
        <p:spPr>
          <a:xfrm>
            <a:off x="10556240" y="5437188"/>
            <a:ext cx="1270001" cy="1270001"/>
          </a:xfrm>
          <a:prstGeom prst="rect">
            <a:avLst/>
          </a:prstGeom>
        </p:spPr>
        <p:txBody>
          <a:bodyPr/>
          <a:lstStyle>
            <a:lvl1pPr>
              <a:defRPr sz="800">
                <a:solidFill>
                  <a:srgbClr val="888888"/>
                </a:solidFill>
                <a:latin typeface="Helvetica"/>
                <a:ea typeface="Helvetica"/>
                <a:cs typeface="Helvetica"/>
                <a:sym typeface="Helvetica"/>
              </a:defRPr>
            </a:lvl1pPr>
          </a:lstStyle>
          <a:p>
            <a:fld id="{86CB4B4D-7CA3-9044-876B-883B54F8677D}" type="slidenum">
              <a:t>‹Nº›</a:t>
            </a:fld>
            <a:endParaRPr/>
          </a:p>
        </p:txBody>
      </p:sp>
    </p:spTree>
    <p:extLst>
      <p:ext uri="{BB962C8B-B14F-4D97-AF65-F5344CB8AC3E}">
        <p14:creationId xmlns:p14="http://schemas.microsoft.com/office/powerpoint/2010/main" val="3867235216"/>
      </p:ext>
    </p:extLst>
  </p:cSld>
  <p:clrMapOvr>
    <a:masterClrMapping/>
  </p:clrMapOvr>
  <p:transition spd="med"/>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tx">
  <p:cSld name="Default Footer">
    <p:bg>
      <p:bgPr>
        <a:solidFill>
          <a:srgbClr val="FFFFFF"/>
        </a:solidFill>
        <a:effectLst/>
      </p:bgPr>
    </p:bg>
    <p:spTree>
      <p:nvGrpSpPr>
        <p:cNvPr id="1" name=""/>
        <p:cNvGrpSpPr/>
        <p:nvPr/>
      </p:nvGrpSpPr>
      <p:grpSpPr>
        <a:xfrm>
          <a:off x="0" y="0"/>
          <a:ext cx="0" cy="0"/>
          <a:chOff x="0" y="0"/>
          <a:chExt cx="0" cy="0"/>
        </a:xfrm>
      </p:grpSpPr>
      <p:pic>
        <p:nvPicPr>
          <p:cNvPr id="953" name="image18.tif"/>
          <p:cNvPicPr>
            <a:picLocks noChangeAspect="1"/>
          </p:cNvPicPr>
          <p:nvPr/>
        </p:nvPicPr>
        <p:blipFill>
          <a:blip r:embed="rId2"/>
          <a:stretch>
            <a:fillRect/>
          </a:stretch>
        </p:blipFill>
        <p:spPr>
          <a:xfrm>
            <a:off x="338178" y="6613462"/>
            <a:ext cx="908605" cy="136589"/>
          </a:xfrm>
          <a:prstGeom prst="rect">
            <a:avLst/>
          </a:prstGeom>
          <a:ln w="12700">
            <a:miter lim="400000"/>
          </a:ln>
        </p:spPr>
      </p:pic>
      <p:sp>
        <p:nvSpPr>
          <p:cNvPr id="954" name="Shape 954"/>
          <p:cNvSpPr/>
          <p:nvPr/>
        </p:nvSpPr>
        <p:spPr>
          <a:xfrm>
            <a:off x="0" y="6791325"/>
            <a:ext cx="12192000" cy="66675"/>
          </a:xfrm>
          <a:prstGeom prst="rect">
            <a:avLst/>
          </a:prstGeom>
          <a:solidFill>
            <a:srgbClr val="384C5B"/>
          </a:solidFill>
          <a:ln w="12700">
            <a:miter lim="400000"/>
          </a:ln>
        </p:spPr>
        <p:txBody>
          <a:bodyPr lIns="0" tIns="0" rIns="0" bIns="0" anchor="ctr"/>
          <a:lstStyle/>
          <a:p>
            <a:pPr algn="ctr">
              <a:defRPr sz="900">
                <a:solidFill>
                  <a:srgbClr val="FFFFFF"/>
                </a:solidFill>
                <a:latin typeface="Calibri"/>
                <a:ea typeface="Calibri"/>
                <a:cs typeface="Calibri"/>
                <a:sym typeface="Calibri"/>
              </a:defRPr>
            </a:pPr>
            <a:endParaRPr/>
          </a:p>
        </p:txBody>
      </p:sp>
      <p:sp>
        <p:nvSpPr>
          <p:cNvPr id="955" name="Shape 955"/>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3074158504"/>
      </p:ext>
    </p:extLst>
  </p:cSld>
  <p:clrMapOvr>
    <a:masterClrMapping/>
  </p:clrMapOvr>
  <p:transition spd="med"/>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userDrawn="1">
  <p:cSld name="1_Agenda: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1950"/>
            <a:ext cx="5495925" cy="5759450"/>
          </a:xfrm>
        </p:spPr>
        <p:txBody>
          <a:bodyPr/>
          <a:lstStyle>
            <a:lvl1pPr marL="233363" indent="-233363">
              <a:lnSpc>
                <a:spcPct val="90000"/>
              </a:lnSpc>
              <a:spcBef>
                <a:spcPts val="600"/>
              </a:spcBef>
              <a:buFont typeface="+mj-lt"/>
              <a:buAutoNum type="arabicPeriod"/>
              <a:tabLst/>
              <a:defRPr>
                <a:solidFill>
                  <a:schemeClr val="bg1"/>
                </a:solidFill>
              </a:defRPr>
            </a:lvl1pPr>
            <a:lvl2pPr marL="512763" indent="-285750">
              <a:buFont typeface="Arial" panose="020B0604020202020204" pitchFamily="34" charset="0"/>
              <a:buChar char="•"/>
              <a:defRPr>
                <a:solidFill>
                  <a:schemeClr val="bg1"/>
                </a:solidFill>
              </a:defRPr>
            </a:lvl2pPr>
            <a:lvl3pPr marL="685800" indent="-228600">
              <a:defRPr>
                <a:solidFill>
                  <a:schemeClr val="bg1"/>
                </a:solidFill>
              </a:defRPr>
            </a:lvl3pPr>
            <a:lvl4pPr marL="914400" indent="-228600">
              <a:defRPr>
                <a:solidFill>
                  <a:schemeClr val="bg1"/>
                </a:solidFill>
              </a:defRPr>
            </a:lvl4pPr>
            <a:lvl5pPr marL="1143000" indent="-228600">
              <a:defRPr baseline="0">
                <a:solidFill>
                  <a:schemeClr val="bg1"/>
                </a:solidFill>
              </a:defRPr>
            </a:lvl5pPr>
            <a:lvl6pPr marL="1371600" indent="-227013">
              <a:defRPr baseline="0">
                <a:solidFill>
                  <a:schemeClr val="bg1"/>
                </a:solidFill>
              </a:defRPr>
            </a:lvl6pPr>
            <a:lvl7pPr marL="1600200" indent="-228600">
              <a:defRPr baseline="0">
                <a:solidFill>
                  <a:schemeClr val="bg1"/>
                </a:solidFill>
              </a:defRPr>
            </a:lvl7pPr>
            <a:lvl8pPr marL="1828800" indent="-227013">
              <a:defRPr baseline="0">
                <a:solidFill>
                  <a:schemeClr val="bg1"/>
                </a:solidFill>
              </a:defRPr>
            </a:lvl8pPr>
            <a:lvl9pPr marL="2057400" indent="-219075">
              <a:defRPr baseline="0">
                <a:solidFill>
                  <a:schemeClr val="bg1"/>
                </a:solidFill>
              </a:defRPr>
            </a:lvl9pPr>
          </a:lstStyle>
          <a:p>
            <a:pPr lvl="0"/>
            <a:r>
              <a:rPr lang="en-US" dirty="0"/>
              <a:t>Click to add topic</a:t>
            </a:r>
          </a:p>
        </p:txBody>
      </p:sp>
      <p:sp>
        <p:nvSpPr>
          <p:cNvPr id="7"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85775" y="4901386"/>
            <a:ext cx="11223626" cy="1846659"/>
          </a:xfrm>
        </p:spPr>
        <p:txBody>
          <a:bodyPr vert="horz" wrap="square">
            <a:spAutoFit/>
          </a:bodyPr>
          <a:lstStyle>
            <a:lvl1pPr algn="r">
              <a:lnSpc>
                <a:spcPct val="100000"/>
              </a:lnSpc>
              <a:defRPr sz="12000">
                <a:solidFill>
                  <a:schemeClr val="bg1"/>
                </a:solidFill>
              </a:defRPr>
            </a:lvl1pPr>
          </a:lstStyle>
          <a:p>
            <a:r>
              <a:rPr lang="en-US" dirty="0"/>
              <a:t>Add title</a:t>
            </a:r>
          </a:p>
        </p:txBody>
      </p:sp>
    </p:spTree>
    <p:extLst>
      <p:ext uri="{BB962C8B-B14F-4D97-AF65-F5344CB8AC3E}">
        <p14:creationId xmlns:p14="http://schemas.microsoft.com/office/powerpoint/2010/main" val="172129026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Contenido">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C6A0CCC6-7BFA-B74B-BE8E-833BC82918F0}"/>
              </a:ext>
            </a:extLst>
          </p:cNvPr>
          <p:cNvSpPr txBox="1"/>
          <p:nvPr/>
        </p:nvSpPr>
        <p:spPr>
          <a:xfrm>
            <a:off x="374977" y="2505671"/>
            <a:ext cx="8423034" cy="1846659"/>
          </a:xfrm>
          <a:prstGeom prst="rect">
            <a:avLst/>
          </a:prstGeom>
          <a:noFill/>
        </p:spPr>
        <p:txBody>
          <a:bodyPr wrap="squar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Content</a:t>
            </a:r>
          </a:p>
        </p:txBody>
      </p:sp>
    </p:spTree>
    <p:extLst>
      <p:ext uri="{BB962C8B-B14F-4D97-AF65-F5344CB8AC3E}">
        <p14:creationId xmlns:p14="http://schemas.microsoft.com/office/powerpoint/2010/main" val="244161150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ítulo y objetos">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773DA736-E5DF-844D-B5DD-D8BB742411F8}"/>
              </a:ext>
            </a:extLst>
          </p:cNvPr>
          <p:cNvSpPr>
            <a:spLocks noGrp="1"/>
          </p:cNvSpPr>
          <p:nvPr>
            <p:ph type="body" sz="half" idx="10"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7"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11223624" cy="4516692"/>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10"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1" name="Text Placeholder 3">
            <a:extLst>
              <a:ext uri="{FF2B5EF4-FFF2-40B4-BE49-F238E27FC236}">
                <a16:creationId xmlns:a16="http://schemas.microsoft.com/office/drawing/2014/main" id="{F2D0924E-7A15-6045-86EA-6E2333478DE4}"/>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981858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x">
  <p:cSld name="CONTENT + IMAGES">
    <p:spTree>
      <p:nvGrpSpPr>
        <p:cNvPr id="1" name=""/>
        <p:cNvGrpSpPr/>
        <p:nvPr/>
      </p:nvGrpSpPr>
      <p:grpSpPr>
        <a:xfrm>
          <a:off x="0" y="0"/>
          <a:ext cx="0" cy="0"/>
          <a:chOff x="0" y="0"/>
          <a:chExt cx="0" cy="0"/>
        </a:xfrm>
      </p:grpSpPr>
      <p:sp>
        <p:nvSpPr>
          <p:cNvPr id="163" name="Shape 163"/>
          <p:cNvSpPr/>
          <p:nvPr/>
        </p:nvSpPr>
        <p:spPr>
          <a:xfrm>
            <a:off x="374977" y="1701329"/>
            <a:ext cx="8423034" cy="3455343"/>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lvl1pPr>
              <a:defRPr sz="12000" b="1">
                <a:solidFill>
                  <a:srgbClr val="FFFFFF"/>
                </a:solidFill>
              </a:defRPr>
            </a:lvl1pPr>
          </a:lstStyle>
          <a:p>
            <a:r>
              <a:t>Content +  images</a:t>
            </a:r>
          </a:p>
        </p:txBody>
      </p:sp>
      <p:sp>
        <p:nvSpPr>
          <p:cNvPr id="164" name="Shape 164"/>
          <p:cNvSpPr>
            <a:spLocks noGrp="1"/>
          </p:cNvSpPr>
          <p:nvPr>
            <p:ph type="sldNum" sz="quarter" idx="2"/>
          </p:nvPr>
        </p:nvSpPr>
        <p:spPr>
          <a:prstGeom prst="rect">
            <a:avLst/>
          </a:prstGeom>
        </p:spPr>
        <p:txBody>
          <a:bodyPr/>
          <a:lstStyle/>
          <a:p>
            <a:fld id="{86CB4B4D-7CA3-9044-876B-883B54F8677D}" type="slidenum">
              <a:t>‹Nº›</a:t>
            </a:fld>
            <a:endParaRPr/>
          </a:p>
        </p:txBody>
      </p:sp>
    </p:spTree>
  </p:cSld>
  <p:clrMapOvr>
    <a:masterClrMapping/>
  </p:clrMapOvr>
  <p:transition spd="med"/>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C57F4E2F-BA25-A740-A97C-6060BBEA4B3C}"/>
              </a:ext>
            </a:extLst>
          </p:cNvPr>
          <p:cNvSpPr>
            <a:spLocks noGrp="1"/>
          </p:cNvSpPr>
          <p:nvPr>
            <p:ph sz="quarter" idx="12"/>
          </p:nvPr>
        </p:nvSpPr>
        <p:spPr>
          <a:xfrm>
            <a:off x="4305300" y="361950"/>
            <a:ext cx="7400923" cy="5756275"/>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3" name="Title 2">
            <a:extLst>
              <a:ext uri="{FF2B5EF4-FFF2-40B4-BE49-F238E27FC236}">
                <a16:creationId xmlns:a16="http://schemas.microsoft.com/office/drawing/2014/main" id="{0DD3F4F7-9124-C547-A701-15854901D947}"/>
              </a:ext>
            </a:extLst>
          </p:cNvPr>
          <p:cNvSpPr>
            <a:spLocks noGrp="1"/>
          </p:cNvSpPr>
          <p:nvPr>
            <p:ph type="title" hasCustomPrompt="1"/>
          </p:nvPr>
        </p:nvSpPr>
        <p:spPr>
          <a:xfrm>
            <a:off x="458721" y="356540"/>
            <a:ext cx="3605279" cy="5770271"/>
          </a:xfrm>
        </p:spPr>
        <p:txBody>
          <a:bodyPr/>
          <a:lstStyle/>
          <a:p>
            <a:r>
              <a:rPr lang="en-US" dirty="0"/>
              <a:t>Click to add title</a:t>
            </a:r>
          </a:p>
        </p:txBody>
      </p:sp>
    </p:spTree>
    <p:extLst>
      <p:ext uri="{BB962C8B-B14F-4D97-AF65-F5344CB8AC3E}">
        <p14:creationId xmlns:p14="http://schemas.microsoft.com/office/powerpoint/2010/main" val="184522768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 content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6" y="1616075"/>
            <a:ext cx="3578224" cy="450215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9" name="Content Placeholder 3">
            <a:extLst>
              <a:ext uri="{FF2B5EF4-FFF2-40B4-BE49-F238E27FC236}">
                <a16:creationId xmlns:a16="http://schemas.microsoft.com/office/drawing/2014/main" id="{945836DB-331C-BB4D-A888-9D9ECE5B27F2}"/>
              </a:ext>
            </a:extLst>
          </p:cNvPr>
          <p:cNvSpPr>
            <a:spLocks noGrp="1"/>
          </p:cNvSpPr>
          <p:nvPr>
            <p:ph sz="quarter" idx="12"/>
          </p:nvPr>
        </p:nvSpPr>
        <p:spPr>
          <a:xfrm>
            <a:off x="4305300" y="361950"/>
            <a:ext cx="7404100" cy="5756275"/>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Title 3">
            <a:extLst>
              <a:ext uri="{FF2B5EF4-FFF2-40B4-BE49-F238E27FC236}">
                <a16:creationId xmlns:a16="http://schemas.microsoft.com/office/drawing/2014/main" id="{98020D88-DDBE-B945-895B-9676A84EF58F}"/>
              </a:ext>
            </a:extLst>
          </p:cNvPr>
          <p:cNvSpPr>
            <a:spLocks noGrp="1"/>
          </p:cNvSpPr>
          <p:nvPr>
            <p:ph type="title" hasCustomPrompt="1"/>
          </p:nvPr>
        </p:nvSpPr>
        <p:spPr>
          <a:xfrm>
            <a:off x="458721" y="356540"/>
            <a:ext cx="3605279" cy="839213"/>
          </a:xfrm>
        </p:spPr>
        <p:txBody>
          <a:bodyPr/>
          <a:lstStyle/>
          <a:p>
            <a:r>
              <a:rPr lang="en-US" dirty="0"/>
              <a:t>Click to add title</a:t>
            </a:r>
          </a:p>
        </p:txBody>
      </p:sp>
    </p:spTree>
    <p:extLst>
      <p:ext uri="{BB962C8B-B14F-4D97-AF65-F5344CB8AC3E}">
        <p14:creationId xmlns:p14="http://schemas.microsoft.com/office/powerpoint/2010/main" val="28300898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Dos objeto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5" y="1609726"/>
            <a:ext cx="5495925" cy="4511674"/>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Content Placeholder 3"/>
          <p:cNvSpPr>
            <a:spLocks noGrp="1"/>
          </p:cNvSpPr>
          <p:nvPr>
            <p:ph sz="half" idx="2"/>
          </p:nvPr>
        </p:nvSpPr>
        <p:spPr>
          <a:xfrm>
            <a:off x="6210303" y="1609725"/>
            <a:ext cx="5499098" cy="4511675"/>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4" y="6388100"/>
            <a:ext cx="4546596"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0" name="Title 1">
            <a:extLst>
              <a:ext uri="{FF2B5EF4-FFF2-40B4-BE49-F238E27FC236}">
                <a16:creationId xmlns:a16="http://schemas.microsoft.com/office/drawing/2014/main" id="{F39CC0C0-5779-B349-BDDB-E539A51CC8CA}"/>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1" name="Text Placeholder 3">
            <a:extLst>
              <a:ext uri="{FF2B5EF4-FFF2-40B4-BE49-F238E27FC236}">
                <a16:creationId xmlns:a16="http://schemas.microsoft.com/office/drawing/2014/main" id="{AF3391C4-98D7-4747-8880-F82E7546E92C}"/>
              </a:ext>
            </a:extLst>
          </p:cNvPr>
          <p:cNvSpPr>
            <a:spLocks noGrp="1"/>
          </p:cNvSpPr>
          <p:nvPr>
            <p:ph type="body" sz="half" idx="1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11565139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7" y="1616075"/>
            <a:ext cx="3578224" cy="4505325"/>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a:p>
            <a:pPr lvl="2"/>
            <a:r>
              <a:rPr lang="es-ES"/>
              <a:t>Tercer nivel</a:t>
            </a:r>
          </a:p>
        </p:txBody>
      </p:sp>
      <p:sp>
        <p:nvSpPr>
          <p:cNvPr id="4" name="Content Placeholder 3"/>
          <p:cNvSpPr>
            <a:spLocks noGrp="1"/>
          </p:cNvSpPr>
          <p:nvPr>
            <p:ph sz="half" idx="2"/>
          </p:nvPr>
        </p:nvSpPr>
        <p:spPr>
          <a:xfrm>
            <a:off x="4317755" y="1616075"/>
            <a:ext cx="3578224" cy="4505325"/>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a:p>
            <a:pPr lvl="2"/>
            <a:r>
              <a:rPr lang="es-ES"/>
              <a:t>Tercer ni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8128000" y="1616075"/>
            <a:ext cx="3578223" cy="4505326"/>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a:p>
            <a:pPr lvl="2"/>
            <a:r>
              <a:rPr lang="es-ES"/>
              <a:t>Tercer nivel</a:t>
            </a:r>
          </a:p>
        </p:txBody>
      </p:sp>
      <p:sp>
        <p:nvSpPr>
          <p:cNvPr id="10" name="Text Placeholder 3">
            <a:extLst>
              <a:ext uri="{FF2B5EF4-FFF2-40B4-BE49-F238E27FC236}">
                <a16:creationId xmlns:a16="http://schemas.microsoft.com/office/drawing/2014/main" id="{46026CD4-41A6-2745-806A-108B86DE8600}"/>
              </a:ext>
            </a:extLst>
          </p:cNvPr>
          <p:cNvSpPr>
            <a:spLocks noGrp="1"/>
          </p:cNvSpPr>
          <p:nvPr>
            <p:ph type="body" sz="half" idx="12"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1" name="Title 1">
            <a:extLst>
              <a:ext uri="{FF2B5EF4-FFF2-40B4-BE49-F238E27FC236}">
                <a16:creationId xmlns:a16="http://schemas.microsoft.com/office/drawing/2014/main" id="{24127F47-2151-2E4E-804E-5041FF74C799}"/>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1AB0AB67-B739-1E41-9B7F-40BDB88E8937}"/>
              </a:ext>
            </a:extLst>
          </p:cNvPr>
          <p:cNvSpPr>
            <a:spLocks noGrp="1"/>
          </p:cNvSpPr>
          <p:nvPr>
            <p:ph type="body" sz="half" idx="13"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329252364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6" y="1616075"/>
            <a:ext cx="2626455"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a:p>
            <a:pPr lvl="2"/>
            <a:r>
              <a:rPr lang="es-ES"/>
              <a:t>Tercer nivel</a:t>
            </a:r>
          </a:p>
        </p:txBody>
      </p:sp>
      <p:sp>
        <p:nvSpPr>
          <p:cNvPr id="4" name="Content Placeholder 3"/>
          <p:cNvSpPr>
            <a:spLocks noGrp="1"/>
          </p:cNvSpPr>
          <p:nvPr>
            <p:ph sz="half" idx="2"/>
          </p:nvPr>
        </p:nvSpPr>
        <p:spPr>
          <a:xfrm>
            <a:off x="3352800" y="1616075"/>
            <a:ext cx="2628900"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a:p>
            <a:pPr lvl="2"/>
            <a:r>
              <a:rPr lang="es-ES"/>
              <a:t>Tercer ni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9089292" y="1616075"/>
            <a:ext cx="2616932"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a:p>
            <a:pPr lvl="2"/>
            <a:r>
              <a:rPr lang="es-ES"/>
              <a:t>Tercer nivel</a:t>
            </a:r>
          </a:p>
        </p:txBody>
      </p:sp>
      <p:sp>
        <p:nvSpPr>
          <p:cNvPr id="9" name="Content Placeholder 3">
            <a:extLst>
              <a:ext uri="{FF2B5EF4-FFF2-40B4-BE49-F238E27FC236}">
                <a16:creationId xmlns:a16="http://schemas.microsoft.com/office/drawing/2014/main" id="{90CFE4A1-AAEA-9742-8946-359C3F5D0A1A}"/>
              </a:ext>
            </a:extLst>
          </p:cNvPr>
          <p:cNvSpPr>
            <a:spLocks noGrp="1"/>
          </p:cNvSpPr>
          <p:nvPr>
            <p:ph sz="half" idx="12"/>
          </p:nvPr>
        </p:nvSpPr>
        <p:spPr>
          <a:xfrm>
            <a:off x="6219823" y="1616075"/>
            <a:ext cx="2619377"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a:p>
            <a:pPr lvl="2"/>
            <a:r>
              <a:rPr lang="es-ES"/>
              <a:t>Tercer nivel</a:t>
            </a:r>
          </a:p>
        </p:txBody>
      </p:sp>
      <p:sp>
        <p:nvSpPr>
          <p:cNvPr id="22" name="Text Placeholder 3">
            <a:extLst>
              <a:ext uri="{FF2B5EF4-FFF2-40B4-BE49-F238E27FC236}">
                <a16:creationId xmlns:a16="http://schemas.microsoft.com/office/drawing/2014/main" id="{A9C0AEB2-29EF-7A4A-9D9F-717BFB9D7E58}"/>
              </a:ext>
            </a:extLst>
          </p:cNvPr>
          <p:cNvSpPr>
            <a:spLocks noGrp="1"/>
          </p:cNvSpPr>
          <p:nvPr>
            <p:ph type="body" sz="half" idx="13" hasCustomPrompt="1"/>
          </p:nvPr>
        </p:nvSpPr>
        <p:spPr>
          <a:xfrm>
            <a:off x="6210301" y="6388100"/>
            <a:ext cx="4546599"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1" name="Title 1">
            <a:extLst>
              <a:ext uri="{FF2B5EF4-FFF2-40B4-BE49-F238E27FC236}">
                <a16:creationId xmlns:a16="http://schemas.microsoft.com/office/drawing/2014/main" id="{83CB1B1D-63D8-624F-8FE2-BACDF39AFA38}"/>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93192BB1-48EF-E34D-A18B-088C2525C8DE}"/>
              </a:ext>
            </a:extLst>
          </p:cNvPr>
          <p:cNvSpPr>
            <a:spLocks noGrp="1"/>
          </p:cNvSpPr>
          <p:nvPr>
            <p:ph type="body" sz="half" idx="14"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270641345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ix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5"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a:p>
            <a:pPr lvl="2"/>
            <a:r>
              <a:rPr lang="es-ES"/>
              <a:t>Tercer nivel</a:t>
            </a:r>
          </a:p>
        </p:txBody>
      </p:sp>
      <p:sp>
        <p:nvSpPr>
          <p:cNvPr id="4" name="Content Placeholder 3"/>
          <p:cNvSpPr>
            <a:spLocks noGrp="1"/>
          </p:cNvSpPr>
          <p:nvPr>
            <p:ph sz="half" idx="2"/>
          </p:nvPr>
        </p:nvSpPr>
        <p:spPr>
          <a:xfrm>
            <a:off x="2397760"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a:p>
            <a:pPr lvl="2"/>
            <a:r>
              <a:rPr lang="es-ES"/>
              <a:t>Tercer ni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6221730"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a:p>
            <a:pPr lvl="2"/>
            <a:r>
              <a:rPr lang="es-ES"/>
              <a:t>Tercer nivel</a:t>
            </a:r>
          </a:p>
        </p:txBody>
      </p:sp>
      <p:sp>
        <p:nvSpPr>
          <p:cNvPr id="9" name="Content Placeholder 3">
            <a:extLst>
              <a:ext uri="{FF2B5EF4-FFF2-40B4-BE49-F238E27FC236}">
                <a16:creationId xmlns:a16="http://schemas.microsoft.com/office/drawing/2014/main" id="{90CFE4A1-AAEA-9742-8946-359C3F5D0A1A}"/>
              </a:ext>
            </a:extLst>
          </p:cNvPr>
          <p:cNvSpPr>
            <a:spLocks noGrp="1"/>
          </p:cNvSpPr>
          <p:nvPr>
            <p:ph sz="half" idx="12"/>
          </p:nvPr>
        </p:nvSpPr>
        <p:spPr>
          <a:xfrm>
            <a:off x="4309745"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a:p>
            <a:pPr lvl="2"/>
            <a:r>
              <a:rPr lang="es-ES"/>
              <a:t>Tercer nivel</a:t>
            </a:r>
          </a:p>
        </p:txBody>
      </p:sp>
      <p:sp>
        <p:nvSpPr>
          <p:cNvPr id="10" name="Content Placeholder 3">
            <a:extLst>
              <a:ext uri="{FF2B5EF4-FFF2-40B4-BE49-F238E27FC236}">
                <a16:creationId xmlns:a16="http://schemas.microsoft.com/office/drawing/2014/main" id="{B60CBF3D-4AE0-E04C-A0D8-C2B53DF312B4}"/>
              </a:ext>
            </a:extLst>
          </p:cNvPr>
          <p:cNvSpPr>
            <a:spLocks noGrp="1"/>
          </p:cNvSpPr>
          <p:nvPr>
            <p:ph sz="half" idx="13"/>
          </p:nvPr>
        </p:nvSpPr>
        <p:spPr>
          <a:xfrm>
            <a:off x="8133715"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a:p>
            <a:pPr lvl="2"/>
            <a:r>
              <a:rPr lang="es-ES"/>
              <a:t>Tercer nivel</a:t>
            </a:r>
          </a:p>
        </p:txBody>
      </p:sp>
      <p:sp>
        <p:nvSpPr>
          <p:cNvPr id="11" name="Content Placeholder 3">
            <a:extLst>
              <a:ext uri="{FF2B5EF4-FFF2-40B4-BE49-F238E27FC236}">
                <a16:creationId xmlns:a16="http://schemas.microsoft.com/office/drawing/2014/main" id="{D441AD0A-E6DF-5847-BEB4-907DA9B01661}"/>
              </a:ext>
            </a:extLst>
          </p:cNvPr>
          <p:cNvSpPr>
            <a:spLocks noGrp="1"/>
          </p:cNvSpPr>
          <p:nvPr>
            <p:ph sz="half" idx="14"/>
          </p:nvPr>
        </p:nvSpPr>
        <p:spPr>
          <a:xfrm>
            <a:off x="10045698"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a:p>
            <a:pPr lvl="2"/>
            <a:r>
              <a:rPr lang="es-ES"/>
              <a:t>Tercer nivel</a:t>
            </a:r>
          </a:p>
        </p:txBody>
      </p:sp>
      <p:sp>
        <p:nvSpPr>
          <p:cNvPr id="12" name="Text Placeholder 3">
            <a:extLst>
              <a:ext uri="{FF2B5EF4-FFF2-40B4-BE49-F238E27FC236}">
                <a16:creationId xmlns:a16="http://schemas.microsoft.com/office/drawing/2014/main" id="{775FE915-A989-2C4F-B5CF-8C03CD0485CB}"/>
              </a:ext>
            </a:extLst>
          </p:cNvPr>
          <p:cNvSpPr>
            <a:spLocks noGrp="1"/>
          </p:cNvSpPr>
          <p:nvPr>
            <p:ph type="body" sz="half" idx="15" hasCustomPrompt="1"/>
          </p:nvPr>
        </p:nvSpPr>
        <p:spPr>
          <a:xfrm>
            <a:off x="6221731" y="6388100"/>
            <a:ext cx="453517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4" name="Title 1">
            <a:extLst>
              <a:ext uri="{FF2B5EF4-FFF2-40B4-BE49-F238E27FC236}">
                <a16:creationId xmlns:a16="http://schemas.microsoft.com/office/drawing/2014/main" id="{ABCBBFA3-BF99-FC46-8DCA-D9D911944ABD}"/>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5" name="Text Placeholder 3">
            <a:extLst>
              <a:ext uri="{FF2B5EF4-FFF2-40B4-BE49-F238E27FC236}">
                <a16:creationId xmlns:a16="http://schemas.microsoft.com/office/drawing/2014/main" id="{B46280AB-2B05-3446-8F2E-AD2C0974CB6E}"/>
              </a:ext>
            </a:extLst>
          </p:cNvPr>
          <p:cNvSpPr>
            <a:spLocks noGrp="1"/>
          </p:cNvSpPr>
          <p:nvPr>
            <p:ph type="body" sz="half" idx="16"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25107128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olo el títul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7" name="Title 1">
            <a:extLst>
              <a:ext uri="{FF2B5EF4-FFF2-40B4-BE49-F238E27FC236}">
                <a16:creationId xmlns:a16="http://schemas.microsoft.com/office/drawing/2014/main" id="{354D9E00-BE79-044E-880B-B336004BBA7A}"/>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319257049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 name="Freeform 16">
            <a:extLst>
              <a:ext uri="{FF2B5EF4-FFF2-40B4-BE49-F238E27FC236}">
                <a16:creationId xmlns:a16="http://schemas.microsoft.com/office/drawing/2014/main" id="{87B98418-DB22-7247-B4EF-AF4390CDCA0E}"/>
              </a:ext>
            </a:extLst>
          </p:cNvPr>
          <p:cNvSpPr/>
          <p:nvPr/>
        </p:nvSpPr>
        <p:spPr>
          <a:xfrm>
            <a:off x="6211018" y="0"/>
            <a:ext cx="5980982" cy="6858000"/>
          </a:xfrm>
          <a:custGeom>
            <a:avLst/>
            <a:gdLst>
              <a:gd name="connsiteX0" fmla="*/ 0 w 5980982"/>
              <a:gd name="connsiteY0" fmla="*/ 0 h 6858000"/>
              <a:gd name="connsiteX1" fmla="*/ 5980982 w 5980982"/>
              <a:gd name="connsiteY1" fmla="*/ 0 h 6858000"/>
              <a:gd name="connsiteX2" fmla="*/ 5980982 w 5980982"/>
              <a:gd name="connsiteY2" fmla="*/ 6858000 h 6858000"/>
              <a:gd name="connsiteX3" fmla="*/ 0 w 5980982"/>
              <a:gd name="connsiteY3" fmla="*/ 6858000 h 6858000"/>
              <a:gd name="connsiteX4" fmla="*/ 0 w 5980982"/>
              <a:gd name="connsiteY4" fmla="*/ 3555999 h 6858000"/>
              <a:gd name="connsiteX5" fmla="*/ 132789 w 5980982"/>
              <a:gd name="connsiteY5" fmla="*/ 3429000 h 6858000"/>
              <a:gd name="connsiteX6" fmla="*/ 0 w 5980982"/>
              <a:gd name="connsiteY6" fmla="*/ 33020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0982" h="6858000">
                <a:moveTo>
                  <a:pt x="0" y="0"/>
                </a:moveTo>
                <a:lnTo>
                  <a:pt x="5980982" y="0"/>
                </a:lnTo>
                <a:lnTo>
                  <a:pt x="5980982" y="6858000"/>
                </a:lnTo>
                <a:lnTo>
                  <a:pt x="0" y="6858000"/>
                </a:lnTo>
                <a:lnTo>
                  <a:pt x="0" y="3555999"/>
                </a:lnTo>
                <a:lnTo>
                  <a:pt x="132789" y="3429000"/>
                </a:lnTo>
                <a:lnTo>
                  <a:pt x="0" y="3302001"/>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5" name="Title 1">
            <a:extLst>
              <a:ext uri="{FF2B5EF4-FFF2-40B4-BE49-F238E27FC236}">
                <a16:creationId xmlns:a16="http://schemas.microsoft.com/office/drawing/2014/main" id="{DB3B1839-746D-0040-B4BF-DEAD14769839}"/>
              </a:ext>
            </a:extLst>
          </p:cNvPr>
          <p:cNvSpPr>
            <a:spLocks noGrp="1"/>
          </p:cNvSpPr>
          <p:nvPr>
            <p:ph type="title" hasCustomPrompt="1"/>
          </p:nvPr>
        </p:nvSpPr>
        <p:spPr>
          <a:xfrm>
            <a:off x="457201" y="355601"/>
            <a:ext cx="5524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7" y="806807"/>
            <a:ext cx="54959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6"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5495925" cy="4516692"/>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60529219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plit call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Freeform 5">
            <a:extLst>
              <a:ext uri="{FF2B5EF4-FFF2-40B4-BE49-F238E27FC236}">
                <a16:creationId xmlns:a16="http://schemas.microsoft.com/office/drawing/2014/main" id="{6C28D570-764E-8746-A9D3-AD94F6E88F8D}"/>
              </a:ext>
            </a:extLst>
          </p:cNvPr>
          <p:cNvSpPr/>
          <p:nvPr/>
        </p:nvSpPr>
        <p:spPr>
          <a:xfrm>
            <a:off x="8130488" y="0"/>
            <a:ext cx="4061512" cy="6858000"/>
          </a:xfrm>
          <a:custGeom>
            <a:avLst/>
            <a:gdLst>
              <a:gd name="connsiteX0" fmla="*/ 0 w 4061512"/>
              <a:gd name="connsiteY0" fmla="*/ 0 h 6858000"/>
              <a:gd name="connsiteX1" fmla="*/ 3147112 w 4061512"/>
              <a:gd name="connsiteY1" fmla="*/ 0 h 6858000"/>
              <a:gd name="connsiteX2" fmla="*/ 4035136 w 4061512"/>
              <a:gd name="connsiteY2" fmla="*/ 0 h 6858000"/>
              <a:gd name="connsiteX3" fmla="*/ 4061512 w 4061512"/>
              <a:gd name="connsiteY3" fmla="*/ 0 h 6858000"/>
              <a:gd name="connsiteX4" fmla="*/ 4061512 w 4061512"/>
              <a:gd name="connsiteY4" fmla="*/ 6858000 h 6858000"/>
              <a:gd name="connsiteX5" fmla="*/ 4035136 w 4061512"/>
              <a:gd name="connsiteY5" fmla="*/ 6858000 h 6858000"/>
              <a:gd name="connsiteX6" fmla="*/ 3147112 w 4061512"/>
              <a:gd name="connsiteY6" fmla="*/ 6858000 h 6858000"/>
              <a:gd name="connsiteX7" fmla="*/ 0 w 4061512"/>
              <a:gd name="connsiteY7" fmla="*/ 6858000 h 6858000"/>
              <a:gd name="connsiteX8" fmla="*/ 0 w 4061512"/>
              <a:gd name="connsiteY8" fmla="*/ 1863155 h 6858000"/>
              <a:gd name="connsiteX9" fmla="*/ 129886 w 4061512"/>
              <a:gd name="connsiteY9" fmla="*/ 1737014 h 6858000"/>
              <a:gd name="connsiteX10" fmla="*/ 0 w 4061512"/>
              <a:gd name="connsiteY10" fmla="*/ 16108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512" h="6858000">
                <a:moveTo>
                  <a:pt x="0" y="0"/>
                </a:moveTo>
                <a:lnTo>
                  <a:pt x="3147112" y="0"/>
                </a:lnTo>
                <a:lnTo>
                  <a:pt x="4035136" y="0"/>
                </a:lnTo>
                <a:lnTo>
                  <a:pt x="4061512" y="0"/>
                </a:lnTo>
                <a:lnTo>
                  <a:pt x="4061512" y="6858000"/>
                </a:lnTo>
                <a:lnTo>
                  <a:pt x="4035136" y="6858000"/>
                </a:lnTo>
                <a:lnTo>
                  <a:pt x="3147112" y="6858000"/>
                </a:lnTo>
                <a:lnTo>
                  <a:pt x="0" y="6858000"/>
                </a:lnTo>
                <a:lnTo>
                  <a:pt x="0" y="1863155"/>
                </a:lnTo>
                <a:lnTo>
                  <a:pt x="129886" y="1737014"/>
                </a:lnTo>
                <a:lnTo>
                  <a:pt x="0" y="1610874"/>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7400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9"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7400925" cy="4516692"/>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227286392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plit callout gradient">
    <p:spTree>
      <p:nvGrpSpPr>
        <p:cNvPr id="1" name=""/>
        <p:cNvGrpSpPr/>
        <p:nvPr/>
      </p:nvGrpSpPr>
      <p:grpSpPr>
        <a:xfrm>
          <a:off x="0" y="0"/>
          <a:ext cx="0" cy="0"/>
          <a:chOff x="0" y="0"/>
          <a:chExt cx="0" cy="0"/>
        </a:xfrm>
      </p:grpSpPr>
      <p:sp>
        <p:nvSpPr>
          <p:cNvPr id="11" name="Freeform 10">
            <a:extLst>
              <a:ext uri="{FF2B5EF4-FFF2-40B4-BE49-F238E27FC236}">
                <a16:creationId xmlns:a16="http://schemas.microsoft.com/office/drawing/2014/main" id="{6C28D570-764E-8746-A9D3-AD94F6E88F8D}"/>
              </a:ext>
            </a:extLst>
          </p:cNvPr>
          <p:cNvSpPr/>
          <p:nvPr userDrawn="1"/>
        </p:nvSpPr>
        <p:spPr>
          <a:xfrm>
            <a:off x="8130488" y="0"/>
            <a:ext cx="4061512" cy="6858000"/>
          </a:xfrm>
          <a:custGeom>
            <a:avLst/>
            <a:gdLst>
              <a:gd name="connsiteX0" fmla="*/ 0 w 4061512"/>
              <a:gd name="connsiteY0" fmla="*/ 0 h 6858000"/>
              <a:gd name="connsiteX1" fmla="*/ 3147112 w 4061512"/>
              <a:gd name="connsiteY1" fmla="*/ 0 h 6858000"/>
              <a:gd name="connsiteX2" fmla="*/ 4035136 w 4061512"/>
              <a:gd name="connsiteY2" fmla="*/ 0 h 6858000"/>
              <a:gd name="connsiteX3" fmla="*/ 4061512 w 4061512"/>
              <a:gd name="connsiteY3" fmla="*/ 0 h 6858000"/>
              <a:gd name="connsiteX4" fmla="*/ 4061512 w 4061512"/>
              <a:gd name="connsiteY4" fmla="*/ 6858000 h 6858000"/>
              <a:gd name="connsiteX5" fmla="*/ 4035136 w 4061512"/>
              <a:gd name="connsiteY5" fmla="*/ 6858000 h 6858000"/>
              <a:gd name="connsiteX6" fmla="*/ 3147112 w 4061512"/>
              <a:gd name="connsiteY6" fmla="*/ 6858000 h 6858000"/>
              <a:gd name="connsiteX7" fmla="*/ 0 w 4061512"/>
              <a:gd name="connsiteY7" fmla="*/ 6858000 h 6858000"/>
              <a:gd name="connsiteX8" fmla="*/ 0 w 4061512"/>
              <a:gd name="connsiteY8" fmla="*/ 1863155 h 6858000"/>
              <a:gd name="connsiteX9" fmla="*/ 129886 w 4061512"/>
              <a:gd name="connsiteY9" fmla="*/ 1737014 h 6858000"/>
              <a:gd name="connsiteX10" fmla="*/ 0 w 4061512"/>
              <a:gd name="connsiteY10" fmla="*/ 16108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512" h="6858000">
                <a:moveTo>
                  <a:pt x="0" y="0"/>
                </a:moveTo>
                <a:lnTo>
                  <a:pt x="3147112" y="0"/>
                </a:lnTo>
                <a:lnTo>
                  <a:pt x="4035136" y="0"/>
                </a:lnTo>
                <a:lnTo>
                  <a:pt x="4061512" y="0"/>
                </a:lnTo>
                <a:lnTo>
                  <a:pt x="4061512" y="6858000"/>
                </a:lnTo>
                <a:lnTo>
                  <a:pt x="4035136" y="6858000"/>
                </a:lnTo>
                <a:lnTo>
                  <a:pt x="3147112" y="6858000"/>
                </a:lnTo>
                <a:lnTo>
                  <a:pt x="0" y="6858000"/>
                </a:lnTo>
                <a:lnTo>
                  <a:pt x="0" y="1863155"/>
                </a:lnTo>
                <a:lnTo>
                  <a:pt x="129886" y="1737014"/>
                </a:lnTo>
                <a:lnTo>
                  <a:pt x="0" y="1610874"/>
                </a:lnTo>
                <a:close/>
              </a:path>
            </a:pathLst>
          </a:custGeom>
          <a:blipFill dpi="0" rotWithShape="1">
            <a:blip r:embed="rId3"/>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7400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9"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7400925" cy="4516692"/>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36869500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Content + Image background">
    <p:bg>
      <p:bgPr>
        <a:solidFill>
          <a:srgbClr val="FFFFFF"/>
        </a:solidFill>
        <a:effectLst/>
      </p:bgPr>
    </p:bg>
    <p:spTree>
      <p:nvGrpSpPr>
        <p:cNvPr id="1" name=""/>
        <p:cNvGrpSpPr/>
        <p:nvPr/>
      </p:nvGrpSpPr>
      <p:grpSpPr>
        <a:xfrm>
          <a:off x="0" y="0"/>
          <a:ext cx="0" cy="0"/>
          <a:chOff x="0" y="0"/>
          <a:chExt cx="0" cy="0"/>
        </a:xfrm>
      </p:grpSpPr>
      <p:sp>
        <p:nvSpPr>
          <p:cNvPr id="173" name="Shape 173"/>
          <p:cNvSpPr>
            <a:spLocks noGrp="1"/>
          </p:cNvSpPr>
          <p:nvPr>
            <p:ph type="title"/>
          </p:nvPr>
        </p:nvSpPr>
        <p:spPr>
          <a:xfrm>
            <a:off x="438912" y="1619246"/>
            <a:ext cx="5495924" cy="1495429"/>
          </a:xfrm>
          <a:prstGeom prst="rect">
            <a:avLst/>
          </a:prstGeom>
        </p:spPr>
        <p:txBody>
          <a:bodyPr>
            <a:normAutofit/>
          </a:bodyPr>
          <a:lstStyle>
            <a:lvl1pPr>
              <a:defRPr sz="5600">
                <a:solidFill>
                  <a:srgbClr val="FFFFFF"/>
                </a:solidFill>
              </a:defRPr>
            </a:lvl1pPr>
          </a:lstStyle>
          <a:p>
            <a:r>
              <a:t>Texto del título</a:t>
            </a:r>
          </a:p>
        </p:txBody>
      </p:sp>
      <p:sp>
        <p:nvSpPr>
          <p:cNvPr id="174" name="Shape 174"/>
          <p:cNvSpPr>
            <a:spLocks noGrp="1"/>
          </p:cNvSpPr>
          <p:nvPr>
            <p:ph type="body" sz="quarter" idx="1"/>
          </p:nvPr>
        </p:nvSpPr>
        <p:spPr>
          <a:xfrm>
            <a:off x="485776" y="3315923"/>
            <a:ext cx="5495924" cy="2805478"/>
          </a:xfrm>
          <a:prstGeom prst="rect">
            <a:avLst/>
          </a:prstGeom>
        </p:spPr>
        <p:txBody>
          <a:bodyPr>
            <a:normAutofit/>
          </a:bodyPr>
          <a:lstStyle>
            <a:lvl1pPr>
              <a:defRPr sz="2000" b="1">
                <a:solidFill>
                  <a:srgbClr val="FFFFFF"/>
                </a:solidFill>
              </a:defRPr>
            </a:lvl1pPr>
            <a:lvl2pPr marL="228600" indent="-225425">
              <a:defRPr sz="2000" b="1">
                <a:solidFill>
                  <a:srgbClr val="FFFFFF"/>
                </a:solidFill>
              </a:defRPr>
            </a:lvl2pPr>
            <a:lvl3pPr marL="609600" indent="-381000">
              <a:defRPr sz="2000" b="1">
                <a:solidFill>
                  <a:srgbClr val="FFFFFF"/>
                </a:solidFill>
              </a:defRPr>
            </a:lvl3pPr>
            <a:lvl4pPr marL="838200" indent="-381000">
              <a:defRPr sz="2000" b="1">
                <a:solidFill>
                  <a:srgbClr val="FFFFFF"/>
                </a:solidFill>
              </a:defRPr>
            </a:lvl4pPr>
            <a:lvl5pPr marL="1066800" indent="-381000">
              <a:defRPr sz="2000" b="1">
                <a:solidFill>
                  <a:srgbClr val="FFFFFF"/>
                </a:solidFill>
              </a:defRPr>
            </a:lvl5pPr>
          </a:lstStyle>
          <a:p>
            <a:r>
              <a:t>Nivel de texto 1</a:t>
            </a:r>
          </a:p>
          <a:p>
            <a:pPr lvl="1"/>
            <a:r>
              <a:t>Nivel de texto 2</a:t>
            </a:r>
          </a:p>
          <a:p>
            <a:pPr lvl="2"/>
            <a:r>
              <a:t>Nivel de texto 3</a:t>
            </a:r>
          </a:p>
          <a:p>
            <a:pPr lvl="3"/>
            <a:r>
              <a:t>Nivel de texto 4</a:t>
            </a:r>
          </a:p>
          <a:p>
            <a:pPr lvl="4"/>
            <a:r>
              <a:t>Nivel de texto 5</a:t>
            </a:r>
          </a:p>
        </p:txBody>
      </p:sp>
      <p:sp>
        <p:nvSpPr>
          <p:cNvPr id="175" name="Shape 175"/>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cSld>
  <p:clrMapOvr>
    <a:masterClrMapping/>
  </p:clrMapOvr>
  <p:transition spd="med"/>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plit callout phot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7400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9"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7400925" cy="4516692"/>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10" name="Picture Placeholder 9"/>
          <p:cNvSpPr>
            <a:spLocks noGrp="1"/>
          </p:cNvSpPr>
          <p:nvPr>
            <p:ph type="pic" sz="quarter" idx="12" hasCustomPrompt="1"/>
          </p:nvPr>
        </p:nvSpPr>
        <p:spPr>
          <a:xfrm>
            <a:off x="8131175" y="0"/>
            <a:ext cx="4060825" cy="6858000"/>
          </a:xfrm>
          <a:custGeom>
            <a:avLst/>
            <a:gdLst>
              <a:gd name="connsiteX0" fmla="*/ 0 w 4060825"/>
              <a:gd name="connsiteY0" fmla="*/ 0 h 6858000"/>
              <a:gd name="connsiteX1" fmla="*/ 4060825 w 4060825"/>
              <a:gd name="connsiteY1" fmla="*/ 0 h 6858000"/>
              <a:gd name="connsiteX2" fmla="*/ 4060825 w 4060825"/>
              <a:gd name="connsiteY2" fmla="*/ 6858000 h 6858000"/>
              <a:gd name="connsiteX3" fmla="*/ 0 w 4060825"/>
              <a:gd name="connsiteY3" fmla="*/ 6858000 h 6858000"/>
              <a:gd name="connsiteX4" fmla="*/ 0 w 4060825"/>
              <a:gd name="connsiteY4" fmla="*/ 1861958 h 6858000"/>
              <a:gd name="connsiteX5" fmla="*/ 124598 w 4060825"/>
              <a:gd name="connsiteY5" fmla="*/ 1737360 h 6858000"/>
              <a:gd name="connsiteX6" fmla="*/ 0 w 4060825"/>
              <a:gd name="connsiteY6" fmla="*/ 161276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0825" h="6858000">
                <a:moveTo>
                  <a:pt x="0" y="0"/>
                </a:moveTo>
                <a:lnTo>
                  <a:pt x="4060825" y="0"/>
                </a:lnTo>
                <a:lnTo>
                  <a:pt x="4060825" y="6858000"/>
                </a:lnTo>
                <a:lnTo>
                  <a:pt x="0" y="6858000"/>
                </a:lnTo>
                <a:lnTo>
                  <a:pt x="0" y="1861958"/>
                </a:lnTo>
                <a:lnTo>
                  <a:pt x="124598" y="1737360"/>
                </a:lnTo>
                <a:lnTo>
                  <a:pt x="0" y="1612762"/>
                </a:lnTo>
                <a:close/>
              </a:path>
            </a:pathLst>
          </a:custGeom>
          <a:solidFill>
            <a:srgbClr val="F0F0F0"/>
          </a:solidFill>
        </p:spPr>
        <p:txBody>
          <a:bodyPr wrap="square">
            <a:noAutofit/>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Tree>
    <p:extLst>
      <p:ext uri="{BB962C8B-B14F-4D97-AF65-F5344CB8AC3E}">
        <p14:creationId xmlns:p14="http://schemas.microsoft.com/office/powerpoint/2010/main" val="244209278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90316066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CONTENT + IMAG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C6A0CCC6-7BFA-B74B-BE8E-833BC82918F0}"/>
              </a:ext>
            </a:extLst>
          </p:cNvPr>
          <p:cNvSpPr txBox="1"/>
          <p:nvPr/>
        </p:nvSpPr>
        <p:spPr>
          <a:xfrm>
            <a:off x="374977" y="1582341"/>
            <a:ext cx="8423034" cy="3693319"/>
          </a:xfrm>
          <a:prstGeom prst="rect">
            <a:avLst/>
          </a:prstGeom>
          <a:noFill/>
        </p:spPr>
        <p:txBody>
          <a:bodyPr wrap="squar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Content +  images</a:t>
            </a:r>
          </a:p>
        </p:txBody>
      </p:sp>
    </p:spTree>
    <p:extLst>
      <p:ext uri="{BB962C8B-B14F-4D97-AF65-F5344CB8AC3E}">
        <p14:creationId xmlns:p14="http://schemas.microsoft.com/office/powerpoint/2010/main" val="94802925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Content + Image backgroun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735B67BB-4145-CB43-9042-99F21E43E2EB}"/>
              </a:ext>
            </a:extLst>
          </p:cNvPr>
          <p:cNvSpPr>
            <a:spLocks noGrp="1"/>
          </p:cNvSpPr>
          <p:nvPr>
            <p:ph type="pic" sz="quarter" idx="12" hasCustomPrompt="1"/>
          </p:nvPr>
        </p:nvSpPr>
        <p:spPr>
          <a:xfrm>
            <a:off x="1" y="0"/>
            <a:ext cx="12192000" cy="6858000"/>
          </a:xfrm>
          <a:solidFill>
            <a:srgbClr val="F0F0F0"/>
          </a:solidFill>
        </p:spPr>
        <p:txBody>
          <a:bodyPr/>
          <a:lstStyle>
            <a:lvl1pPr>
              <a:defRPr sz="1200">
                <a:solidFill>
                  <a:srgbClr val="FF0000"/>
                </a:solidFill>
              </a:defRPr>
            </a:lvl1pPr>
          </a:lstStyle>
          <a:p>
            <a:r>
              <a:rPr lang="en-US" dirty="0"/>
              <a:t>Bring picture placeholder to front. Click on picture icon to insert picture. Reset layout and send picture to back.</a:t>
            </a:r>
          </a:p>
        </p:txBody>
      </p:sp>
      <p:sp>
        <p:nvSpPr>
          <p:cNvPr id="8" name="Title 7">
            <a:extLst>
              <a:ext uri="{FF2B5EF4-FFF2-40B4-BE49-F238E27FC236}">
                <a16:creationId xmlns:a16="http://schemas.microsoft.com/office/drawing/2014/main" id="{F3F7DAD6-9BB0-734A-B0C2-5B0A76C9FD6E}"/>
              </a:ext>
            </a:extLst>
          </p:cNvPr>
          <p:cNvSpPr>
            <a:spLocks noGrp="1"/>
          </p:cNvSpPr>
          <p:nvPr>
            <p:ph type="title" hasCustomPrompt="1"/>
          </p:nvPr>
        </p:nvSpPr>
        <p:spPr>
          <a:xfrm>
            <a:off x="438912" y="1619247"/>
            <a:ext cx="5495924" cy="1495428"/>
          </a:xfrm>
        </p:spPr>
        <p:txBody>
          <a:bodyPr vert="horz"/>
          <a:lstStyle>
            <a:lvl1pPr>
              <a:defRPr sz="5600">
                <a:solidFill>
                  <a:schemeClr val="bg1"/>
                </a:solidFill>
              </a:defRPr>
            </a:lvl1pPr>
          </a:lstStyle>
          <a:p>
            <a:r>
              <a:rPr lang="en-US" dirty="0"/>
              <a:t>Click to add title</a:t>
            </a:r>
          </a:p>
        </p:txBody>
      </p:sp>
      <p:sp>
        <p:nvSpPr>
          <p:cNvPr id="26" name="Text Placeholder 25">
            <a:extLst>
              <a:ext uri="{FF2B5EF4-FFF2-40B4-BE49-F238E27FC236}">
                <a16:creationId xmlns:a16="http://schemas.microsoft.com/office/drawing/2014/main" id="{01D5F8C2-80B5-BD4F-91F7-1B8D6A3ACFB6}"/>
              </a:ext>
            </a:extLst>
          </p:cNvPr>
          <p:cNvSpPr>
            <a:spLocks noGrp="1"/>
          </p:cNvSpPr>
          <p:nvPr>
            <p:ph type="body" sz="quarter" idx="13"/>
          </p:nvPr>
        </p:nvSpPr>
        <p:spPr>
          <a:xfrm>
            <a:off x="485776" y="3315923"/>
            <a:ext cx="5495924" cy="2805477"/>
          </a:xfrm>
        </p:spPr>
        <p:txBody>
          <a:bodyPr/>
          <a:lstStyle>
            <a:lvl1pPr>
              <a:defRPr sz="2000" b="1">
                <a:solidFill>
                  <a:schemeClr val="bg1"/>
                </a:solidFill>
              </a:defRPr>
            </a:lvl1pPr>
            <a:lvl2pPr>
              <a:defRPr sz="2000">
                <a:solidFill>
                  <a:schemeClr val="bg1"/>
                </a:solidFill>
              </a:defRPr>
            </a:lvl2pPr>
          </a:lstStyle>
          <a:p>
            <a:pPr lvl="0"/>
            <a:r>
              <a:rPr lang="es-ES"/>
              <a:t>Editar el estilo de texto del patrón</a:t>
            </a:r>
          </a:p>
          <a:p>
            <a:pPr lvl="1"/>
            <a:r>
              <a:rPr lang="es-ES"/>
              <a:t>Segundo nivel</a:t>
            </a:r>
          </a:p>
        </p:txBody>
      </p:sp>
    </p:spTree>
    <p:extLst>
      <p:ext uri="{BB962C8B-B14F-4D97-AF65-F5344CB8AC3E}">
        <p14:creationId xmlns:p14="http://schemas.microsoft.com/office/powerpoint/2010/main" val="362926429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Content + 1up">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8AED69B9-B4F1-004C-A77F-27A6FA2E5B93}"/>
              </a:ext>
            </a:extLst>
          </p:cNvPr>
          <p:cNvSpPr>
            <a:spLocks noGrp="1"/>
          </p:cNvSpPr>
          <p:nvPr>
            <p:ph sz="quarter" idx="11"/>
          </p:nvPr>
        </p:nvSpPr>
        <p:spPr>
          <a:xfrm>
            <a:off x="485777" y="1609725"/>
            <a:ext cx="7400923" cy="4519867"/>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11" name="Picture Placeholder 10">
            <a:extLst>
              <a:ext uri="{FF2B5EF4-FFF2-40B4-BE49-F238E27FC236}">
                <a16:creationId xmlns:a16="http://schemas.microsoft.com/office/drawing/2014/main" id="{735B67BB-4145-CB43-9042-99F21E43E2EB}"/>
              </a:ext>
            </a:extLst>
          </p:cNvPr>
          <p:cNvSpPr>
            <a:spLocks noGrp="1"/>
          </p:cNvSpPr>
          <p:nvPr>
            <p:ph type="pic" sz="quarter" idx="12" hasCustomPrompt="1"/>
          </p:nvPr>
        </p:nvSpPr>
        <p:spPr>
          <a:xfrm>
            <a:off x="8128001" y="119959"/>
            <a:ext cx="3940174" cy="6618082"/>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0" name="Title 1">
            <a:extLst>
              <a:ext uri="{FF2B5EF4-FFF2-40B4-BE49-F238E27FC236}">
                <a16:creationId xmlns:a16="http://schemas.microsoft.com/office/drawing/2014/main" id="{EAEFB055-FB93-6449-B5E1-10B3AB4A19FD}"/>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E243AFB7-5041-9B4B-8CEB-9A5E8F8695ED}"/>
              </a:ext>
            </a:extLst>
          </p:cNvPr>
          <p:cNvSpPr>
            <a:spLocks noGrp="1"/>
          </p:cNvSpPr>
          <p:nvPr>
            <p:ph type="body" sz="half" idx="2" hasCustomPrompt="1"/>
          </p:nvPr>
        </p:nvSpPr>
        <p:spPr>
          <a:xfrm>
            <a:off x="485776" y="806807"/>
            <a:ext cx="7410633"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326044101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Content + 2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10">
            <a:extLst>
              <a:ext uri="{FF2B5EF4-FFF2-40B4-BE49-F238E27FC236}">
                <a16:creationId xmlns:a16="http://schemas.microsoft.com/office/drawing/2014/main" id="{1031E9E1-2938-814C-965B-19D14975B268}"/>
              </a:ext>
            </a:extLst>
          </p:cNvPr>
          <p:cNvSpPr>
            <a:spLocks noGrp="1"/>
          </p:cNvSpPr>
          <p:nvPr>
            <p:ph type="pic" sz="quarter" idx="12" hasCustomPrompt="1"/>
          </p:nvPr>
        </p:nvSpPr>
        <p:spPr>
          <a:xfrm>
            <a:off x="4305300" y="358775"/>
            <a:ext cx="7762875"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hasCustomPrompt="1"/>
          </p:nvPr>
        </p:nvSpPr>
        <p:spPr>
          <a:xfrm>
            <a:off x="4305300" y="3493742"/>
            <a:ext cx="7762875"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3" name="Content Placeholder 2"/>
          <p:cNvSpPr>
            <a:spLocks noGrp="1"/>
          </p:cNvSpPr>
          <p:nvPr>
            <p:ph sz="half" idx="1"/>
          </p:nvPr>
        </p:nvSpPr>
        <p:spPr>
          <a:xfrm>
            <a:off x="485776" y="1609725"/>
            <a:ext cx="3578224" cy="450850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p:txBody>
      </p:sp>
      <p:sp>
        <p:nvSpPr>
          <p:cNvPr id="9" name="Title 1">
            <a:extLst>
              <a:ext uri="{FF2B5EF4-FFF2-40B4-BE49-F238E27FC236}">
                <a16:creationId xmlns:a16="http://schemas.microsoft.com/office/drawing/2014/main" id="{189225C4-8365-8740-B93B-01403F28E601}"/>
              </a:ext>
            </a:extLst>
          </p:cNvPr>
          <p:cNvSpPr>
            <a:spLocks noGrp="1"/>
          </p:cNvSpPr>
          <p:nvPr>
            <p:ph type="title" hasCustomPrompt="1"/>
          </p:nvPr>
        </p:nvSpPr>
        <p:spPr>
          <a:xfrm>
            <a:off x="457201" y="355601"/>
            <a:ext cx="3606800" cy="752474"/>
          </a:xfrm>
        </p:spPr>
        <p:txBody>
          <a:bodyPr vert="horz"/>
          <a:lstStyle/>
          <a:p>
            <a:r>
              <a:rPr lang="en-US" dirty="0"/>
              <a:t>Click to add title</a:t>
            </a:r>
          </a:p>
        </p:txBody>
      </p:sp>
    </p:spTree>
    <p:extLst>
      <p:ext uri="{BB962C8B-B14F-4D97-AF65-F5344CB8AC3E}">
        <p14:creationId xmlns:p14="http://schemas.microsoft.com/office/powerpoint/2010/main" val="200090964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Content + 3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hasCustomPrompt="1"/>
          </p:nvPr>
        </p:nvSpPr>
        <p:spPr>
          <a:xfrm>
            <a:off x="4305300" y="3493742"/>
            <a:ext cx="7762875"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2" name="Picture Placeholder 10">
            <a:extLst>
              <a:ext uri="{FF2B5EF4-FFF2-40B4-BE49-F238E27FC236}">
                <a16:creationId xmlns:a16="http://schemas.microsoft.com/office/drawing/2014/main" id="{86D97FC1-1436-AE4B-A0BC-E2E020B6104B}"/>
              </a:ext>
            </a:extLst>
          </p:cNvPr>
          <p:cNvSpPr>
            <a:spLocks noGrp="1"/>
          </p:cNvSpPr>
          <p:nvPr>
            <p:ph type="pic" sz="quarter" idx="14" hasCustomPrompt="1"/>
          </p:nvPr>
        </p:nvSpPr>
        <p:spPr>
          <a:xfrm>
            <a:off x="8185678" y="358775"/>
            <a:ext cx="3882498"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5" name="Picture Placeholder 10">
            <a:extLst>
              <a:ext uri="{FF2B5EF4-FFF2-40B4-BE49-F238E27FC236}">
                <a16:creationId xmlns:a16="http://schemas.microsoft.com/office/drawing/2014/main" id="{BC987E18-8715-1944-B602-040A7437FAB6}"/>
              </a:ext>
            </a:extLst>
          </p:cNvPr>
          <p:cNvSpPr>
            <a:spLocks noGrp="1"/>
          </p:cNvSpPr>
          <p:nvPr>
            <p:ph type="pic" sz="quarter" idx="12" hasCustomPrompt="1"/>
          </p:nvPr>
        </p:nvSpPr>
        <p:spPr>
          <a:xfrm>
            <a:off x="4305300" y="358775"/>
            <a:ext cx="3742665"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3" name="Content Placeholder 2"/>
          <p:cNvSpPr>
            <a:spLocks noGrp="1"/>
          </p:cNvSpPr>
          <p:nvPr>
            <p:ph sz="half" idx="1"/>
          </p:nvPr>
        </p:nvSpPr>
        <p:spPr>
          <a:xfrm>
            <a:off x="485776" y="1609725"/>
            <a:ext cx="3578224" cy="450850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p:txBody>
      </p:sp>
      <p:sp>
        <p:nvSpPr>
          <p:cNvPr id="9" name="Title 1">
            <a:extLst>
              <a:ext uri="{FF2B5EF4-FFF2-40B4-BE49-F238E27FC236}">
                <a16:creationId xmlns:a16="http://schemas.microsoft.com/office/drawing/2014/main" id="{DAB781F8-68B2-BC49-8993-F85CEFB0A3B4}"/>
              </a:ext>
            </a:extLst>
          </p:cNvPr>
          <p:cNvSpPr>
            <a:spLocks noGrp="1"/>
          </p:cNvSpPr>
          <p:nvPr>
            <p:ph type="title" hasCustomPrompt="1"/>
          </p:nvPr>
        </p:nvSpPr>
        <p:spPr>
          <a:xfrm>
            <a:off x="457201" y="355601"/>
            <a:ext cx="3606800" cy="752474"/>
          </a:xfrm>
        </p:spPr>
        <p:txBody>
          <a:bodyPr vert="horz"/>
          <a:lstStyle/>
          <a:p>
            <a:r>
              <a:rPr lang="en-US" dirty="0"/>
              <a:t>Click to add title</a:t>
            </a:r>
          </a:p>
        </p:txBody>
      </p:sp>
    </p:spTree>
    <p:extLst>
      <p:ext uri="{BB962C8B-B14F-4D97-AF65-F5344CB8AC3E}">
        <p14:creationId xmlns:p14="http://schemas.microsoft.com/office/powerpoint/2010/main" val="198637707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Content + 3up modu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3" name="Picture Placeholder 10">
            <a:extLst>
              <a:ext uri="{FF2B5EF4-FFF2-40B4-BE49-F238E27FC236}">
                <a16:creationId xmlns:a16="http://schemas.microsoft.com/office/drawing/2014/main" id="{06D1C5D0-6FBD-DC40-BF13-9C09EFC9B450}"/>
              </a:ext>
            </a:extLst>
          </p:cNvPr>
          <p:cNvSpPr>
            <a:spLocks noGrp="1"/>
          </p:cNvSpPr>
          <p:nvPr>
            <p:ph type="pic" sz="quarter" idx="12" hasCustomPrompt="1"/>
          </p:nvPr>
        </p:nvSpPr>
        <p:spPr>
          <a:xfrm>
            <a:off x="4305300" y="358775"/>
            <a:ext cx="3822700"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4" name="Picture Placeholder 10">
            <a:extLst>
              <a:ext uri="{FF2B5EF4-FFF2-40B4-BE49-F238E27FC236}">
                <a16:creationId xmlns:a16="http://schemas.microsoft.com/office/drawing/2014/main" id="{52B98AD3-DEEF-4E4E-A5E7-207AD9EDE0A4}"/>
              </a:ext>
            </a:extLst>
          </p:cNvPr>
          <p:cNvSpPr>
            <a:spLocks noGrp="1"/>
          </p:cNvSpPr>
          <p:nvPr>
            <p:ph type="pic" sz="quarter" idx="14" hasCustomPrompt="1"/>
          </p:nvPr>
        </p:nvSpPr>
        <p:spPr>
          <a:xfrm>
            <a:off x="8226964" y="3493742"/>
            <a:ext cx="3841211"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5" name="Picture Placeholder 10">
            <a:extLst>
              <a:ext uri="{FF2B5EF4-FFF2-40B4-BE49-F238E27FC236}">
                <a16:creationId xmlns:a16="http://schemas.microsoft.com/office/drawing/2014/main" id="{05DBA6C8-E574-1C41-BF14-D1988A1F09BB}"/>
              </a:ext>
            </a:extLst>
          </p:cNvPr>
          <p:cNvSpPr>
            <a:spLocks noGrp="1"/>
          </p:cNvSpPr>
          <p:nvPr>
            <p:ph type="pic" sz="quarter" idx="15" hasCustomPrompt="1"/>
          </p:nvPr>
        </p:nvSpPr>
        <p:spPr>
          <a:xfrm>
            <a:off x="123826" y="3493742"/>
            <a:ext cx="4104142"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6" name="Text Placeholder 3">
            <a:extLst>
              <a:ext uri="{FF2B5EF4-FFF2-40B4-BE49-F238E27FC236}">
                <a16:creationId xmlns:a16="http://schemas.microsoft.com/office/drawing/2014/main" id="{450CA7BF-D868-9C46-B4DE-128E2C7369C1}"/>
              </a:ext>
            </a:extLst>
          </p:cNvPr>
          <p:cNvSpPr>
            <a:spLocks noGrp="1"/>
          </p:cNvSpPr>
          <p:nvPr>
            <p:ph type="body" sz="half" idx="2" hasCustomPrompt="1"/>
          </p:nvPr>
        </p:nvSpPr>
        <p:spPr>
          <a:xfrm>
            <a:off x="485777" y="358775"/>
            <a:ext cx="3578224" cy="3019424"/>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content</a:t>
            </a:r>
          </a:p>
        </p:txBody>
      </p:sp>
      <p:sp>
        <p:nvSpPr>
          <p:cNvPr id="17" name="Text Placeholder 3">
            <a:extLst>
              <a:ext uri="{FF2B5EF4-FFF2-40B4-BE49-F238E27FC236}">
                <a16:creationId xmlns:a16="http://schemas.microsoft.com/office/drawing/2014/main" id="{ABA9015E-F6D4-0A41-87F6-DE612B8F621A}"/>
              </a:ext>
            </a:extLst>
          </p:cNvPr>
          <p:cNvSpPr>
            <a:spLocks noGrp="1"/>
          </p:cNvSpPr>
          <p:nvPr>
            <p:ph type="body" sz="half" idx="16" hasCustomPrompt="1"/>
          </p:nvPr>
        </p:nvSpPr>
        <p:spPr>
          <a:xfrm>
            <a:off x="8289863" y="358774"/>
            <a:ext cx="3546537" cy="2965449"/>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content</a:t>
            </a:r>
          </a:p>
        </p:txBody>
      </p:sp>
      <p:sp>
        <p:nvSpPr>
          <p:cNvPr id="18" name="Text Placeholder 3">
            <a:extLst>
              <a:ext uri="{FF2B5EF4-FFF2-40B4-BE49-F238E27FC236}">
                <a16:creationId xmlns:a16="http://schemas.microsoft.com/office/drawing/2014/main" id="{9BFDCF20-88FB-6C4F-AD7A-8B859EBAB09C}"/>
              </a:ext>
            </a:extLst>
          </p:cNvPr>
          <p:cNvSpPr>
            <a:spLocks noGrp="1"/>
          </p:cNvSpPr>
          <p:nvPr>
            <p:ph type="body" sz="half" idx="17" hasCustomPrompt="1"/>
          </p:nvPr>
        </p:nvSpPr>
        <p:spPr>
          <a:xfrm>
            <a:off x="4396873" y="3811323"/>
            <a:ext cx="3657599" cy="2564078"/>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content</a:t>
            </a:r>
          </a:p>
        </p:txBody>
      </p:sp>
    </p:spTree>
    <p:extLst>
      <p:ext uri="{BB962C8B-B14F-4D97-AF65-F5344CB8AC3E}">
        <p14:creationId xmlns:p14="http://schemas.microsoft.com/office/powerpoint/2010/main" val="337590505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ontent + 4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10">
            <a:extLst>
              <a:ext uri="{FF2B5EF4-FFF2-40B4-BE49-F238E27FC236}">
                <a16:creationId xmlns:a16="http://schemas.microsoft.com/office/drawing/2014/main" id="{1031E9E1-2938-814C-965B-19D14975B268}"/>
              </a:ext>
            </a:extLst>
          </p:cNvPr>
          <p:cNvSpPr>
            <a:spLocks noGrp="1"/>
          </p:cNvSpPr>
          <p:nvPr>
            <p:ph type="pic" sz="quarter" idx="12" hasCustomPrompt="1"/>
          </p:nvPr>
        </p:nvSpPr>
        <p:spPr>
          <a:xfrm>
            <a:off x="4305301" y="358775"/>
            <a:ext cx="3785416"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hasCustomPrompt="1"/>
          </p:nvPr>
        </p:nvSpPr>
        <p:spPr>
          <a:xfrm>
            <a:off x="4305300" y="3493742"/>
            <a:ext cx="3785415"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2" name="Picture Placeholder 10">
            <a:extLst>
              <a:ext uri="{FF2B5EF4-FFF2-40B4-BE49-F238E27FC236}">
                <a16:creationId xmlns:a16="http://schemas.microsoft.com/office/drawing/2014/main" id="{86D97FC1-1436-AE4B-A0BC-E2E020B6104B}"/>
              </a:ext>
            </a:extLst>
          </p:cNvPr>
          <p:cNvSpPr>
            <a:spLocks noGrp="1"/>
          </p:cNvSpPr>
          <p:nvPr>
            <p:ph type="pic" sz="quarter" idx="14" hasCustomPrompt="1"/>
          </p:nvPr>
        </p:nvSpPr>
        <p:spPr>
          <a:xfrm>
            <a:off x="8226964" y="358775"/>
            <a:ext cx="3841211"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8" name="Picture Placeholder 10">
            <a:extLst>
              <a:ext uri="{FF2B5EF4-FFF2-40B4-BE49-F238E27FC236}">
                <a16:creationId xmlns:a16="http://schemas.microsoft.com/office/drawing/2014/main" id="{B2831122-E8DB-534C-BD66-BD9BFD1BC822}"/>
              </a:ext>
            </a:extLst>
          </p:cNvPr>
          <p:cNvSpPr>
            <a:spLocks noGrp="1"/>
          </p:cNvSpPr>
          <p:nvPr>
            <p:ph type="pic" sz="quarter" idx="15" hasCustomPrompt="1"/>
          </p:nvPr>
        </p:nvSpPr>
        <p:spPr>
          <a:xfrm>
            <a:off x="8226964" y="3493742"/>
            <a:ext cx="3841211"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3" name="Content Placeholder 2"/>
          <p:cNvSpPr>
            <a:spLocks noGrp="1"/>
          </p:cNvSpPr>
          <p:nvPr>
            <p:ph sz="half" idx="1"/>
          </p:nvPr>
        </p:nvSpPr>
        <p:spPr>
          <a:xfrm>
            <a:off x="485776" y="1609725"/>
            <a:ext cx="3578224" cy="4508499"/>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p:txBody>
      </p:sp>
      <p:sp>
        <p:nvSpPr>
          <p:cNvPr id="13" name="Title 1">
            <a:extLst>
              <a:ext uri="{FF2B5EF4-FFF2-40B4-BE49-F238E27FC236}">
                <a16:creationId xmlns:a16="http://schemas.microsoft.com/office/drawing/2014/main" id="{B329BC4F-7509-4849-AAA2-704C43361D2E}"/>
              </a:ext>
            </a:extLst>
          </p:cNvPr>
          <p:cNvSpPr>
            <a:spLocks noGrp="1"/>
          </p:cNvSpPr>
          <p:nvPr>
            <p:ph type="title" hasCustomPrompt="1"/>
          </p:nvPr>
        </p:nvSpPr>
        <p:spPr>
          <a:xfrm>
            <a:off x="457201" y="355601"/>
            <a:ext cx="3606800" cy="752474"/>
          </a:xfrm>
        </p:spPr>
        <p:txBody>
          <a:bodyPr vert="horz"/>
          <a:lstStyle/>
          <a:p>
            <a:r>
              <a:rPr lang="en-US" dirty="0"/>
              <a:t>Click to add title</a:t>
            </a:r>
          </a:p>
        </p:txBody>
      </p:sp>
    </p:spTree>
    <p:extLst>
      <p:ext uri="{BB962C8B-B14F-4D97-AF65-F5344CB8AC3E}">
        <p14:creationId xmlns:p14="http://schemas.microsoft.com/office/powerpoint/2010/main" val="188153183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p:cSld name="COV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BA7BA343-6086-A542-94F9-DEB6382B60AA}"/>
              </a:ext>
            </a:extLst>
          </p:cNvPr>
          <p:cNvSpPr txBox="1"/>
          <p:nvPr/>
        </p:nvSpPr>
        <p:spPr>
          <a:xfrm>
            <a:off x="374977" y="2505671"/>
            <a:ext cx="5217775" cy="184665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Covers</a:t>
            </a:r>
          </a:p>
        </p:txBody>
      </p:sp>
    </p:spTree>
    <p:extLst>
      <p:ext uri="{BB962C8B-B14F-4D97-AF65-F5344CB8AC3E}">
        <p14:creationId xmlns:p14="http://schemas.microsoft.com/office/powerpoint/2010/main" val="21082779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x">
  <p:cSld name="Content + 1up">
    <p:bg>
      <p:bgPr>
        <a:solidFill>
          <a:srgbClr val="FFFFFF"/>
        </a:solidFill>
        <a:effectLst/>
      </p:bgPr>
    </p:bg>
    <p:spTree>
      <p:nvGrpSpPr>
        <p:cNvPr id="1" name=""/>
        <p:cNvGrpSpPr/>
        <p:nvPr/>
      </p:nvGrpSpPr>
      <p:grpSpPr>
        <a:xfrm>
          <a:off x="0" y="0"/>
          <a:ext cx="0" cy="0"/>
          <a:chOff x="0" y="0"/>
          <a:chExt cx="0" cy="0"/>
        </a:xfrm>
      </p:grpSpPr>
      <p:pic>
        <p:nvPicPr>
          <p:cNvPr id="182"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183" name="Shape 183"/>
          <p:cNvSpPr>
            <a:spLocks noGrp="1"/>
          </p:cNvSpPr>
          <p:nvPr>
            <p:ph type="pic" sz="half" idx="13"/>
          </p:nvPr>
        </p:nvSpPr>
        <p:spPr>
          <a:xfrm>
            <a:off x="8128000" y="119959"/>
            <a:ext cx="3940175" cy="6618083"/>
          </a:xfrm>
          <a:prstGeom prst="rect">
            <a:avLst/>
          </a:prstGeom>
        </p:spPr>
        <p:txBody>
          <a:bodyPr lIns="91439" tIns="45719" rIns="91439" bIns="45719"/>
          <a:lstStyle/>
          <a:p>
            <a:endParaRPr/>
          </a:p>
        </p:txBody>
      </p:sp>
      <p:sp>
        <p:nvSpPr>
          <p:cNvPr id="184" name="Shape 184"/>
          <p:cNvSpPr>
            <a:spLocks noGrp="1"/>
          </p:cNvSpPr>
          <p:nvPr>
            <p:ph type="body" sz="quarter" idx="14"/>
          </p:nvPr>
        </p:nvSpPr>
        <p:spPr>
          <a:xfrm>
            <a:off x="485776" y="806807"/>
            <a:ext cx="7410634" cy="318477"/>
          </a:xfrm>
          <a:prstGeom prst="rect">
            <a:avLst/>
          </a:prstGeom>
        </p:spPr>
        <p:txBody>
          <a:bodyPr/>
          <a:lstStyle>
            <a:lvl1pPr>
              <a:defRPr b="1">
                <a:solidFill>
                  <a:srgbClr val="002C77"/>
                </a:solidFill>
              </a:defRPr>
            </a:lvl1pPr>
          </a:lstStyle>
          <a:p>
            <a:r>
              <a:t> </a:t>
            </a:r>
          </a:p>
        </p:txBody>
      </p:sp>
      <p:sp>
        <p:nvSpPr>
          <p:cNvPr id="185" name="Shape 185"/>
          <p:cNvSpPr>
            <a:spLocks noGrp="1"/>
          </p:cNvSpPr>
          <p:nvPr>
            <p:ph type="title"/>
          </p:nvPr>
        </p:nvSpPr>
        <p:spPr>
          <a:xfrm>
            <a:off x="457201" y="355600"/>
            <a:ext cx="7429501" cy="495300"/>
          </a:xfrm>
          <a:prstGeom prst="rect">
            <a:avLst/>
          </a:prstGeom>
        </p:spPr>
        <p:txBody>
          <a:bodyPr>
            <a:normAutofit/>
          </a:bodyPr>
          <a:lstStyle/>
          <a:p>
            <a:r>
              <a:t>Texto del título</a:t>
            </a:r>
          </a:p>
        </p:txBody>
      </p:sp>
      <p:sp>
        <p:nvSpPr>
          <p:cNvPr id="186" name="Shape 186"/>
          <p:cNvSpPr>
            <a:spLocks noGrp="1"/>
          </p:cNvSpPr>
          <p:nvPr>
            <p:ph type="body" idx="1"/>
          </p:nvPr>
        </p:nvSpPr>
        <p:spPr>
          <a:xfrm>
            <a:off x="485776" y="1609725"/>
            <a:ext cx="7400924" cy="4519868"/>
          </a:xfrm>
          <a:prstGeom prst="rect">
            <a:avLst/>
          </a:prstGeom>
        </p:spPr>
        <p:txBody>
          <a:bodyPr>
            <a:normAutofit/>
          </a:bodyPr>
          <a:lstStyle/>
          <a:p>
            <a:r>
              <a:t>Nivel de texto 1</a:t>
            </a:r>
          </a:p>
          <a:p>
            <a:pPr lvl="1"/>
            <a:r>
              <a:t>Nivel de texto 2</a:t>
            </a:r>
          </a:p>
          <a:p>
            <a:pPr lvl="2"/>
            <a:r>
              <a:t>Nivel de texto 3</a:t>
            </a:r>
          </a:p>
          <a:p>
            <a:pPr lvl="3"/>
            <a:r>
              <a:t>Nivel de texto 4</a:t>
            </a:r>
          </a:p>
          <a:p>
            <a:pPr lvl="4"/>
            <a:r>
              <a:t>Nivel de texto 5</a:t>
            </a:r>
          </a:p>
        </p:txBody>
      </p:sp>
      <p:sp>
        <p:nvSpPr>
          <p:cNvPr id="187" name="Shape 187"/>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cSld>
  <p:clrMapOvr>
    <a:masterClrMapping/>
  </p:clrMapOvr>
  <p:transition spd="med"/>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itle slide A: image box">
    <p:bg>
      <p:bgPr>
        <a:solidFill>
          <a:schemeClr val="tx2"/>
        </a:solidFill>
        <a:effectLst/>
      </p:bgPr>
    </p:bg>
    <p:spTree>
      <p:nvGrpSpPr>
        <p:cNvPr id="1" name=""/>
        <p:cNvGrpSpPr/>
        <p:nvPr/>
      </p:nvGrpSpPr>
      <p:grpSpPr>
        <a:xfrm>
          <a:off x="0" y="0"/>
          <a:ext cx="0" cy="0"/>
          <a:chOff x="0" y="0"/>
          <a:chExt cx="0" cy="0"/>
        </a:xfrm>
      </p:grpSpPr>
      <p:sp>
        <p:nvSpPr>
          <p:cNvPr id="69" name="Rectangle 68"/>
          <p:cNvSpPr/>
          <p:nvPr userDrawn="1"/>
        </p:nvSpPr>
        <p:spPr>
          <a:xfrm>
            <a:off x="355599" y="6121400"/>
            <a:ext cx="2032001" cy="4953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2" name="Picture Placeholder 71">
            <a:extLst>
              <a:ext uri="{FF2B5EF4-FFF2-40B4-BE49-F238E27FC236}">
                <a16:creationId xmlns:a16="http://schemas.microsoft.com/office/drawing/2014/main" id="{73319BE5-0EF3-DD4B-B826-A8E9F0755285}"/>
              </a:ext>
            </a:extLst>
          </p:cNvPr>
          <p:cNvSpPr>
            <a:spLocks noGrp="1"/>
          </p:cNvSpPr>
          <p:nvPr>
            <p:ph type="pic" sz="quarter" idx="10" hasCustomPrompt="1"/>
          </p:nvPr>
        </p:nvSpPr>
        <p:spPr>
          <a:xfrm>
            <a:off x="-1" y="-1"/>
            <a:ext cx="12191999" cy="6858001"/>
          </a:xfrm>
          <a:custGeom>
            <a:avLst/>
            <a:gdLst>
              <a:gd name="connsiteX0" fmla="*/ 2154182 w 12191999"/>
              <a:gd name="connsiteY0" fmla="*/ 6348735 h 6858001"/>
              <a:gd name="connsiteX1" fmla="*/ 2154182 w 12191999"/>
              <a:gd name="connsiteY1" fmla="*/ 6352726 h 6858001"/>
              <a:gd name="connsiteX2" fmla="*/ 2152428 w 12191999"/>
              <a:gd name="connsiteY2" fmla="*/ 6363609 h 6858001"/>
              <a:gd name="connsiteX3" fmla="*/ 2145233 w 12191999"/>
              <a:gd name="connsiteY3" fmla="*/ 6371136 h 6858001"/>
              <a:gd name="connsiteX4" fmla="*/ 2134048 w 12191999"/>
              <a:gd name="connsiteY4" fmla="*/ 6373887 h 6858001"/>
              <a:gd name="connsiteX5" fmla="*/ 2124404 w 12191999"/>
              <a:gd name="connsiteY5" fmla="*/ 6370985 h 6858001"/>
              <a:gd name="connsiteX6" fmla="*/ 2121109 w 12191999"/>
              <a:gd name="connsiteY6" fmla="*/ 6363730 h 6858001"/>
              <a:gd name="connsiteX7" fmla="*/ 2122621 w 12191999"/>
              <a:gd name="connsiteY7" fmla="*/ 6358560 h 6858001"/>
              <a:gd name="connsiteX8" fmla="*/ 2126913 w 12191999"/>
              <a:gd name="connsiteY8" fmla="*/ 6355023 h 6858001"/>
              <a:gd name="connsiteX9" fmla="*/ 2136406 w 12191999"/>
              <a:gd name="connsiteY9" fmla="*/ 6352847 h 6858001"/>
              <a:gd name="connsiteX10" fmla="*/ 2154182 w 12191999"/>
              <a:gd name="connsiteY10" fmla="*/ 6348735 h 6858001"/>
              <a:gd name="connsiteX11" fmla="*/ 1430281 w 12191999"/>
              <a:gd name="connsiteY11" fmla="*/ 6348735 h 6858001"/>
              <a:gd name="connsiteX12" fmla="*/ 1430281 w 12191999"/>
              <a:gd name="connsiteY12" fmla="*/ 6352726 h 6858001"/>
              <a:gd name="connsiteX13" fmla="*/ 1428528 w 12191999"/>
              <a:gd name="connsiteY13" fmla="*/ 6363609 h 6858001"/>
              <a:gd name="connsiteX14" fmla="*/ 1421333 w 12191999"/>
              <a:gd name="connsiteY14" fmla="*/ 6371136 h 6858001"/>
              <a:gd name="connsiteX15" fmla="*/ 1410148 w 12191999"/>
              <a:gd name="connsiteY15" fmla="*/ 6373887 h 6858001"/>
              <a:gd name="connsiteX16" fmla="*/ 1400504 w 12191999"/>
              <a:gd name="connsiteY16" fmla="*/ 6370985 h 6858001"/>
              <a:gd name="connsiteX17" fmla="*/ 1397209 w 12191999"/>
              <a:gd name="connsiteY17" fmla="*/ 6363730 h 6858001"/>
              <a:gd name="connsiteX18" fmla="*/ 1398721 w 12191999"/>
              <a:gd name="connsiteY18" fmla="*/ 6358560 h 6858001"/>
              <a:gd name="connsiteX19" fmla="*/ 1403013 w 12191999"/>
              <a:gd name="connsiteY19" fmla="*/ 6355023 h 6858001"/>
              <a:gd name="connsiteX20" fmla="*/ 1412506 w 12191999"/>
              <a:gd name="connsiteY20" fmla="*/ 6352847 h 6858001"/>
              <a:gd name="connsiteX21" fmla="*/ 1430281 w 12191999"/>
              <a:gd name="connsiteY21" fmla="*/ 6348735 h 6858001"/>
              <a:gd name="connsiteX22" fmla="*/ 1167698 w 12191999"/>
              <a:gd name="connsiteY22" fmla="*/ 6324309 h 6858001"/>
              <a:gd name="connsiteX23" fmla="*/ 1181150 w 12191999"/>
              <a:gd name="connsiteY23" fmla="*/ 6330446 h 6858001"/>
              <a:gd name="connsiteX24" fmla="*/ 1186561 w 12191999"/>
              <a:gd name="connsiteY24" fmla="*/ 6348493 h 6858001"/>
              <a:gd name="connsiteX25" fmla="*/ 1181180 w 12191999"/>
              <a:gd name="connsiteY25" fmla="*/ 6367297 h 6858001"/>
              <a:gd name="connsiteX26" fmla="*/ 1167698 w 12191999"/>
              <a:gd name="connsiteY26" fmla="*/ 6373464 h 6858001"/>
              <a:gd name="connsiteX27" fmla="*/ 1154154 w 12191999"/>
              <a:gd name="connsiteY27" fmla="*/ 6367327 h 6858001"/>
              <a:gd name="connsiteX28" fmla="*/ 1148773 w 12191999"/>
              <a:gd name="connsiteY28" fmla="*/ 6348856 h 6858001"/>
              <a:gd name="connsiteX29" fmla="*/ 1154154 w 12191999"/>
              <a:gd name="connsiteY29" fmla="*/ 6330415 h 6858001"/>
              <a:gd name="connsiteX30" fmla="*/ 1167698 w 12191999"/>
              <a:gd name="connsiteY30" fmla="*/ 6324309 h 6858001"/>
              <a:gd name="connsiteX31" fmla="*/ 1939646 w 12191999"/>
              <a:gd name="connsiteY31" fmla="*/ 6324248 h 6858001"/>
              <a:gd name="connsiteX32" fmla="*/ 1953129 w 12191999"/>
              <a:gd name="connsiteY32" fmla="*/ 6330536 h 6858001"/>
              <a:gd name="connsiteX33" fmla="*/ 1957240 w 12191999"/>
              <a:gd name="connsiteY33" fmla="*/ 6342689 h 6858001"/>
              <a:gd name="connsiteX34" fmla="*/ 1921387 w 12191999"/>
              <a:gd name="connsiteY34" fmla="*/ 6342689 h 6858001"/>
              <a:gd name="connsiteX35" fmla="*/ 1927040 w 12191999"/>
              <a:gd name="connsiteY35" fmla="*/ 6329267 h 6858001"/>
              <a:gd name="connsiteX36" fmla="*/ 1939646 w 12191999"/>
              <a:gd name="connsiteY36" fmla="*/ 6324248 h 6858001"/>
              <a:gd name="connsiteX37" fmla="*/ 929996 w 12191999"/>
              <a:gd name="connsiteY37" fmla="*/ 6324248 h 6858001"/>
              <a:gd name="connsiteX38" fmla="*/ 943479 w 12191999"/>
              <a:gd name="connsiteY38" fmla="*/ 6330536 h 6858001"/>
              <a:gd name="connsiteX39" fmla="*/ 947590 w 12191999"/>
              <a:gd name="connsiteY39" fmla="*/ 6342689 h 6858001"/>
              <a:gd name="connsiteX40" fmla="*/ 911736 w 12191999"/>
              <a:gd name="connsiteY40" fmla="*/ 6342689 h 6858001"/>
              <a:gd name="connsiteX41" fmla="*/ 917389 w 12191999"/>
              <a:gd name="connsiteY41" fmla="*/ 6329267 h 6858001"/>
              <a:gd name="connsiteX42" fmla="*/ 929996 w 12191999"/>
              <a:gd name="connsiteY42" fmla="*/ 6324248 h 6858001"/>
              <a:gd name="connsiteX43" fmla="*/ 635688 w 12191999"/>
              <a:gd name="connsiteY43" fmla="*/ 6324248 h 6858001"/>
              <a:gd name="connsiteX44" fmla="*/ 647750 w 12191999"/>
              <a:gd name="connsiteY44" fmla="*/ 6330234 h 6858001"/>
              <a:gd name="connsiteX45" fmla="*/ 652738 w 12191999"/>
              <a:gd name="connsiteY45" fmla="*/ 6348796 h 6858001"/>
              <a:gd name="connsiteX46" fmla="*/ 647538 w 12191999"/>
              <a:gd name="connsiteY46" fmla="*/ 6367267 h 6858001"/>
              <a:gd name="connsiteX47" fmla="*/ 635204 w 12191999"/>
              <a:gd name="connsiteY47" fmla="*/ 6373464 h 6858001"/>
              <a:gd name="connsiteX48" fmla="*/ 621298 w 12191999"/>
              <a:gd name="connsiteY48" fmla="*/ 6365060 h 6858001"/>
              <a:gd name="connsiteX49" fmla="*/ 618154 w 12191999"/>
              <a:gd name="connsiteY49" fmla="*/ 6348373 h 6858001"/>
              <a:gd name="connsiteX50" fmla="*/ 623354 w 12191999"/>
              <a:gd name="connsiteY50" fmla="*/ 6330446 h 6858001"/>
              <a:gd name="connsiteX51" fmla="*/ 635688 w 12191999"/>
              <a:gd name="connsiteY51" fmla="*/ 6324248 h 6858001"/>
              <a:gd name="connsiteX52" fmla="*/ 808324 w 12191999"/>
              <a:gd name="connsiteY52" fmla="*/ 6316751 h 6858001"/>
              <a:gd name="connsiteX53" fmla="*/ 808324 w 12191999"/>
              <a:gd name="connsiteY53" fmla="*/ 6380961 h 6858001"/>
              <a:gd name="connsiteX54" fmla="*/ 819207 w 12191999"/>
              <a:gd name="connsiteY54" fmla="*/ 6380961 h 6858001"/>
              <a:gd name="connsiteX55" fmla="*/ 819207 w 12191999"/>
              <a:gd name="connsiteY55" fmla="*/ 6316751 h 6858001"/>
              <a:gd name="connsiteX56" fmla="*/ 674672 w 12191999"/>
              <a:gd name="connsiteY56" fmla="*/ 6316751 h 6858001"/>
              <a:gd name="connsiteX57" fmla="*/ 674672 w 12191999"/>
              <a:gd name="connsiteY57" fmla="*/ 6356535 h 6858001"/>
              <a:gd name="connsiteX58" fmla="*/ 675337 w 12191999"/>
              <a:gd name="connsiteY58" fmla="*/ 6366692 h 6858001"/>
              <a:gd name="connsiteX59" fmla="*/ 678692 w 12191999"/>
              <a:gd name="connsiteY59" fmla="*/ 6374764 h 6858001"/>
              <a:gd name="connsiteX60" fmla="*/ 686008 w 12191999"/>
              <a:gd name="connsiteY60" fmla="*/ 6380236 h 6858001"/>
              <a:gd name="connsiteX61" fmla="*/ 696619 w 12191999"/>
              <a:gd name="connsiteY61" fmla="*/ 6382412 h 6858001"/>
              <a:gd name="connsiteX62" fmla="*/ 716995 w 12191999"/>
              <a:gd name="connsiteY62" fmla="*/ 6371529 h 6858001"/>
              <a:gd name="connsiteX63" fmla="*/ 716995 w 12191999"/>
              <a:gd name="connsiteY63" fmla="*/ 6380961 h 6858001"/>
              <a:gd name="connsiteX64" fmla="*/ 726729 w 12191999"/>
              <a:gd name="connsiteY64" fmla="*/ 6380961 h 6858001"/>
              <a:gd name="connsiteX65" fmla="*/ 726729 w 12191999"/>
              <a:gd name="connsiteY65" fmla="*/ 6316751 h 6858001"/>
              <a:gd name="connsiteX66" fmla="*/ 715846 w 12191999"/>
              <a:gd name="connsiteY66" fmla="*/ 6316751 h 6858001"/>
              <a:gd name="connsiteX67" fmla="*/ 715846 w 12191999"/>
              <a:gd name="connsiteY67" fmla="*/ 6351154 h 6858001"/>
              <a:gd name="connsiteX68" fmla="*/ 714062 w 12191999"/>
              <a:gd name="connsiteY68" fmla="*/ 6363700 h 6858001"/>
              <a:gd name="connsiteX69" fmla="*/ 707986 w 12191999"/>
              <a:gd name="connsiteY69" fmla="*/ 6370532 h 6858001"/>
              <a:gd name="connsiteX70" fmla="*/ 698796 w 12191999"/>
              <a:gd name="connsiteY70" fmla="*/ 6373041 h 6858001"/>
              <a:gd name="connsiteX71" fmla="*/ 690573 w 12191999"/>
              <a:gd name="connsiteY71" fmla="*/ 6370592 h 6858001"/>
              <a:gd name="connsiteX72" fmla="*/ 686220 w 12191999"/>
              <a:gd name="connsiteY72" fmla="*/ 6363851 h 6858001"/>
              <a:gd name="connsiteX73" fmla="*/ 685555 w 12191999"/>
              <a:gd name="connsiteY73" fmla="*/ 6352363 h 6858001"/>
              <a:gd name="connsiteX74" fmla="*/ 685555 w 12191999"/>
              <a:gd name="connsiteY74" fmla="*/ 6316751 h 6858001"/>
              <a:gd name="connsiteX75" fmla="*/ 2210094 w 12191999"/>
              <a:gd name="connsiteY75" fmla="*/ 6315300 h 6858001"/>
              <a:gd name="connsiteX76" fmla="*/ 2189659 w 12191999"/>
              <a:gd name="connsiteY76" fmla="*/ 6325881 h 6858001"/>
              <a:gd name="connsiteX77" fmla="*/ 2189659 w 12191999"/>
              <a:gd name="connsiteY77" fmla="*/ 6316751 h 6858001"/>
              <a:gd name="connsiteX78" fmla="*/ 2179864 w 12191999"/>
              <a:gd name="connsiteY78" fmla="*/ 6316751 h 6858001"/>
              <a:gd name="connsiteX79" fmla="*/ 2179864 w 12191999"/>
              <a:gd name="connsiteY79" fmla="*/ 6380961 h 6858001"/>
              <a:gd name="connsiteX80" fmla="*/ 2190747 w 12191999"/>
              <a:gd name="connsiteY80" fmla="*/ 6380961 h 6858001"/>
              <a:gd name="connsiteX81" fmla="*/ 2190747 w 12191999"/>
              <a:gd name="connsiteY81" fmla="*/ 6345894 h 6858001"/>
              <a:gd name="connsiteX82" fmla="*/ 2195795 w 12191999"/>
              <a:gd name="connsiteY82" fmla="*/ 6329146 h 6858001"/>
              <a:gd name="connsiteX83" fmla="*/ 2207797 w 12191999"/>
              <a:gd name="connsiteY83" fmla="*/ 6324732 h 6858001"/>
              <a:gd name="connsiteX84" fmla="*/ 2215385 w 12191999"/>
              <a:gd name="connsiteY84" fmla="*/ 6326697 h 6858001"/>
              <a:gd name="connsiteX85" fmla="*/ 2219889 w 12191999"/>
              <a:gd name="connsiteY85" fmla="*/ 6331957 h 6858001"/>
              <a:gd name="connsiteX86" fmla="*/ 2221159 w 12191999"/>
              <a:gd name="connsiteY86" fmla="*/ 6341903 h 6858001"/>
              <a:gd name="connsiteX87" fmla="*/ 2221159 w 12191999"/>
              <a:gd name="connsiteY87" fmla="*/ 6380961 h 6858001"/>
              <a:gd name="connsiteX88" fmla="*/ 2232042 w 12191999"/>
              <a:gd name="connsiteY88" fmla="*/ 6380961 h 6858001"/>
              <a:gd name="connsiteX89" fmla="*/ 2232042 w 12191999"/>
              <a:gd name="connsiteY89" fmla="*/ 6341480 h 6858001"/>
              <a:gd name="connsiteX90" fmla="*/ 2231437 w 12191999"/>
              <a:gd name="connsiteY90" fmla="*/ 6330899 h 6858001"/>
              <a:gd name="connsiteX91" fmla="*/ 2228052 w 12191999"/>
              <a:gd name="connsiteY91" fmla="*/ 6322858 h 6858001"/>
              <a:gd name="connsiteX92" fmla="*/ 2220766 w 12191999"/>
              <a:gd name="connsiteY92" fmla="*/ 6317386 h 6858001"/>
              <a:gd name="connsiteX93" fmla="*/ 2210094 w 12191999"/>
              <a:gd name="connsiteY93" fmla="*/ 6315300 h 6858001"/>
              <a:gd name="connsiteX94" fmla="*/ 2140336 w 12191999"/>
              <a:gd name="connsiteY94" fmla="*/ 6315300 h 6858001"/>
              <a:gd name="connsiteX95" fmla="*/ 2125765 w 12191999"/>
              <a:gd name="connsiteY95" fmla="*/ 6317567 h 6858001"/>
              <a:gd name="connsiteX96" fmla="*/ 2116151 w 12191999"/>
              <a:gd name="connsiteY96" fmla="*/ 6324037 h 6858001"/>
              <a:gd name="connsiteX97" fmla="*/ 2111375 w 12191999"/>
              <a:gd name="connsiteY97" fmla="*/ 6335071 h 6858001"/>
              <a:gd name="connsiteX98" fmla="*/ 2122016 w 12191999"/>
              <a:gd name="connsiteY98" fmla="*/ 6336522 h 6858001"/>
              <a:gd name="connsiteX99" fmla="*/ 2127427 w 12191999"/>
              <a:gd name="connsiteY99" fmla="*/ 6326999 h 6858001"/>
              <a:gd name="connsiteX100" fmla="*/ 2138764 w 12191999"/>
              <a:gd name="connsiteY100" fmla="*/ 6324309 h 6858001"/>
              <a:gd name="connsiteX101" fmla="*/ 2151159 w 12191999"/>
              <a:gd name="connsiteY101" fmla="*/ 6327997 h 6858001"/>
              <a:gd name="connsiteX102" fmla="*/ 2154242 w 12191999"/>
              <a:gd name="connsiteY102" fmla="*/ 6337369 h 6858001"/>
              <a:gd name="connsiteX103" fmla="*/ 2154182 w 12191999"/>
              <a:gd name="connsiteY103" fmla="*/ 6340210 h 6858001"/>
              <a:gd name="connsiteX104" fmla="*/ 2134773 w 12191999"/>
              <a:gd name="connsiteY104" fmla="*/ 6343959 h 6858001"/>
              <a:gd name="connsiteX105" fmla="*/ 2125100 w 12191999"/>
              <a:gd name="connsiteY105" fmla="*/ 6345591 h 6858001"/>
              <a:gd name="connsiteX106" fmla="*/ 2117270 w 12191999"/>
              <a:gd name="connsiteY106" fmla="*/ 6349159 h 6858001"/>
              <a:gd name="connsiteX107" fmla="*/ 2111647 w 12191999"/>
              <a:gd name="connsiteY107" fmla="*/ 6355416 h 6858001"/>
              <a:gd name="connsiteX108" fmla="*/ 2109500 w 12191999"/>
              <a:gd name="connsiteY108" fmla="*/ 6364032 h 6858001"/>
              <a:gd name="connsiteX109" fmla="*/ 2115184 w 12191999"/>
              <a:gd name="connsiteY109" fmla="*/ 6377243 h 6858001"/>
              <a:gd name="connsiteX110" fmla="*/ 2131448 w 12191999"/>
              <a:gd name="connsiteY110" fmla="*/ 6382412 h 6858001"/>
              <a:gd name="connsiteX111" fmla="*/ 2143450 w 12191999"/>
              <a:gd name="connsiteY111" fmla="*/ 6380296 h 6858001"/>
              <a:gd name="connsiteX112" fmla="*/ 2155089 w 12191999"/>
              <a:gd name="connsiteY112" fmla="*/ 6373041 h 6858001"/>
              <a:gd name="connsiteX113" fmla="*/ 2157265 w 12191999"/>
              <a:gd name="connsiteY113" fmla="*/ 6380961 h 6858001"/>
              <a:gd name="connsiteX114" fmla="*/ 2168632 w 12191999"/>
              <a:gd name="connsiteY114" fmla="*/ 6380961 h 6858001"/>
              <a:gd name="connsiteX115" fmla="*/ 2165881 w 12191999"/>
              <a:gd name="connsiteY115" fmla="*/ 6373252 h 6858001"/>
              <a:gd name="connsiteX116" fmla="*/ 2165185 w 12191999"/>
              <a:gd name="connsiteY116" fmla="*/ 6354056 h 6858001"/>
              <a:gd name="connsiteX117" fmla="*/ 2165185 w 12191999"/>
              <a:gd name="connsiteY117" fmla="*/ 6339545 h 6858001"/>
              <a:gd name="connsiteX118" fmla="*/ 2164641 w 12191999"/>
              <a:gd name="connsiteY118" fmla="*/ 6329509 h 6858001"/>
              <a:gd name="connsiteX119" fmla="*/ 2161255 w 12191999"/>
              <a:gd name="connsiteY119" fmla="*/ 6322102 h 6858001"/>
              <a:gd name="connsiteX120" fmla="*/ 2153698 w 12191999"/>
              <a:gd name="connsiteY120" fmla="*/ 6317235 h 6858001"/>
              <a:gd name="connsiteX121" fmla="*/ 2140336 w 12191999"/>
              <a:gd name="connsiteY121" fmla="*/ 6315300 h 6858001"/>
              <a:gd name="connsiteX122" fmla="*/ 2076744 w 12191999"/>
              <a:gd name="connsiteY122" fmla="*/ 6315300 h 6858001"/>
              <a:gd name="connsiteX123" fmla="*/ 2056309 w 12191999"/>
              <a:gd name="connsiteY123" fmla="*/ 6325881 h 6858001"/>
              <a:gd name="connsiteX124" fmla="*/ 2056309 w 12191999"/>
              <a:gd name="connsiteY124" fmla="*/ 6316751 h 6858001"/>
              <a:gd name="connsiteX125" fmla="*/ 2046514 w 12191999"/>
              <a:gd name="connsiteY125" fmla="*/ 6316751 h 6858001"/>
              <a:gd name="connsiteX126" fmla="*/ 2046514 w 12191999"/>
              <a:gd name="connsiteY126" fmla="*/ 6380961 h 6858001"/>
              <a:gd name="connsiteX127" fmla="*/ 2057397 w 12191999"/>
              <a:gd name="connsiteY127" fmla="*/ 6380961 h 6858001"/>
              <a:gd name="connsiteX128" fmla="*/ 2057397 w 12191999"/>
              <a:gd name="connsiteY128" fmla="*/ 6345894 h 6858001"/>
              <a:gd name="connsiteX129" fmla="*/ 2062445 w 12191999"/>
              <a:gd name="connsiteY129" fmla="*/ 6329146 h 6858001"/>
              <a:gd name="connsiteX130" fmla="*/ 2074447 w 12191999"/>
              <a:gd name="connsiteY130" fmla="*/ 6324732 h 6858001"/>
              <a:gd name="connsiteX131" fmla="*/ 2082035 w 12191999"/>
              <a:gd name="connsiteY131" fmla="*/ 6326697 h 6858001"/>
              <a:gd name="connsiteX132" fmla="*/ 2086539 w 12191999"/>
              <a:gd name="connsiteY132" fmla="*/ 6331957 h 6858001"/>
              <a:gd name="connsiteX133" fmla="*/ 2087809 w 12191999"/>
              <a:gd name="connsiteY133" fmla="*/ 6341903 h 6858001"/>
              <a:gd name="connsiteX134" fmla="*/ 2087809 w 12191999"/>
              <a:gd name="connsiteY134" fmla="*/ 6380961 h 6858001"/>
              <a:gd name="connsiteX135" fmla="*/ 2098692 w 12191999"/>
              <a:gd name="connsiteY135" fmla="*/ 6380961 h 6858001"/>
              <a:gd name="connsiteX136" fmla="*/ 2098692 w 12191999"/>
              <a:gd name="connsiteY136" fmla="*/ 6341480 h 6858001"/>
              <a:gd name="connsiteX137" fmla="*/ 2098087 w 12191999"/>
              <a:gd name="connsiteY137" fmla="*/ 6330899 h 6858001"/>
              <a:gd name="connsiteX138" fmla="*/ 2094702 w 12191999"/>
              <a:gd name="connsiteY138" fmla="*/ 6322858 h 6858001"/>
              <a:gd name="connsiteX139" fmla="*/ 2087416 w 12191999"/>
              <a:gd name="connsiteY139" fmla="*/ 6317386 h 6858001"/>
              <a:gd name="connsiteX140" fmla="*/ 2076744 w 12191999"/>
              <a:gd name="connsiteY140" fmla="*/ 6315300 h 6858001"/>
              <a:gd name="connsiteX141" fmla="*/ 2010069 w 12191999"/>
              <a:gd name="connsiteY141" fmla="*/ 6315300 h 6858001"/>
              <a:gd name="connsiteX142" fmla="*/ 1989633 w 12191999"/>
              <a:gd name="connsiteY142" fmla="*/ 6325881 h 6858001"/>
              <a:gd name="connsiteX143" fmla="*/ 1989633 w 12191999"/>
              <a:gd name="connsiteY143" fmla="*/ 6316751 h 6858001"/>
              <a:gd name="connsiteX144" fmla="*/ 1979839 w 12191999"/>
              <a:gd name="connsiteY144" fmla="*/ 6316751 h 6858001"/>
              <a:gd name="connsiteX145" fmla="*/ 1979839 w 12191999"/>
              <a:gd name="connsiteY145" fmla="*/ 6380961 h 6858001"/>
              <a:gd name="connsiteX146" fmla="*/ 1990722 w 12191999"/>
              <a:gd name="connsiteY146" fmla="*/ 6380961 h 6858001"/>
              <a:gd name="connsiteX147" fmla="*/ 1990722 w 12191999"/>
              <a:gd name="connsiteY147" fmla="*/ 6345894 h 6858001"/>
              <a:gd name="connsiteX148" fmla="*/ 1995770 w 12191999"/>
              <a:gd name="connsiteY148" fmla="*/ 6329146 h 6858001"/>
              <a:gd name="connsiteX149" fmla="*/ 2007772 w 12191999"/>
              <a:gd name="connsiteY149" fmla="*/ 6324732 h 6858001"/>
              <a:gd name="connsiteX150" fmla="*/ 2015360 w 12191999"/>
              <a:gd name="connsiteY150" fmla="*/ 6326697 h 6858001"/>
              <a:gd name="connsiteX151" fmla="*/ 2019864 w 12191999"/>
              <a:gd name="connsiteY151" fmla="*/ 6331957 h 6858001"/>
              <a:gd name="connsiteX152" fmla="*/ 2021134 w 12191999"/>
              <a:gd name="connsiteY152" fmla="*/ 6341903 h 6858001"/>
              <a:gd name="connsiteX153" fmla="*/ 2021134 w 12191999"/>
              <a:gd name="connsiteY153" fmla="*/ 6380961 h 6858001"/>
              <a:gd name="connsiteX154" fmla="*/ 2032017 w 12191999"/>
              <a:gd name="connsiteY154" fmla="*/ 6380961 h 6858001"/>
              <a:gd name="connsiteX155" fmla="*/ 2032017 w 12191999"/>
              <a:gd name="connsiteY155" fmla="*/ 6341480 h 6858001"/>
              <a:gd name="connsiteX156" fmla="*/ 2031412 w 12191999"/>
              <a:gd name="connsiteY156" fmla="*/ 6330899 h 6858001"/>
              <a:gd name="connsiteX157" fmla="*/ 2028026 w 12191999"/>
              <a:gd name="connsiteY157" fmla="*/ 6322858 h 6858001"/>
              <a:gd name="connsiteX158" fmla="*/ 2020741 w 12191999"/>
              <a:gd name="connsiteY158" fmla="*/ 6317386 h 6858001"/>
              <a:gd name="connsiteX159" fmla="*/ 2010069 w 12191999"/>
              <a:gd name="connsiteY159" fmla="*/ 6315300 h 6858001"/>
              <a:gd name="connsiteX160" fmla="*/ 1939525 w 12191999"/>
              <a:gd name="connsiteY160" fmla="*/ 6315300 h 6858001"/>
              <a:gd name="connsiteX161" fmla="*/ 1917880 w 12191999"/>
              <a:gd name="connsiteY161" fmla="*/ 6324248 h 6858001"/>
              <a:gd name="connsiteX162" fmla="*/ 1909536 w 12191999"/>
              <a:gd name="connsiteY162" fmla="*/ 6349400 h 6858001"/>
              <a:gd name="connsiteX163" fmla="*/ 1917789 w 12191999"/>
              <a:gd name="connsiteY163" fmla="*/ 6373736 h 6858001"/>
              <a:gd name="connsiteX164" fmla="*/ 1940129 w 12191999"/>
              <a:gd name="connsiteY164" fmla="*/ 6382412 h 6858001"/>
              <a:gd name="connsiteX165" fmla="*/ 1958510 w 12191999"/>
              <a:gd name="connsiteY165" fmla="*/ 6376971 h 6858001"/>
              <a:gd name="connsiteX166" fmla="*/ 1968365 w 12191999"/>
              <a:gd name="connsiteY166" fmla="*/ 6361674 h 6858001"/>
              <a:gd name="connsiteX167" fmla="*/ 1957119 w 12191999"/>
              <a:gd name="connsiteY167" fmla="*/ 6360283 h 6858001"/>
              <a:gd name="connsiteX168" fmla="*/ 1950408 w 12191999"/>
              <a:gd name="connsiteY168" fmla="*/ 6370320 h 6858001"/>
              <a:gd name="connsiteX169" fmla="*/ 1940190 w 12191999"/>
              <a:gd name="connsiteY169" fmla="*/ 6373464 h 6858001"/>
              <a:gd name="connsiteX170" fmla="*/ 1926767 w 12191999"/>
              <a:gd name="connsiteY170" fmla="*/ 6367841 h 6858001"/>
              <a:gd name="connsiteX171" fmla="*/ 1920782 w 12191999"/>
              <a:gd name="connsiteY171" fmla="*/ 6351637 h 6858001"/>
              <a:gd name="connsiteX172" fmla="*/ 1968667 w 12191999"/>
              <a:gd name="connsiteY172" fmla="*/ 6351637 h 6858001"/>
              <a:gd name="connsiteX173" fmla="*/ 1968728 w 12191999"/>
              <a:gd name="connsiteY173" fmla="*/ 6348735 h 6858001"/>
              <a:gd name="connsiteX174" fmla="*/ 1960565 w 12191999"/>
              <a:gd name="connsiteY174" fmla="*/ 6324067 h 6858001"/>
              <a:gd name="connsiteX175" fmla="*/ 1939525 w 12191999"/>
              <a:gd name="connsiteY175" fmla="*/ 6315300 h 6858001"/>
              <a:gd name="connsiteX176" fmla="*/ 1805752 w 12191999"/>
              <a:gd name="connsiteY176" fmla="*/ 6315300 h 6858001"/>
              <a:gd name="connsiteX177" fmla="*/ 1790425 w 12191999"/>
              <a:gd name="connsiteY177" fmla="*/ 6319200 h 6858001"/>
              <a:gd name="connsiteX178" fmla="*/ 1779935 w 12191999"/>
              <a:gd name="connsiteY178" fmla="*/ 6330899 h 6858001"/>
              <a:gd name="connsiteX179" fmla="*/ 1776488 w 12191999"/>
              <a:gd name="connsiteY179" fmla="*/ 6349098 h 6858001"/>
              <a:gd name="connsiteX180" fmla="*/ 1784499 w 12191999"/>
              <a:gd name="connsiteY180" fmla="*/ 6373797 h 6858001"/>
              <a:gd name="connsiteX181" fmla="*/ 1805691 w 12191999"/>
              <a:gd name="connsiteY181" fmla="*/ 6382412 h 6858001"/>
              <a:gd name="connsiteX182" fmla="*/ 1823437 w 12191999"/>
              <a:gd name="connsiteY182" fmla="*/ 6376155 h 6858001"/>
              <a:gd name="connsiteX183" fmla="*/ 1832415 w 12191999"/>
              <a:gd name="connsiteY183" fmla="*/ 6358832 h 6858001"/>
              <a:gd name="connsiteX184" fmla="*/ 1821714 w 12191999"/>
              <a:gd name="connsiteY184" fmla="*/ 6357442 h 6858001"/>
              <a:gd name="connsiteX185" fmla="*/ 1816272 w 12191999"/>
              <a:gd name="connsiteY185" fmla="*/ 6369534 h 6858001"/>
              <a:gd name="connsiteX186" fmla="*/ 1805570 w 12191999"/>
              <a:gd name="connsiteY186" fmla="*/ 6373464 h 6858001"/>
              <a:gd name="connsiteX187" fmla="*/ 1792632 w 12191999"/>
              <a:gd name="connsiteY187" fmla="*/ 6367599 h 6858001"/>
              <a:gd name="connsiteX188" fmla="*/ 1787674 w 12191999"/>
              <a:gd name="connsiteY188" fmla="*/ 6348796 h 6858001"/>
              <a:gd name="connsiteX189" fmla="*/ 1792813 w 12191999"/>
              <a:gd name="connsiteY189" fmla="*/ 6330143 h 6858001"/>
              <a:gd name="connsiteX190" fmla="*/ 1806175 w 12191999"/>
              <a:gd name="connsiteY190" fmla="*/ 6324248 h 6858001"/>
              <a:gd name="connsiteX191" fmla="*/ 1815456 w 12191999"/>
              <a:gd name="connsiteY191" fmla="*/ 6327513 h 6858001"/>
              <a:gd name="connsiteX192" fmla="*/ 1820806 w 12191999"/>
              <a:gd name="connsiteY192" fmla="*/ 6337248 h 6858001"/>
              <a:gd name="connsiteX193" fmla="*/ 1831387 w 12191999"/>
              <a:gd name="connsiteY193" fmla="*/ 6335615 h 6858001"/>
              <a:gd name="connsiteX194" fmla="*/ 1822862 w 12191999"/>
              <a:gd name="connsiteY194" fmla="*/ 6320591 h 6858001"/>
              <a:gd name="connsiteX195" fmla="*/ 1805752 w 12191999"/>
              <a:gd name="connsiteY195" fmla="*/ 6315300 h 6858001"/>
              <a:gd name="connsiteX196" fmla="*/ 1515165 w 12191999"/>
              <a:gd name="connsiteY196" fmla="*/ 6315300 h 6858001"/>
              <a:gd name="connsiteX197" fmla="*/ 1505763 w 12191999"/>
              <a:gd name="connsiteY197" fmla="*/ 6316600 h 6858001"/>
              <a:gd name="connsiteX198" fmla="*/ 1498840 w 12191999"/>
              <a:gd name="connsiteY198" fmla="*/ 6319774 h 6858001"/>
              <a:gd name="connsiteX199" fmla="*/ 1493489 w 12191999"/>
              <a:gd name="connsiteY199" fmla="*/ 6325851 h 6858001"/>
              <a:gd name="connsiteX200" fmla="*/ 1491524 w 12191999"/>
              <a:gd name="connsiteY200" fmla="*/ 6333801 h 6858001"/>
              <a:gd name="connsiteX201" fmla="*/ 1493913 w 12191999"/>
              <a:gd name="connsiteY201" fmla="*/ 6342417 h 6858001"/>
              <a:gd name="connsiteX202" fmla="*/ 1500926 w 12191999"/>
              <a:gd name="connsiteY202" fmla="*/ 6348524 h 6858001"/>
              <a:gd name="connsiteX203" fmla="*/ 1517523 w 12191999"/>
              <a:gd name="connsiteY203" fmla="*/ 6353754 h 6858001"/>
              <a:gd name="connsiteX204" fmla="*/ 1528648 w 12191999"/>
              <a:gd name="connsiteY204" fmla="*/ 6357442 h 6858001"/>
              <a:gd name="connsiteX205" fmla="*/ 1531852 w 12191999"/>
              <a:gd name="connsiteY205" fmla="*/ 6363246 h 6858001"/>
              <a:gd name="connsiteX206" fmla="*/ 1528224 w 12191999"/>
              <a:gd name="connsiteY206" fmla="*/ 6370411 h 6858001"/>
              <a:gd name="connsiteX207" fmla="*/ 1517100 w 12191999"/>
              <a:gd name="connsiteY207" fmla="*/ 6373464 h 6858001"/>
              <a:gd name="connsiteX208" fmla="*/ 1505521 w 12191999"/>
              <a:gd name="connsiteY208" fmla="*/ 6370018 h 6858001"/>
              <a:gd name="connsiteX209" fmla="*/ 1500472 w 12191999"/>
              <a:gd name="connsiteY209" fmla="*/ 6360102 h 6858001"/>
              <a:gd name="connsiteX210" fmla="*/ 1489710 w 12191999"/>
              <a:gd name="connsiteY210" fmla="*/ 6361795 h 6858001"/>
              <a:gd name="connsiteX211" fmla="*/ 1498084 w 12191999"/>
              <a:gd name="connsiteY211" fmla="*/ 6377213 h 6858001"/>
              <a:gd name="connsiteX212" fmla="*/ 1517160 w 12191999"/>
              <a:gd name="connsiteY212" fmla="*/ 6382412 h 6858001"/>
              <a:gd name="connsiteX213" fmla="*/ 1530703 w 12191999"/>
              <a:gd name="connsiteY213" fmla="*/ 6379782 h 6858001"/>
              <a:gd name="connsiteX214" fmla="*/ 1539863 w 12191999"/>
              <a:gd name="connsiteY214" fmla="*/ 6372345 h 6858001"/>
              <a:gd name="connsiteX215" fmla="*/ 1543037 w 12191999"/>
              <a:gd name="connsiteY215" fmla="*/ 6362097 h 6858001"/>
              <a:gd name="connsiteX216" fmla="*/ 1540437 w 12191999"/>
              <a:gd name="connsiteY216" fmla="*/ 6352786 h 6858001"/>
              <a:gd name="connsiteX217" fmla="*/ 1533273 w 12191999"/>
              <a:gd name="connsiteY217" fmla="*/ 6347073 h 6858001"/>
              <a:gd name="connsiteX218" fmla="*/ 1517160 w 12191999"/>
              <a:gd name="connsiteY218" fmla="*/ 6342024 h 6858001"/>
              <a:gd name="connsiteX219" fmla="*/ 1507547 w 12191999"/>
              <a:gd name="connsiteY219" fmla="*/ 6339243 h 6858001"/>
              <a:gd name="connsiteX220" fmla="*/ 1503375 w 12191999"/>
              <a:gd name="connsiteY220" fmla="*/ 6336341 h 6858001"/>
              <a:gd name="connsiteX221" fmla="*/ 1502044 w 12191999"/>
              <a:gd name="connsiteY221" fmla="*/ 6332532 h 6858001"/>
              <a:gd name="connsiteX222" fmla="*/ 1505249 w 12191999"/>
              <a:gd name="connsiteY222" fmla="*/ 6326727 h 6858001"/>
              <a:gd name="connsiteX223" fmla="*/ 1515951 w 12191999"/>
              <a:gd name="connsiteY223" fmla="*/ 6324248 h 6858001"/>
              <a:gd name="connsiteX224" fmla="*/ 1525776 w 12191999"/>
              <a:gd name="connsiteY224" fmla="*/ 6327030 h 6858001"/>
              <a:gd name="connsiteX225" fmla="*/ 1529978 w 12191999"/>
              <a:gd name="connsiteY225" fmla="*/ 6334769 h 6858001"/>
              <a:gd name="connsiteX226" fmla="*/ 1540619 w 12191999"/>
              <a:gd name="connsiteY226" fmla="*/ 6333318 h 6858001"/>
              <a:gd name="connsiteX227" fmla="*/ 1536870 w 12191999"/>
              <a:gd name="connsiteY227" fmla="*/ 6323372 h 6858001"/>
              <a:gd name="connsiteX228" fmla="*/ 1528436 w 12191999"/>
              <a:gd name="connsiteY228" fmla="*/ 6317477 h 6858001"/>
              <a:gd name="connsiteX229" fmla="*/ 1515165 w 12191999"/>
              <a:gd name="connsiteY229" fmla="*/ 6315300 h 6858001"/>
              <a:gd name="connsiteX230" fmla="*/ 1479544 w 12191999"/>
              <a:gd name="connsiteY230" fmla="*/ 6315300 h 6858001"/>
              <a:gd name="connsiteX231" fmla="*/ 1472560 w 12191999"/>
              <a:gd name="connsiteY231" fmla="*/ 6317477 h 6858001"/>
              <a:gd name="connsiteX232" fmla="*/ 1465638 w 12191999"/>
              <a:gd name="connsiteY232" fmla="*/ 6326486 h 6858001"/>
              <a:gd name="connsiteX233" fmla="*/ 1465638 w 12191999"/>
              <a:gd name="connsiteY233" fmla="*/ 6316751 h 6858001"/>
              <a:gd name="connsiteX234" fmla="*/ 1455843 w 12191999"/>
              <a:gd name="connsiteY234" fmla="*/ 6316751 h 6858001"/>
              <a:gd name="connsiteX235" fmla="*/ 1455843 w 12191999"/>
              <a:gd name="connsiteY235" fmla="*/ 6380961 h 6858001"/>
              <a:gd name="connsiteX236" fmla="*/ 1466726 w 12191999"/>
              <a:gd name="connsiteY236" fmla="*/ 6380961 h 6858001"/>
              <a:gd name="connsiteX237" fmla="*/ 1466726 w 12191999"/>
              <a:gd name="connsiteY237" fmla="*/ 6347345 h 6858001"/>
              <a:gd name="connsiteX238" fmla="*/ 1468540 w 12191999"/>
              <a:gd name="connsiteY238" fmla="*/ 6334648 h 6858001"/>
              <a:gd name="connsiteX239" fmla="*/ 1472590 w 12191999"/>
              <a:gd name="connsiteY239" fmla="*/ 6328692 h 6858001"/>
              <a:gd name="connsiteX240" fmla="*/ 1479000 w 12191999"/>
              <a:gd name="connsiteY240" fmla="*/ 6326546 h 6858001"/>
              <a:gd name="connsiteX241" fmla="*/ 1486980 w 12191999"/>
              <a:gd name="connsiteY241" fmla="*/ 6328904 h 6858001"/>
              <a:gd name="connsiteX242" fmla="*/ 1490729 w 12191999"/>
              <a:gd name="connsiteY242" fmla="*/ 6318807 h 6858001"/>
              <a:gd name="connsiteX243" fmla="*/ 1479544 w 12191999"/>
              <a:gd name="connsiteY243" fmla="*/ 6315300 h 6858001"/>
              <a:gd name="connsiteX244" fmla="*/ 1416436 w 12191999"/>
              <a:gd name="connsiteY244" fmla="*/ 6315300 h 6858001"/>
              <a:gd name="connsiteX245" fmla="*/ 1401865 w 12191999"/>
              <a:gd name="connsiteY245" fmla="*/ 6317567 h 6858001"/>
              <a:gd name="connsiteX246" fmla="*/ 1392251 w 12191999"/>
              <a:gd name="connsiteY246" fmla="*/ 6324037 h 6858001"/>
              <a:gd name="connsiteX247" fmla="*/ 1387475 w 12191999"/>
              <a:gd name="connsiteY247" fmla="*/ 6335071 h 6858001"/>
              <a:gd name="connsiteX248" fmla="*/ 1398116 w 12191999"/>
              <a:gd name="connsiteY248" fmla="*/ 6336522 h 6858001"/>
              <a:gd name="connsiteX249" fmla="*/ 1403527 w 12191999"/>
              <a:gd name="connsiteY249" fmla="*/ 6326999 h 6858001"/>
              <a:gd name="connsiteX250" fmla="*/ 1414864 w 12191999"/>
              <a:gd name="connsiteY250" fmla="*/ 6324309 h 6858001"/>
              <a:gd name="connsiteX251" fmla="*/ 1427258 w 12191999"/>
              <a:gd name="connsiteY251" fmla="*/ 6327997 h 6858001"/>
              <a:gd name="connsiteX252" fmla="*/ 1430342 w 12191999"/>
              <a:gd name="connsiteY252" fmla="*/ 6337369 h 6858001"/>
              <a:gd name="connsiteX253" fmla="*/ 1430281 w 12191999"/>
              <a:gd name="connsiteY253" fmla="*/ 6340210 h 6858001"/>
              <a:gd name="connsiteX254" fmla="*/ 1410873 w 12191999"/>
              <a:gd name="connsiteY254" fmla="*/ 6343959 h 6858001"/>
              <a:gd name="connsiteX255" fmla="*/ 1401199 w 12191999"/>
              <a:gd name="connsiteY255" fmla="*/ 6345591 h 6858001"/>
              <a:gd name="connsiteX256" fmla="*/ 1393370 w 12191999"/>
              <a:gd name="connsiteY256" fmla="*/ 6349159 h 6858001"/>
              <a:gd name="connsiteX257" fmla="*/ 1387747 w 12191999"/>
              <a:gd name="connsiteY257" fmla="*/ 6355416 h 6858001"/>
              <a:gd name="connsiteX258" fmla="*/ 1385600 w 12191999"/>
              <a:gd name="connsiteY258" fmla="*/ 6364032 h 6858001"/>
              <a:gd name="connsiteX259" fmla="*/ 1391284 w 12191999"/>
              <a:gd name="connsiteY259" fmla="*/ 6377243 h 6858001"/>
              <a:gd name="connsiteX260" fmla="*/ 1407548 w 12191999"/>
              <a:gd name="connsiteY260" fmla="*/ 6382412 h 6858001"/>
              <a:gd name="connsiteX261" fmla="*/ 1419550 w 12191999"/>
              <a:gd name="connsiteY261" fmla="*/ 6380296 h 6858001"/>
              <a:gd name="connsiteX262" fmla="*/ 1431188 w 12191999"/>
              <a:gd name="connsiteY262" fmla="*/ 6373041 h 6858001"/>
              <a:gd name="connsiteX263" fmla="*/ 1433365 w 12191999"/>
              <a:gd name="connsiteY263" fmla="*/ 6380961 h 6858001"/>
              <a:gd name="connsiteX264" fmla="*/ 1444732 w 12191999"/>
              <a:gd name="connsiteY264" fmla="*/ 6380961 h 6858001"/>
              <a:gd name="connsiteX265" fmla="*/ 1441981 w 12191999"/>
              <a:gd name="connsiteY265" fmla="*/ 6373252 h 6858001"/>
              <a:gd name="connsiteX266" fmla="*/ 1441285 w 12191999"/>
              <a:gd name="connsiteY266" fmla="*/ 6354056 h 6858001"/>
              <a:gd name="connsiteX267" fmla="*/ 1441285 w 12191999"/>
              <a:gd name="connsiteY267" fmla="*/ 6339545 h 6858001"/>
              <a:gd name="connsiteX268" fmla="*/ 1440741 w 12191999"/>
              <a:gd name="connsiteY268" fmla="*/ 6329509 h 6858001"/>
              <a:gd name="connsiteX269" fmla="*/ 1437355 w 12191999"/>
              <a:gd name="connsiteY269" fmla="*/ 6322102 h 6858001"/>
              <a:gd name="connsiteX270" fmla="*/ 1429798 w 12191999"/>
              <a:gd name="connsiteY270" fmla="*/ 6317235 h 6858001"/>
              <a:gd name="connsiteX271" fmla="*/ 1416436 w 12191999"/>
              <a:gd name="connsiteY271" fmla="*/ 6315300 h 6858001"/>
              <a:gd name="connsiteX272" fmla="*/ 1167698 w 12191999"/>
              <a:gd name="connsiteY272" fmla="*/ 6315300 h 6858001"/>
              <a:gd name="connsiteX273" fmla="*/ 1147503 w 12191999"/>
              <a:gd name="connsiteY273" fmla="*/ 6322435 h 6858001"/>
              <a:gd name="connsiteX274" fmla="*/ 1137588 w 12191999"/>
              <a:gd name="connsiteY274" fmla="*/ 6348856 h 6858001"/>
              <a:gd name="connsiteX275" fmla="*/ 1145901 w 12191999"/>
              <a:gd name="connsiteY275" fmla="*/ 6373766 h 6858001"/>
              <a:gd name="connsiteX276" fmla="*/ 1167698 w 12191999"/>
              <a:gd name="connsiteY276" fmla="*/ 6382412 h 6858001"/>
              <a:gd name="connsiteX277" fmla="*/ 1183206 w 12191999"/>
              <a:gd name="connsiteY277" fmla="*/ 6378482 h 6858001"/>
              <a:gd name="connsiteX278" fmla="*/ 1194028 w 12191999"/>
              <a:gd name="connsiteY278" fmla="*/ 6367448 h 6858001"/>
              <a:gd name="connsiteX279" fmla="*/ 1197747 w 12191999"/>
              <a:gd name="connsiteY279" fmla="*/ 6347949 h 6858001"/>
              <a:gd name="connsiteX280" fmla="*/ 1189343 w 12191999"/>
              <a:gd name="connsiteY280" fmla="*/ 6323976 h 6858001"/>
              <a:gd name="connsiteX281" fmla="*/ 1167698 w 12191999"/>
              <a:gd name="connsiteY281" fmla="*/ 6315300 h 6858001"/>
              <a:gd name="connsiteX282" fmla="*/ 1057965 w 12191999"/>
              <a:gd name="connsiteY282" fmla="*/ 6315300 h 6858001"/>
              <a:gd name="connsiteX283" fmla="*/ 1048563 w 12191999"/>
              <a:gd name="connsiteY283" fmla="*/ 6316600 h 6858001"/>
              <a:gd name="connsiteX284" fmla="*/ 1041640 w 12191999"/>
              <a:gd name="connsiteY284" fmla="*/ 6319774 h 6858001"/>
              <a:gd name="connsiteX285" fmla="*/ 1036289 w 12191999"/>
              <a:gd name="connsiteY285" fmla="*/ 6325851 h 6858001"/>
              <a:gd name="connsiteX286" fmla="*/ 1034324 w 12191999"/>
              <a:gd name="connsiteY286" fmla="*/ 6333801 h 6858001"/>
              <a:gd name="connsiteX287" fmla="*/ 1036712 w 12191999"/>
              <a:gd name="connsiteY287" fmla="*/ 6342417 h 6858001"/>
              <a:gd name="connsiteX288" fmla="*/ 1043726 w 12191999"/>
              <a:gd name="connsiteY288" fmla="*/ 6348524 h 6858001"/>
              <a:gd name="connsiteX289" fmla="*/ 1060323 w 12191999"/>
              <a:gd name="connsiteY289" fmla="*/ 6353754 h 6858001"/>
              <a:gd name="connsiteX290" fmla="*/ 1071447 w 12191999"/>
              <a:gd name="connsiteY290" fmla="*/ 6357442 h 6858001"/>
              <a:gd name="connsiteX291" fmla="*/ 1074652 w 12191999"/>
              <a:gd name="connsiteY291" fmla="*/ 6363246 h 6858001"/>
              <a:gd name="connsiteX292" fmla="*/ 1071024 w 12191999"/>
              <a:gd name="connsiteY292" fmla="*/ 6370411 h 6858001"/>
              <a:gd name="connsiteX293" fmla="*/ 1059899 w 12191999"/>
              <a:gd name="connsiteY293" fmla="*/ 6373464 h 6858001"/>
              <a:gd name="connsiteX294" fmla="*/ 1048321 w 12191999"/>
              <a:gd name="connsiteY294" fmla="*/ 6370018 h 6858001"/>
              <a:gd name="connsiteX295" fmla="*/ 1043272 w 12191999"/>
              <a:gd name="connsiteY295" fmla="*/ 6360102 h 6858001"/>
              <a:gd name="connsiteX296" fmla="*/ 1032510 w 12191999"/>
              <a:gd name="connsiteY296" fmla="*/ 6361795 h 6858001"/>
              <a:gd name="connsiteX297" fmla="*/ 1040884 w 12191999"/>
              <a:gd name="connsiteY297" fmla="*/ 6377213 h 6858001"/>
              <a:gd name="connsiteX298" fmla="*/ 1059960 w 12191999"/>
              <a:gd name="connsiteY298" fmla="*/ 6382412 h 6858001"/>
              <a:gd name="connsiteX299" fmla="*/ 1073503 w 12191999"/>
              <a:gd name="connsiteY299" fmla="*/ 6379782 h 6858001"/>
              <a:gd name="connsiteX300" fmla="*/ 1082663 w 12191999"/>
              <a:gd name="connsiteY300" fmla="*/ 6372345 h 6858001"/>
              <a:gd name="connsiteX301" fmla="*/ 1085837 w 12191999"/>
              <a:gd name="connsiteY301" fmla="*/ 6362097 h 6858001"/>
              <a:gd name="connsiteX302" fmla="*/ 1083237 w 12191999"/>
              <a:gd name="connsiteY302" fmla="*/ 6352786 h 6858001"/>
              <a:gd name="connsiteX303" fmla="*/ 1076073 w 12191999"/>
              <a:gd name="connsiteY303" fmla="*/ 6347073 h 6858001"/>
              <a:gd name="connsiteX304" fmla="*/ 1059960 w 12191999"/>
              <a:gd name="connsiteY304" fmla="*/ 6342024 h 6858001"/>
              <a:gd name="connsiteX305" fmla="*/ 1050346 w 12191999"/>
              <a:gd name="connsiteY305" fmla="*/ 6339243 h 6858001"/>
              <a:gd name="connsiteX306" fmla="*/ 1046175 w 12191999"/>
              <a:gd name="connsiteY306" fmla="*/ 6336341 h 6858001"/>
              <a:gd name="connsiteX307" fmla="*/ 1044844 w 12191999"/>
              <a:gd name="connsiteY307" fmla="*/ 6332532 h 6858001"/>
              <a:gd name="connsiteX308" fmla="*/ 1048049 w 12191999"/>
              <a:gd name="connsiteY308" fmla="*/ 6326727 h 6858001"/>
              <a:gd name="connsiteX309" fmla="*/ 1058751 w 12191999"/>
              <a:gd name="connsiteY309" fmla="*/ 6324248 h 6858001"/>
              <a:gd name="connsiteX310" fmla="*/ 1068576 w 12191999"/>
              <a:gd name="connsiteY310" fmla="*/ 6327030 h 6858001"/>
              <a:gd name="connsiteX311" fmla="*/ 1072778 w 12191999"/>
              <a:gd name="connsiteY311" fmla="*/ 6334769 h 6858001"/>
              <a:gd name="connsiteX312" fmla="*/ 1083419 w 12191999"/>
              <a:gd name="connsiteY312" fmla="*/ 6333318 h 6858001"/>
              <a:gd name="connsiteX313" fmla="*/ 1079670 w 12191999"/>
              <a:gd name="connsiteY313" fmla="*/ 6323372 h 6858001"/>
              <a:gd name="connsiteX314" fmla="*/ 1071236 w 12191999"/>
              <a:gd name="connsiteY314" fmla="*/ 6317477 h 6858001"/>
              <a:gd name="connsiteX315" fmla="*/ 1057965 w 12191999"/>
              <a:gd name="connsiteY315" fmla="*/ 6315300 h 6858001"/>
              <a:gd name="connsiteX316" fmla="*/ 991290 w 12191999"/>
              <a:gd name="connsiteY316" fmla="*/ 6315300 h 6858001"/>
              <a:gd name="connsiteX317" fmla="*/ 981888 w 12191999"/>
              <a:gd name="connsiteY317" fmla="*/ 6316600 h 6858001"/>
              <a:gd name="connsiteX318" fmla="*/ 974965 w 12191999"/>
              <a:gd name="connsiteY318" fmla="*/ 6319774 h 6858001"/>
              <a:gd name="connsiteX319" fmla="*/ 969614 w 12191999"/>
              <a:gd name="connsiteY319" fmla="*/ 6325851 h 6858001"/>
              <a:gd name="connsiteX320" fmla="*/ 967649 w 12191999"/>
              <a:gd name="connsiteY320" fmla="*/ 6333801 h 6858001"/>
              <a:gd name="connsiteX321" fmla="*/ 970037 w 12191999"/>
              <a:gd name="connsiteY321" fmla="*/ 6342417 h 6858001"/>
              <a:gd name="connsiteX322" fmla="*/ 977051 w 12191999"/>
              <a:gd name="connsiteY322" fmla="*/ 6348524 h 6858001"/>
              <a:gd name="connsiteX323" fmla="*/ 993648 w 12191999"/>
              <a:gd name="connsiteY323" fmla="*/ 6353754 h 6858001"/>
              <a:gd name="connsiteX324" fmla="*/ 1004772 w 12191999"/>
              <a:gd name="connsiteY324" fmla="*/ 6357442 h 6858001"/>
              <a:gd name="connsiteX325" fmla="*/ 1007977 w 12191999"/>
              <a:gd name="connsiteY325" fmla="*/ 6363246 h 6858001"/>
              <a:gd name="connsiteX326" fmla="*/ 1004349 w 12191999"/>
              <a:gd name="connsiteY326" fmla="*/ 6370411 h 6858001"/>
              <a:gd name="connsiteX327" fmla="*/ 993224 w 12191999"/>
              <a:gd name="connsiteY327" fmla="*/ 6373464 h 6858001"/>
              <a:gd name="connsiteX328" fmla="*/ 981646 w 12191999"/>
              <a:gd name="connsiteY328" fmla="*/ 6370018 h 6858001"/>
              <a:gd name="connsiteX329" fmla="*/ 976598 w 12191999"/>
              <a:gd name="connsiteY329" fmla="*/ 6360102 h 6858001"/>
              <a:gd name="connsiteX330" fmla="*/ 965835 w 12191999"/>
              <a:gd name="connsiteY330" fmla="*/ 6361795 h 6858001"/>
              <a:gd name="connsiteX331" fmla="*/ 974209 w 12191999"/>
              <a:gd name="connsiteY331" fmla="*/ 6377213 h 6858001"/>
              <a:gd name="connsiteX332" fmla="*/ 993285 w 12191999"/>
              <a:gd name="connsiteY332" fmla="*/ 6382412 h 6858001"/>
              <a:gd name="connsiteX333" fmla="*/ 1006828 w 12191999"/>
              <a:gd name="connsiteY333" fmla="*/ 6379782 h 6858001"/>
              <a:gd name="connsiteX334" fmla="*/ 1015988 w 12191999"/>
              <a:gd name="connsiteY334" fmla="*/ 6372345 h 6858001"/>
              <a:gd name="connsiteX335" fmla="*/ 1019162 w 12191999"/>
              <a:gd name="connsiteY335" fmla="*/ 6362097 h 6858001"/>
              <a:gd name="connsiteX336" fmla="*/ 1016562 w 12191999"/>
              <a:gd name="connsiteY336" fmla="*/ 6352786 h 6858001"/>
              <a:gd name="connsiteX337" fmla="*/ 1009398 w 12191999"/>
              <a:gd name="connsiteY337" fmla="*/ 6347073 h 6858001"/>
              <a:gd name="connsiteX338" fmla="*/ 993285 w 12191999"/>
              <a:gd name="connsiteY338" fmla="*/ 6342024 h 6858001"/>
              <a:gd name="connsiteX339" fmla="*/ 983671 w 12191999"/>
              <a:gd name="connsiteY339" fmla="*/ 6339243 h 6858001"/>
              <a:gd name="connsiteX340" fmla="*/ 979500 w 12191999"/>
              <a:gd name="connsiteY340" fmla="*/ 6336341 h 6858001"/>
              <a:gd name="connsiteX341" fmla="*/ 978170 w 12191999"/>
              <a:gd name="connsiteY341" fmla="*/ 6332532 h 6858001"/>
              <a:gd name="connsiteX342" fmla="*/ 981374 w 12191999"/>
              <a:gd name="connsiteY342" fmla="*/ 6326727 h 6858001"/>
              <a:gd name="connsiteX343" fmla="*/ 992076 w 12191999"/>
              <a:gd name="connsiteY343" fmla="*/ 6324248 h 6858001"/>
              <a:gd name="connsiteX344" fmla="*/ 1001900 w 12191999"/>
              <a:gd name="connsiteY344" fmla="*/ 6327030 h 6858001"/>
              <a:gd name="connsiteX345" fmla="*/ 1006103 w 12191999"/>
              <a:gd name="connsiteY345" fmla="*/ 6334769 h 6858001"/>
              <a:gd name="connsiteX346" fmla="*/ 1016744 w 12191999"/>
              <a:gd name="connsiteY346" fmla="*/ 6333318 h 6858001"/>
              <a:gd name="connsiteX347" fmla="*/ 1012995 w 12191999"/>
              <a:gd name="connsiteY347" fmla="*/ 6323372 h 6858001"/>
              <a:gd name="connsiteX348" fmla="*/ 1004561 w 12191999"/>
              <a:gd name="connsiteY348" fmla="*/ 6317477 h 6858001"/>
              <a:gd name="connsiteX349" fmla="*/ 991290 w 12191999"/>
              <a:gd name="connsiteY349" fmla="*/ 6315300 h 6858001"/>
              <a:gd name="connsiteX350" fmla="*/ 929875 w 12191999"/>
              <a:gd name="connsiteY350" fmla="*/ 6315300 h 6858001"/>
              <a:gd name="connsiteX351" fmla="*/ 908229 w 12191999"/>
              <a:gd name="connsiteY351" fmla="*/ 6324248 h 6858001"/>
              <a:gd name="connsiteX352" fmla="*/ 899886 w 12191999"/>
              <a:gd name="connsiteY352" fmla="*/ 6349400 h 6858001"/>
              <a:gd name="connsiteX353" fmla="*/ 908139 w 12191999"/>
              <a:gd name="connsiteY353" fmla="*/ 6373736 h 6858001"/>
              <a:gd name="connsiteX354" fmla="*/ 930479 w 12191999"/>
              <a:gd name="connsiteY354" fmla="*/ 6382412 h 6858001"/>
              <a:gd name="connsiteX355" fmla="*/ 948860 w 12191999"/>
              <a:gd name="connsiteY355" fmla="*/ 6376971 h 6858001"/>
              <a:gd name="connsiteX356" fmla="*/ 958715 w 12191999"/>
              <a:gd name="connsiteY356" fmla="*/ 6361674 h 6858001"/>
              <a:gd name="connsiteX357" fmla="*/ 947469 w 12191999"/>
              <a:gd name="connsiteY357" fmla="*/ 6360283 h 6858001"/>
              <a:gd name="connsiteX358" fmla="*/ 940758 w 12191999"/>
              <a:gd name="connsiteY358" fmla="*/ 6370320 h 6858001"/>
              <a:gd name="connsiteX359" fmla="*/ 930540 w 12191999"/>
              <a:gd name="connsiteY359" fmla="*/ 6373464 h 6858001"/>
              <a:gd name="connsiteX360" fmla="*/ 917117 w 12191999"/>
              <a:gd name="connsiteY360" fmla="*/ 6367841 h 6858001"/>
              <a:gd name="connsiteX361" fmla="*/ 911132 w 12191999"/>
              <a:gd name="connsiteY361" fmla="*/ 6351637 h 6858001"/>
              <a:gd name="connsiteX362" fmla="*/ 959017 w 12191999"/>
              <a:gd name="connsiteY362" fmla="*/ 6351637 h 6858001"/>
              <a:gd name="connsiteX363" fmla="*/ 959078 w 12191999"/>
              <a:gd name="connsiteY363" fmla="*/ 6348735 h 6858001"/>
              <a:gd name="connsiteX364" fmla="*/ 950915 w 12191999"/>
              <a:gd name="connsiteY364" fmla="*/ 6324067 h 6858001"/>
              <a:gd name="connsiteX365" fmla="*/ 929875 w 12191999"/>
              <a:gd name="connsiteY365" fmla="*/ 6315300 h 6858001"/>
              <a:gd name="connsiteX366" fmla="*/ 867069 w 12191999"/>
              <a:gd name="connsiteY366" fmla="*/ 6315300 h 6858001"/>
              <a:gd name="connsiteX367" fmla="*/ 846633 w 12191999"/>
              <a:gd name="connsiteY367" fmla="*/ 6325881 h 6858001"/>
              <a:gd name="connsiteX368" fmla="*/ 846633 w 12191999"/>
              <a:gd name="connsiteY368" fmla="*/ 6316751 h 6858001"/>
              <a:gd name="connsiteX369" fmla="*/ 836839 w 12191999"/>
              <a:gd name="connsiteY369" fmla="*/ 6316751 h 6858001"/>
              <a:gd name="connsiteX370" fmla="*/ 836839 w 12191999"/>
              <a:gd name="connsiteY370" fmla="*/ 6380961 h 6858001"/>
              <a:gd name="connsiteX371" fmla="*/ 847722 w 12191999"/>
              <a:gd name="connsiteY371" fmla="*/ 6380961 h 6858001"/>
              <a:gd name="connsiteX372" fmla="*/ 847722 w 12191999"/>
              <a:gd name="connsiteY372" fmla="*/ 6345894 h 6858001"/>
              <a:gd name="connsiteX373" fmla="*/ 852770 w 12191999"/>
              <a:gd name="connsiteY373" fmla="*/ 6329146 h 6858001"/>
              <a:gd name="connsiteX374" fmla="*/ 864772 w 12191999"/>
              <a:gd name="connsiteY374" fmla="*/ 6324732 h 6858001"/>
              <a:gd name="connsiteX375" fmla="*/ 872360 w 12191999"/>
              <a:gd name="connsiteY375" fmla="*/ 6326697 h 6858001"/>
              <a:gd name="connsiteX376" fmla="*/ 876864 w 12191999"/>
              <a:gd name="connsiteY376" fmla="*/ 6331957 h 6858001"/>
              <a:gd name="connsiteX377" fmla="*/ 878134 w 12191999"/>
              <a:gd name="connsiteY377" fmla="*/ 6341903 h 6858001"/>
              <a:gd name="connsiteX378" fmla="*/ 878134 w 12191999"/>
              <a:gd name="connsiteY378" fmla="*/ 6380961 h 6858001"/>
              <a:gd name="connsiteX379" fmla="*/ 889017 w 12191999"/>
              <a:gd name="connsiteY379" fmla="*/ 6380961 h 6858001"/>
              <a:gd name="connsiteX380" fmla="*/ 889017 w 12191999"/>
              <a:gd name="connsiteY380" fmla="*/ 6341480 h 6858001"/>
              <a:gd name="connsiteX381" fmla="*/ 888412 w 12191999"/>
              <a:gd name="connsiteY381" fmla="*/ 6330899 h 6858001"/>
              <a:gd name="connsiteX382" fmla="*/ 885026 w 12191999"/>
              <a:gd name="connsiteY382" fmla="*/ 6322858 h 6858001"/>
              <a:gd name="connsiteX383" fmla="*/ 877741 w 12191999"/>
              <a:gd name="connsiteY383" fmla="*/ 6317386 h 6858001"/>
              <a:gd name="connsiteX384" fmla="*/ 867069 w 12191999"/>
              <a:gd name="connsiteY384" fmla="*/ 6315300 h 6858001"/>
              <a:gd name="connsiteX385" fmla="*/ 762690 w 12191999"/>
              <a:gd name="connsiteY385" fmla="*/ 6315300 h 6858001"/>
              <a:gd name="connsiteX386" fmla="*/ 753288 w 12191999"/>
              <a:gd name="connsiteY386" fmla="*/ 6316600 h 6858001"/>
              <a:gd name="connsiteX387" fmla="*/ 746365 w 12191999"/>
              <a:gd name="connsiteY387" fmla="*/ 6319774 h 6858001"/>
              <a:gd name="connsiteX388" fmla="*/ 741014 w 12191999"/>
              <a:gd name="connsiteY388" fmla="*/ 6325851 h 6858001"/>
              <a:gd name="connsiteX389" fmla="*/ 739049 w 12191999"/>
              <a:gd name="connsiteY389" fmla="*/ 6333801 h 6858001"/>
              <a:gd name="connsiteX390" fmla="*/ 741437 w 12191999"/>
              <a:gd name="connsiteY390" fmla="*/ 6342417 h 6858001"/>
              <a:gd name="connsiteX391" fmla="*/ 748451 w 12191999"/>
              <a:gd name="connsiteY391" fmla="*/ 6348524 h 6858001"/>
              <a:gd name="connsiteX392" fmla="*/ 765048 w 12191999"/>
              <a:gd name="connsiteY392" fmla="*/ 6353754 h 6858001"/>
              <a:gd name="connsiteX393" fmla="*/ 776172 w 12191999"/>
              <a:gd name="connsiteY393" fmla="*/ 6357442 h 6858001"/>
              <a:gd name="connsiteX394" fmla="*/ 779377 w 12191999"/>
              <a:gd name="connsiteY394" fmla="*/ 6363246 h 6858001"/>
              <a:gd name="connsiteX395" fmla="*/ 775749 w 12191999"/>
              <a:gd name="connsiteY395" fmla="*/ 6370411 h 6858001"/>
              <a:gd name="connsiteX396" fmla="*/ 764624 w 12191999"/>
              <a:gd name="connsiteY396" fmla="*/ 6373464 h 6858001"/>
              <a:gd name="connsiteX397" fmla="*/ 753046 w 12191999"/>
              <a:gd name="connsiteY397" fmla="*/ 6370018 h 6858001"/>
              <a:gd name="connsiteX398" fmla="*/ 747997 w 12191999"/>
              <a:gd name="connsiteY398" fmla="*/ 6360102 h 6858001"/>
              <a:gd name="connsiteX399" fmla="*/ 737235 w 12191999"/>
              <a:gd name="connsiteY399" fmla="*/ 6361795 h 6858001"/>
              <a:gd name="connsiteX400" fmla="*/ 745609 w 12191999"/>
              <a:gd name="connsiteY400" fmla="*/ 6377213 h 6858001"/>
              <a:gd name="connsiteX401" fmla="*/ 764685 w 12191999"/>
              <a:gd name="connsiteY401" fmla="*/ 6382412 h 6858001"/>
              <a:gd name="connsiteX402" fmla="*/ 778228 w 12191999"/>
              <a:gd name="connsiteY402" fmla="*/ 6379782 h 6858001"/>
              <a:gd name="connsiteX403" fmla="*/ 787388 w 12191999"/>
              <a:gd name="connsiteY403" fmla="*/ 6372345 h 6858001"/>
              <a:gd name="connsiteX404" fmla="*/ 790562 w 12191999"/>
              <a:gd name="connsiteY404" fmla="*/ 6362097 h 6858001"/>
              <a:gd name="connsiteX405" fmla="*/ 787962 w 12191999"/>
              <a:gd name="connsiteY405" fmla="*/ 6352786 h 6858001"/>
              <a:gd name="connsiteX406" fmla="*/ 780798 w 12191999"/>
              <a:gd name="connsiteY406" fmla="*/ 6347073 h 6858001"/>
              <a:gd name="connsiteX407" fmla="*/ 764685 w 12191999"/>
              <a:gd name="connsiteY407" fmla="*/ 6342024 h 6858001"/>
              <a:gd name="connsiteX408" fmla="*/ 755071 w 12191999"/>
              <a:gd name="connsiteY408" fmla="*/ 6339243 h 6858001"/>
              <a:gd name="connsiteX409" fmla="*/ 750900 w 12191999"/>
              <a:gd name="connsiteY409" fmla="*/ 6336341 h 6858001"/>
              <a:gd name="connsiteX410" fmla="*/ 749569 w 12191999"/>
              <a:gd name="connsiteY410" fmla="*/ 6332532 h 6858001"/>
              <a:gd name="connsiteX411" fmla="*/ 752774 w 12191999"/>
              <a:gd name="connsiteY411" fmla="*/ 6326727 h 6858001"/>
              <a:gd name="connsiteX412" fmla="*/ 763476 w 12191999"/>
              <a:gd name="connsiteY412" fmla="*/ 6324248 h 6858001"/>
              <a:gd name="connsiteX413" fmla="*/ 773301 w 12191999"/>
              <a:gd name="connsiteY413" fmla="*/ 6327030 h 6858001"/>
              <a:gd name="connsiteX414" fmla="*/ 777503 w 12191999"/>
              <a:gd name="connsiteY414" fmla="*/ 6334769 h 6858001"/>
              <a:gd name="connsiteX415" fmla="*/ 788144 w 12191999"/>
              <a:gd name="connsiteY415" fmla="*/ 6333318 h 6858001"/>
              <a:gd name="connsiteX416" fmla="*/ 784395 w 12191999"/>
              <a:gd name="connsiteY416" fmla="*/ 6323372 h 6858001"/>
              <a:gd name="connsiteX417" fmla="*/ 775961 w 12191999"/>
              <a:gd name="connsiteY417" fmla="*/ 6317477 h 6858001"/>
              <a:gd name="connsiteX418" fmla="*/ 762690 w 12191999"/>
              <a:gd name="connsiteY418" fmla="*/ 6315300 h 6858001"/>
              <a:gd name="connsiteX419" fmla="*/ 525681 w 12191999"/>
              <a:gd name="connsiteY419" fmla="*/ 6301636 h 6858001"/>
              <a:gd name="connsiteX420" fmla="*/ 531969 w 12191999"/>
              <a:gd name="connsiteY420" fmla="*/ 6320016 h 6858001"/>
              <a:gd name="connsiteX421" fmla="*/ 541219 w 12191999"/>
              <a:gd name="connsiteY421" fmla="*/ 6344563 h 6858001"/>
              <a:gd name="connsiteX422" fmla="*/ 511170 w 12191999"/>
              <a:gd name="connsiteY422" fmla="*/ 6344563 h 6858001"/>
              <a:gd name="connsiteX423" fmla="*/ 520904 w 12191999"/>
              <a:gd name="connsiteY423" fmla="*/ 6318565 h 6858001"/>
              <a:gd name="connsiteX424" fmla="*/ 525681 w 12191999"/>
              <a:gd name="connsiteY424" fmla="*/ 6301636 h 6858001"/>
              <a:gd name="connsiteX425" fmla="*/ 1847396 w 12191999"/>
              <a:gd name="connsiteY425" fmla="*/ 6292325 h 6858001"/>
              <a:gd name="connsiteX426" fmla="*/ 1847396 w 12191999"/>
              <a:gd name="connsiteY426" fmla="*/ 6380961 h 6858001"/>
              <a:gd name="connsiteX427" fmla="*/ 1902778 w 12191999"/>
              <a:gd name="connsiteY427" fmla="*/ 6380961 h 6858001"/>
              <a:gd name="connsiteX428" fmla="*/ 1902778 w 12191999"/>
              <a:gd name="connsiteY428" fmla="*/ 6370501 h 6858001"/>
              <a:gd name="connsiteX429" fmla="*/ 1859125 w 12191999"/>
              <a:gd name="connsiteY429" fmla="*/ 6370501 h 6858001"/>
              <a:gd name="connsiteX430" fmla="*/ 1859125 w 12191999"/>
              <a:gd name="connsiteY430" fmla="*/ 6292325 h 6858001"/>
              <a:gd name="connsiteX431" fmla="*/ 1676067 w 12191999"/>
              <a:gd name="connsiteY431" fmla="*/ 6292325 h 6858001"/>
              <a:gd name="connsiteX432" fmla="*/ 1676067 w 12191999"/>
              <a:gd name="connsiteY432" fmla="*/ 6380961 h 6858001"/>
              <a:gd name="connsiteX433" fmla="*/ 1687373 w 12191999"/>
              <a:gd name="connsiteY433" fmla="*/ 6380961 h 6858001"/>
              <a:gd name="connsiteX434" fmla="*/ 1687373 w 12191999"/>
              <a:gd name="connsiteY434" fmla="*/ 6305505 h 6858001"/>
              <a:gd name="connsiteX435" fmla="*/ 1713008 w 12191999"/>
              <a:gd name="connsiteY435" fmla="*/ 6380961 h 6858001"/>
              <a:gd name="connsiteX436" fmla="*/ 1723589 w 12191999"/>
              <a:gd name="connsiteY436" fmla="*/ 6380961 h 6858001"/>
              <a:gd name="connsiteX437" fmla="*/ 1749346 w 12191999"/>
              <a:gd name="connsiteY437" fmla="*/ 6306775 h 6858001"/>
              <a:gd name="connsiteX438" fmla="*/ 1749346 w 12191999"/>
              <a:gd name="connsiteY438" fmla="*/ 6380961 h 6858001"/>
              <a:gd name="connsiteX439" fmla="*/ 1760652 w 12191999"/>
              <a:gd name="connsiteY439" fmla="*/ 6380961 h 6858001"/>
              <a:gd name="connsiteX440" fmla="*/ 1760652 w 12191999"/>
              <a:gd name="connsiteY440" fmla="*/ 6292325 h 6858001"/>
              <a:gd name="connsiteX441" fmla="*/ 1744872 w 12191999"/>
              <a:gd name="connsiteY441" fmla="*/ 6292325 h 6858001"/>
              <a:gd name="connsiteX442" fmla="*/ 1723650 w 12191999"/>
              <a:gd name="connsiteY442" fmla="*/ 6353995 h 6858001"/>
              <a:gd name="connsiteX443" fmla="*/ 1718933 w 12191999"/>
              <a:gd name="connsiteY443" fmla="*/ 6368204 h 6858001"/>
              <a:gd name="connsiteX444" fmla="*/ 1714701 w 12191999"/>
              <a:gd name="connsiteY444" fmla="*/ 6355084 h 6858001"/>
              <a:gd name="connsiteX445" fmla="*/ 1693721 w 12191999"/>
              <a:gd name="connsiteY445" fmla="*/ 6292325 h 6858001"/>
              <a:gd name="connsiteX446" fmla="*/ 1560739 w 12191999"/>
              <a:gd name="connsiteY446" fmla="*/ 6292325 h 6858001"/>
              <a:gd name="connsiteX447" fmla="*/ 1560739 w 12191999"/>
              <a:gd name="connsiteY447" fmla="*/ 6380961 h 6858001"/>
              <a:gd name="connsiteX448" fmla="*/ 1571622 w 12191999"/>
              <a:gd name="connsiteY448" fmla="*/ 6380961 h 6858001"/>
              <a:gd name="connsiteX449" fmla="*/ 1571622 w 12191999"/>
              <a:gd name="connsiteY449" fmla="*/ 6345833 h 6858001"/>
              <a:gd name="connsiteX450" fmla="*/ 1573435 w 12191999"/>
              <a:gd name="connsiteY450" fmla="*/ 6333983 h 6858001"/>
              <a:gd name="connsiteX451" fmla="*/ 1579512 w 12191999"/>
              <a:gd name="connsiteY451" fmla="*/ 6327181 h 6858001"/>
              <a:gd name="connsiteX452" fmla="*/ 1588611 w 12191999"/>
              <a:gd name="connsiteY452" fmla="*/ 6324672 h 6858001"/>
              <a:gd name="connsiteX453" fmla="*/ 1598618 w 12191999"/>
              <a:gd name="connsiteY453" fmla="*/ 6328390 h 6858001"/>
              <a:gd name="connsiteX454" fmla="*/ 1602155 w 12191999"/>
              <a:gd name="connsiteY454" fmla="*/ 6340271 h 6858001"/>
              <a:gd name="connsiteX455" fmla="*/ 1602155 w 12191999"/>
              <a:gd name="connsiteY455" fmla="*/ 6380961 h 6858001"/>
              <a:gd name="connsiteX456" fmla="*/ 1613038 w 12191999"/>
              <a:gd name="connsiteY456" fmla="*/ 6380961 h 6858001"/>
              <a:gd name="connsiteX457" fmla="*/ 1613038 w 12191999"/>
              <a:gd name="connsiteY457" fmla="*/ 6340271 h 6858001"/>
              <a:gd name="connsiteX458" fmla="*/ 1610771 w 12191999"/>
              <a:gd name="connsiteY458" fmla="*/ 6325881 h 6858001"/>
              <a:gd name="connsiteX459" fmla="*/ 1603243 w 12191999"/>
              <a:gd name="connsiteY459" fmla="*/ 6318112 h 6858001"/>
              <a:gd name="connsiteX460" fmla="*/ 1590848 w 12191999"/>
              <a:gd name="connsiteY460" fmla="*/ 6315300 h 6858001"/>
              <a:gd name="connsiteX461" fmla="*/ 1571622 w 12191999"/>
              <a:gd name="connsiteY461" fmla="*/ 6324128 h 6858001"/>
              <a:gd name="connsiteX462" fmla="*/ 1571622 w 12191999"/>
              <a:gd name="connsiteY462" fmla="*/ 6292325 h 6858001"/>
              <a:gd name="connsiteX463" fmla="*/ 1285542 w 12191999"/>
              <a:gd name="connsiteY463" fmla="*/ 6292325 h 6858001"/>
              <a:gd name="connsiteX464" fmla="*/ 1285542 w 12191999"/>
              <a:gd name="connsiteY464" fmla="*/ 6380961 h 6858001"/>
              <a:gd name="connsiteX465" fmla="*/ 1296848 w 12191999"/>
              <a:gd name="connsiteY465" fmla="*/ 6380961 h 6858001"/>
              <a:gd name="connsiteX466" fmla="*/ 1296848 w 12191999"/>
              <a:gd name="connsiteY466" fmla="*/ 6305505 h 6858001"/>
              <a:gd name="connsiteX467" fmla="*/ 1322484 w 12191999"/>
              <a:gd name="connsiteY467" fmla="*/ 6380961 h 6858001"/>
              <a:gd name="connsiteX468" fmla="*/ 1333064 w 12191999"/>
              <a:gd name="connsiteY468" fmla="*/ 6380961 h 6858001"/>
              <a:gd name="connsiteX469" fmla="*/ 1358821 w 12191999"/>
              <a:gd name="connsiteY469" fmla="*/ 6306775 h 6858001"/>
              <a:gd name="connsiteX470" fmla="*/ 1358821 w 12191999"/>
              <a:gd name="connsiteY470" fmla="*/ 6380961 h 6858001"/>
              <a:gd name="connsiteX471" fmla="*/ 1370127 w 12191999"/>
              <a:gd name="connsiteY471" fmla="*/ 6380961 h 6858001"/>
              <a:gd name="connsiteX472" fmla="*/ 1370127 w 12191999"/>
              <a:gd name="connsiteY472" fmla="*/ 6292325 h 6858001"/>
              <a:gd name="connsiteX473" fmla="*/ 1354347 w 12191999"/>
              <a:gd name="connsiteY473" fmla="*/ 6292325 h 6858001"/>
              <a:gd name="connsiteX474" fmla="*/ 1333125 w 12191999"/>
              <a:gd name="connsiteY474" fmla="*/ 6353995 h 6858001"/>
              <a:gd name="connsiteX475" fmla="*/ 1328409 w 12191999"/>
              <a:gd name="connsiteY475" fmla="*/ 6368204 h 6858001"/>
              <a:gd name="connsiteX476" fmla="*/ 1324176 w 12191999"/>
              <a:gd name="connsiteY476" fmla="*/ 6355084 h 6858001"/>
              <a:gd name="connsiteX477" fmla="*/ 1303196 w 12191999"/>
              <a:gd name="connsiteY477" fmla="*/ 6292325 h 6858001"/>
              <a:gd name="connsiteX478" fmla="*/ 808324 w 12191999"/>
              <a:gd name="connsiteY478" fmla="*/ 6292325 h 6858001"/>
              <a:gd name="connsiteX479" fmla="*/ 808324 w 12191999"/>
              <a:gd name="connsiteY479" fmla="*/ 6304840 h 6858001"/>
              <a:gd name="connsiteX480" fmla="*/ 819207 w 12191999"/>
              <a:gd name="connsiteY480" fmla="*/ 6304840 h 6858001"/>
              <a:gd name="connsiteX481" fmla="*/ 819207 w 12191999"/>
              <a:gd name="connsiteY481" fmla="*/ 6292325 h 6858001"/>
              <a:gd name="connsiteX482" fmla="*/ 608178 w 12191999"/>
              <a:gd name="connsiteY482" fmla="*/ 6292325 h 6858001"/>
              <a:gd name="connsiteX483" fmla="*/ 608178 w 12191999"/>
              <a:gd name="connsiteY483" fmla="*/ 6380961 h 6858001"/>
              <a:gd name="connsiteX484" fmla="*/ 618275 w 12191999"/>
              <a:gd name="connsiteY484" fmla="*/ 6380961 h 6858001"/>
              <a:gd name="connsiteX485" fmla="*/ 618275 w 12191999"/>
              <a:gd name="connsiteY485" fmla="*/ 6372920 h 6858001"/>
              <a:gd name="connsiteX486" fmla="*/ 636111 w 12191999"/>
              <a:gd name="connsiteY486" fmla="*/ 6382412 h 6858001"/>
              <a:gd name="connsiteX487" fmla="*/ 655701 w 12191999"/>
              <a:gd name="connsiteY487" fmla="*/ 6373404 h 6858001"/>
              <a:gd name="connsiteX488" fmla="*/ 663863 w 12191999"/>
              <a:gd name="connsiteY488" fmla="*/ 6347889 h 6858001"/>
              <a:gd name="connsiteX489" fmla="*/ 661928 w 12191999"/>
              <a:gd name="connsiteY489" fmla="*/ 6334829 h 6858001"/>
              <a:gd name="connsiteX490" fmla="*/ 656577 w 12191999"/>
              <a:gd name="connsiteY490" fmla="*/ 6324400 h 6858001"/>
              <a:gd name="connsiteX491" fmla="*/ 647871 w 12191999"/>
              <a:gd name="connsiteY491" fmla="*/ 6317688 h 6858001"/>
              <a:gd name="connsiteX492" fmla="*/ 636655 w 12191999"/>
              <a:gd name="connsiteY492" fmla="*/ 6315300 h 6858001"/>
              <a:gd name="connsiteX493" fmla="*/ 619061 w 12191999"/>
              <a:gd name="connsiteY493" fmla="*/ 6323946 h 6858001"/>
              <a:gd name="connsiteX494" fmla="*/ 619061 w 12191999"/>
              <a:gd name="connsiteY494" fmla="*/ 6292325 h 6858001"/>
              <a:gd name="connsiteX495" fmla="*/ 519635 w 12191999"/>
              <a:gd name="connsiteY495" fmla="*/ 6292325 h 6858001"/>
              <a:gd name="connsiteX496" fmla="*/ 485595 w 12191999"/>
              <a:gd name="connsiteY496" fmla="*/ 6380961 h 6858001"/>
              <a:gd name="connsiteX497" fmla="*/ 498050 w 12191999"/>
              <a:gd name="connsiteY497" fmla="*/ 6380961 h 6858001"/>
              <a:gd name="connsiteX498" fmla="*/ 507784 w 12191999"/>
              <a:gd name="connsiteY498" fmla="*/ 6354116 h 6858001"/>
              <a:gd name="connsiteX499" fmla="*/ 544847 w 12191999"/>
              <a:gd name="connsiteY499" fmla="*/ 6354116 h 6858001"/>
              <a:gd name="connsiteX500" fmla="*/ 555186 w 12191999"/>
              <a:gd name="connsiteY500" fmla="*/ 6380961 h 6858001"/>
              <a:gd name="connsiteX501" fmla="*/ 568548 w 12191999"/>
              <a:gd name="connsiteY501" fmla="*/ 6380961 h 6858001"/>
              <a:gd name="connsiteX502" fmla="*/ 532271 w 12191999"/>
              <a:gd name="connsiteY502" fmla="*/ 6292325 h 6858001"/>
              <a:gd name="connsiteX503" fmla="*/ 1228689 w 12191999"/>
              <a:gd name="connsiteY503" fmla="*/ 6290813 h 6858001"/>
              <a:gd name="connsiteX504" fmla="*/ 1217594 w 12191999"/>
              <a:gd name="connsiteY504" fmla="*/ 6293443 h 6858001"/>
              <a:gd name="connsiteX505" fmla="*/ 1212062 w 12191999"/>
              <a:gd name="connsiteY505" fmla="*/ 6300306 h 6858001"/>
              <a:gd name="connsiteX506" fmla="*/ 1210914 w 12191999"/>
              <a:gd name="connsiteY506" fmla="*/ 6309919 h 6858001"/>
              <a:gd name="connsiteX507" fmla="*/ 1210914 w 12191999"/>
              <a:gd name="connsiteY507" fmla="*/ 6316751 h 6858001"/>
              <a:gd name="connsiteX508" fmla="*/ 1201300 w 12191999"/>
              <a:gd name="connsiteY508" fmla="*/ 6316751 h 6858001"/>
              <a:gd name="connsiteX509" fmla="*/ 1201300 w 12191999"/>
              <a:gd name="connsiteY509" fmla="*/ 6325216 h 6858001"/>
              <a:gd name="connsiteX510" fmla="*/ 1210914 w 12191999"/>
              <a:gd name="connsiteY510" fmla="*/ 6325216 h 6858001"/>
              <a:gd name="connsiteX511" fmla="*/ 1210914 w 12191999"/>
              <a:gd name="connsiteY511" fmla="*/ 6380961 h 6858001"/>
              <a:gd name="connsiteX512" fmla="*/ 1221736 w 12191999"/>
              <a:gd name="connsiteY512" fmla="*/ 6380961 h 6858001"/>
              <a:gd name="connsiteX513" fmla="*/ 1221736 w 12191999"/>
              <a:gd name="connsiteY513" fmla="*/ 6325216 h 6858001"/>
              <a:gd name="connsiteX514" fmla="*/ 1234252 w 12191999"/>
              <a:gd name="connsiteY514" fmla="*/ 6325216 h 6858001"/>
              <a:gd name="connsiteX515" fmla="*/ 1234252 w 12191999"/>
              <a:gd name="connsiteY515" fmla="*/ 6316751 h 6858001"/>
              <a:gd name="connsiteX516" fmla="*/ 1221736 w 12191999"/>
              <a:gd name="connsiteY516" fmla="*/ 6316751 h 6858001"/>
              <a:gd name="connsiteX517" fmla="*/ 1221736 w 12191999"/>
              <a:gd name="connsiteY517" fmla="*/ 6310826 h 6858001"/>
              <a:gd name="connsiteX518" fmla="*/ 1223792 w 12191999"/>
              <a:gd name="connsiteY518" fmla="*/ 6302906 h 6858001"/>
              <a:gd name="connsiteX519" fmla="*/ 1230805 w 12191999"/>
              <a:gd name="connsiteY519" fmla="*/ 6300789 h 6858001"/>
              <a:gd name="connsiteX520" fmla="*/ 1237214 w 12191999"/>
              <a:gd name="connsiteY520" fmla="*/ 6301394 h 6858001"/>
              <a:gd name="connsiteX521" fmla="*/ 1238847 w 12191999"/>
              <a:gd name="connsiteY521" fmla="*/ 6291902 h 6858001"/>
              <a:gd name="connsiteX522" fmla="*/ 1228689 w 12191999"/>
              <a:gd name="connsiteY522" fmla="*/ 6290813 h 6858001"/>
              <a:gd name="connsiteX523" fmla="*/ 7175501 w 12191999"/>
              <a:gd name="connsiteY523" fmla="*/ 1 h 6858001"/>
              <a:gd name="connsiteX524" fmla="*/ 12191999 w 12191999"/>
              <a:gd name="connsiteY524" fmla="*/ 1 h 6858001"/>
              <a:gd name="connsiteX525" fmla="*/ 12191999 w 12191999"/>
              <a:gd name="connsiteY525" fmla="*/ 6858001 h 6858001"/>
              <a:gd name="connsiteX526" fmla="*/ 1 w 12191999"/>
              <a:gd name="connsiteY526" fmla="*/ 6858001 h 6858001"/>
              <a:gd name="connsiteX527" fmla="*/ 1 w 12191999"/>
              <a:gd name="connsiteY527" fmla="*/ 5752619 h 6858001"/>
              <a:gd name="connsiteX528" fmla="*/ 7175501 w 12191999"/>
              <a:gd name="connsiteY528" fmla="*/ 5752619 h 6858001"/>
              <a:gd name="connsiteX529" fmla="*/ 0 w 12191999"/>
              <a:gd name="connsiteY529" fmla="*/ 0 h 6858001"/>
              <a:gd name="connsiteX530" fmla="*/ 7175501 w 12191999"/>
              <a:gd name="connsiteY530" fmla="*/ 0 h 6858001"/>
              <a:gd name="connsiteX531" fmla="*/ 7175501 w 12191999"/>
              <a:gd name="connsiteY531" fmla="*/ 1 h 6858001"/>
              <a:gd name="connsiteX532" fmla="*/ 1 w 12191999"/>
              <a:gd name="connsiteY532" fmla="*/ 1 h 6858001"/>
              <a:gd name="connsiteX533" fmla="*/ 1 w 12191999"/>
              <a:gd name="connsiteY533" fmla="*/ 5752619 h 6858001"/>
              <a:gd name="connsiteX534" fmla="*/ 0 w 12191999"/>
              <a:gd name="connsiteY534" fmla="*/ 575261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Lst>
            <a:rect l="l" t="t" r="r" b="b"/>
            <a:pathLst>
              <a:path w="12191999" h="6858001">
                <a:moveTo>
                  <a:pt x="2154182" y="6348735"/>
                </a:moveTo>
                <a:lnTo>
                  <a:pt x="2154182" y="6352726"/>
                </a:lnTo>
                <a:cubicBezTo>
                  <a:pt x="2154182" y="6357522"/>
                  <a:pt x="2153597" y="6361150"/>
                  <a:pt x="2152428" y="6363609"/>
                </a:cubicBezTo>
                <a:cubicBezTo>
                  <a:pt x="2150896" y="6366793"/>
                  <a:pt x="2148498" y="6369302"/>
                  <a:pt x="2145233" y="6371136"/>
                </a:cubicBezTo>
                <a:cubicBezTo>
                  <a:pt x="2141968" y="6372970"/>
                  <a:pt x="2138240" y="6373887"/>
                  <a:pt x="2134048" y="6373887"/>
                </a:cubicBezTo>
                <a:cubicBezTo>
                  <a:pt x="2129816" y="6373887"/>
                  <a:pt x="2126601" y="6372920"/>
                  <a:pt x="2124404" y="6370985"/>
                </a:cubicBezTo>
                <a:cubicBezTo>
                  <a:pt x="2122207" y="6369050"/>
                  <a:pt x="2121109" y="6366632"/>
                  <a:pt x="2121109" y="6363730"/>
                </a:cubicBezTo>
                <a:cubicBezTo>
                  <a:pt x="2121109" y="6361835"/>
                  <a:pt x="2121613" y="6360112"/>
                  <a:pt x="2122621" y="6358560"/>
                </a:cubicBezTo>
                <a:cubicBezTo>
                  <a:pt x="2123628" y="6357008"/>
                  <a:pt x="2125059" y="6355829"/>
                  <a:pt x="2126913" y="6355023"/>
                </a:cubicBezTo>
                <a:cubicBezTo>
                  <a:pt x="2128768" y="6354217"/>
                  <a:pt x="2131932" y="6353492"/>
                  <a:pt x="2136406" y="6352847"/>
                </a:cubicBezTo>
                <a:cubicBezTo>
                  <a:pt x="2144306" y="6351718"/>
                  <a:pt x="2150231" y="6350348"/>
                  <a:pt x="2154182" y="6348735"/>
                </a:cubicBezTo>
                <a:close/>
                <a:moveTo>
                  <a:pt x="1430281" y="6348735"/>
                </a:moveTo>
                <a:lnTo>
                  <a:pt x="1430281" y="6352726"/>
                </a:lnTo>
                <a:cubicBezTo>
                  <a:pt x="1430281" y="6357522"/>
                  <a:pt x="1429697" y="6361150"/>
                  <a:pt x="1428528" y="6363609"/>
                </a:cubicBezTo>
                <a:cubicBezTo>
                  <a:pt x="1426997" y="6366793"/>
                  <a:pt x="1424598" y="6369302"/>
                  <a:pt x="1421333" y="6371136"/>
                </a:cubicBezTo>
                <a:cubicBezTo>
                  <a:pt x="1418068" y="6372970"/>
                  <a:pt x="1414340" y="6373887"/>
                  <a:pt x="1410148" y="6373887"/>
                </a:cubicBezTo>
                <a:cubicBezTo>
                  <a:pt x="1405916" y="6373887"/>
                  <a:pt x="1402701" y="6372920"/>
                  <a:pt x="1400504" y="6370985"/>
                </a:cubicBezTo>
                <a:cubicBezTo>
                  <a:pt x="1398308" y="6369050"/>
                  <a:pt x="1397209" y="6366632"/>
                  <a:pt x="1397209" y="6363730"/>
                </a:cubicBezTo>
                <a:cubicBezTo>
                  <a:pt x="1397209" y="6361835"/>
                  <a:pt x="1397713" y="6360112"/>
                  <a:pt x="1398721" y="6358560"/>
                </a:cubicBezTo>
                <a:cubicBezTo>
                  <a:pt x="1399728" y="6357008"/>
                  <a:pt x="1401159" y="6355829"/>
                  <a:pt x="1403013" y="6355023"/>
                </a:cubicBezTo>
                <a:cubicBezTo>
                  <a:pt x="1404867" y="6354217"/>
                  <a:pt x="1408032" y="6353492"/>
                  <a:pt x="1412506" y="6352847"/>
                </a:cubicBezTo>
                <a:cubicBezTo>
                  <a:pt x="1420406" y="6351718"/>
                  <a:pt x="1426331" y="6350348"/>
                  <a:pt x="1430281" y="6348735"/>
                </a:cubicBezTo>
                <a:close/>
                <a:moveTo>
                  <a:pt x="1167698" y="6324309"/>
                </a:moveTo>
                <a:cubicBezTo>
                  <a:pt x="1173058" y="6324309"/>
                  <a:pt x="1177543" y="6326355"/>
                  <a:pt x="1181150" y="6330446"/>
                </a:cubicBezTo>
                <a:cubicBezTo>
                  <a:pt x="1184758" y="6334537"/>
                  <a:pt x="1186561" y="6340553"/>
                  <a:pt x="1186561" y="6348493"/>
                </a:cubicBezTo>
                <a:cubicBezTo>
                  <a:pt x="1186561" y="6356918"/>
                  <a:pt x="1184768" y="6363186"/>
                  <a:pt x="1181180" y="6367297"/>
                </a:cubicBezTo>
                <a:cubicBezTo>
                  <a:pt x="1177593" y="6371408"/>
                  <a:pt x="1173099" y="6373464"/>
                  <a:pt x="1167698" y="6373464"/>
                </a:cubicBezTo>
                <a:cubicBezTo>
                  <a:pt x="1162256" y="6373464"/>
                  <a:pt x="1157741" y="6371418"/>
                  <a:pt x="1154154" y="6367327"/>
                </a:cubicBezTo>
                <a:cubicBezTo>
                  <a:pt x="1150567" y="6363236"/>
                  <a:pt x="1148773" y="6357079"/>
                  <a:pt x="1148773" y="6348856"/>
                </a:cubicBezTo>
                <a:cubicBezTo>
                  <a:pt x="1148773" y="6340633"/>
                  <a:pt x="1150567" y="6334487"/>
                  <a:pt x="1154154" y="6330415"/>
                </a:cubicBezTo>
                <a:cubicBezTo>
                  <a:pt x="1157741" y="6326344"/>
                  <a:pt x="1162256" y="6324309"/>
                  <a:pt x="1167698" y="6324309"/>
                </a:cubicBezTo>
                <a:close/>
                <a:moveTo>
                  <a:pt x="1939646" y="6324248"/>
                </a:moveTo>
                <a:cubicBezTo>
                  <a:pt x="1945168" y="6324248"/>
                  <a:pt x="1949662" y="6326344"/>
                  <a:pt x="1953129" y="6330536"/>
                </a:cubicBezTo>
                <a:cubicBezTo>
                  <a:pt x="1955386" y="6333237"/>
                  <a:pt x="1956756" y="6337288"/>
                  <a:pt x="1957240" y="6342689"/>
                </a:cubicBezTo>
                <a:lnTo>
                  <a:pt x="1921387" y="6342689"/>
                </a:lnTo>
                <a:cubicBezTo>
                  <a:pt x="1921749" y="6337086"/>
                  <a:pt x="1923634" y="6332612"/>
                  <a:pt x="1927040" y="6329267"/>
                </a:cubicBezTo>
                <a:cubicBezTo>
                  <a:pt x="1930445" y="6325921"/>
                  <a:pt x="1934648" y="6324248"/>
                  <a:pt x="1939646" y="6324248"/>
                </a:cubicBezTo>
                <a:close/>
                <a:moveTo>
                  <a:pt x="929996" y="6324248"/>
                </a:moveTo>
                <a:cubicBezTo>
                  <a:pt x="935518" y="6324248"/>
                  <a:pt x="940012" y="6326344"/>
                  <a:pt x="943479" y="6330536"/>
                </a:cubicBezTo>
                <a:cubicBezTo>
                  <a:pt x="945736" y="6333237"/>
                  <a:pt x="947106" y="6337288"/>
                  <a:pt x="947590" y="6342689"/>
                </a:cubicBezTo>
                <a:lnTo>
                  <a:pt x="911736" y="6342689"/>
                </a:lnTo>
                <a:cubicBezTo>
                  <a:pt x="912099" y="6337086"/>
                  <a:pt x="913983" y="6332612"/>
                  <a:pt x="917389" y="6329267"/>
                </a:cubicBezTo>
                <a:cubicBezTo>
                  <a:pt x="920795" y="6325921"/>
                  <a:pt x="924997" y="6324248"/>
                  <a:pt x="929996" y="6324248"/>
                </a:cubicBezTo>
                <a:close/>
                <a:moveTo>
                  <a:pt x="635688" y="6324248"/>
                </a:moveTo>
                <a:cubicBezTo>
                  <a:pt x="640404" y="6324248"/>
                  <a:pt x="644425" y="6326244"/>
                  <a:pt x="647750" y="6330234"/>
                </a:cubicBezTo>
                <a:cubicBezTo>
                  <a:pt x="651075" y="6334225"/>
                  <a:pt x="652738" y="6340412"/>
                  <a:pt x="652738" y="6348796"/>
                </a:cubicBezTo>
                <a:cubicBezTo>
                  <a:pt x="652738" y="6356978"/>
                  <a:pt x="651005" y="6363135"/>
                  <a:pt x="647538" y="6367267"/>
                </a:cubicBezTo>
                <a:cubicBezTo>
                  <a:pt x="644072" y="6371398"/>
                  <a:pt x="639961" y="6373464"/>
                  <a:pt x="635204" y="6373464"/>
                </a:cubicBezTo>
                <a:cubicBezTo>
                  <a:pt x="629360" y="6373464"/>
                  <a:pt x="624724" y="6370663"/>
                  <a:pt x="621298" y="6365060"/>
                </a:cubicBezTo>
                <a:cubicBezTo>
                  <a:pt x="619202" y="6361634"/>
                  <a:pt x="618154" y="6356071"/>
                  <a:pt x="618154" y="6348373"/>
                </a:cubicBezTo>
                <a:cubicBezTo>
                  <a:pt x="618154" y="6340553"/>
                  <a:pt x="619887" y="6334577"/>
                  <a:pt x="623354" y="6330446"/>
                </a:cubicBezTo>
                <a:cubicBezTo>
                  <a:pt x="626820" y="6326314"/>
                  <a:pt x="630932" y="6324248"/>
                  <a:pt x="635688" y="6324248"/>
                </a:cubicBezTo>
                <a:close/>
                <a:moveTo>
                  <a:pt x="808324" y="6316751"/>
                </a:moveTo>
                <a:lnTo>
                  <a:pt x="808324" y="6380961"/>
                </a:lnTo>
                <a:lnTo>
                  <a:pt x="819207" y="6380961"/>
                </a:lnTo>
                <a:lnTo>
                  <a:pt x="819207" y="6316751"/>
                </a:lnTo>
                <a:close/>
                <a:moveTo>
                  <a:pt x="674672" y="6316751"/>
                </a:moveTo>
                <a:lnTo>
                  <a:pt x="674672" y="6356535"/>
                </a:lnTo>
                <a:cubicBezTo>
                  <a:pt x="674672" y="6361170"/>
                  <a:pt x="674893" y="6364556"/>
                  <a:pt x="675337" y="6366692"/>
                </a:cubicBezTo>
                <a:cubicBezTo>
                  <a:pt x="675982" y="6369877"/>
                  <a:pt x="677100" y="6372567"/>
                  <a:pt x="678692" y="6374764"/>
                </a:cubicBezTo>
                <a:cubicBezTo>
                  <a:pt x="680284" y="6376961"/>
                  <a:pt x="682723" y="6378785"/>
                  <a:pt x="686008" y="6380236"/>
                </a:cubicBezTo>
                <a:cubicBezTo>
                  <a:pt x="689293" y="6381687"/>
                  <a:pt x="692830" y="6382412"/>
                  <a:pt x="696619" y="6382412"/>
                </a:cubicBezTo>
                <a:cubicBezTo>
                  <a:pt x="705205" y="6382412"/>
                  <a:pt x="711997" y="6378785"/>
                  <a:pt x="716995" y="6371529"/>
                </a:cubicBezTo>
                <a:lnTo>
                  <a:pt x="716995" y="6380961"/>
                </a:lnTo>
                <a:lnTo>
                  <a:pt x="726729" y="6380961"/>
                </a:lnTo>
                <a:lnTo>
                  <a:pt x="726729" y="6316751"/>
                </a:lnTo>
                <a:lnTo>
                  <a:pt x="715846" y="6316751"/>
                </a:lnTo>
                <a:lnTo>
                  <a:pt x="715846" y="6351154"/>
                </a:lnTo>
                <a:cubicBezTo>
                  <a:pt x="715846" y="6356636"/>
                  <a:pt x="715251" y="6360818"/>
                  <a:pt x="714062" y="6363700"/>
                </a:cubicBezTo>
                <a:cubicBezTo>
                  <a:pt x="712873" y="6366582"/>
                  <a:pt x="710848" y="6368859"/>
                  <a:pt x="707986" y="6370532"/>
                </a:cubicBezTo>
                <a:cubicBezTo>
                  <a:pt x="705124" y="6372204"/>
                  <a:pt x="702061" y="6373041"/>
                  <a:pt x="698796" y="6373041"/>
                </a:cubicBezTo>
                <a:cubicBezTo>
                  <a:pt x="695531" y="6373041"/>
                  <a:pt x="692790" y="6372225"/>
                  <a:pt x="690573" y="6370592"/>
                </a:cubicBezTo>
                <a:cubicBezTo>
                  <a:pt x="688356" y="6368960"/>
                  <a:pt x="686905" y="6366713"/>
                  <a:pt x="686220" y="6363851"/>
                </a:cubicBezTo>
                <a:cubicBezTo>
                  <a:pt x="685776" y="6361876"/>
                  <a:pt x="685555" y="6358046"/>
                  <a:pt x="685555" y="6352363"/>
                </a:cubicBezTo>
                <a:lnTo>
                  <a:pt x="685555" y="6316751"/>
                </a:lnTo>
                <a:close/>
                <a:moveTo>
                  <a:pt x="2210094" y="6315300"/>
                </a:moveTo>
                <a:cubicBezTo>
                  <a:pt x="2201186" y="6315300"/>
                  <a:pt x="2194374" y="6318827"/>
                  <a:pt x="2189659" y="6325881"/>
                </a:cubicBezTo>
                <a:lnTo>
                  <a:pt x="2189659" y="6316751"/>
                </a:lnTo>
                <a:lnTo>
                  <a:pt x="2179864" y="6316751"/>
                </a:lnTo>
                <a:lnTo>
                  <a:pt x="2179864" y="6380961"/>
                </a:lnTo>
                <a:lnTo>
                  <a:pt x="2190747" y="6380961"/>
                </a:lnTo>
                <a:lnTo>
                  <a:pt x="2190747" y="6345894"/>
                </a:lnTo>
                <a:cubicBezTo>
                  <a:pt x="2190747" y="6337671"/>
                  <a:pt x="2192430" y="6332088"/>
                  <a:pt x="2195795" y="6329146"/>
                </a:cubicBezTo>
                <a:cubicBezTo>
                  <a:pt x="2199161" y="6326203"/>
                  <a:pt x="2203161" y="6324732"/>
                  <a:pt x="2207797" y="6324732"/>
                </a:cubicBezTo>
                <a:cubicBezTo>
                  <a:pt x="2210699" y="6324732"/>
                  <a:pt x="2213228" y="6325387"/>
                  <a:pt x="2215385" y="6326697"/>
                </a:cubicBezTo>
                <a:cubicBezTo>
                  <a:pt x="2217541" y="6328007"/>
                  <a:pt x="2219043" y="6329761"/>
                  <a:pt x="2219889" y="6331957"/>
                </a:cubicBezTo>
                <a:cubicBezTo>
                  <a:pt x="2220735" y="6334154"/>
                  <a:pt x="2221159" y="6337469"/>
                  <a:pt x="2221159" y="6341903"/>
                </a:cubicBezTo>
                <a:lnTo>
                  <a:pt x="2221159" y="6380961"/>
                </a:lnTo>
                <a:lnTo>
                  <a:pt x="2232042" y="6380961"/>
                </a:lnTo>
                <a:lnTo>
                  <a:pt x="2232042" y="6341480"/>
                </a:lnTo>
                <a:cubicBezTo>
                  <a:pt x="2232042" y="6336441"/>
                  <a:pt x="2231840" y="6332915"/>
                  <a:pt x="2231437" y="6330899"/>
                </a:cubicBezTo>
                <a:cubicBezTo>
                  <a:pt x="2230792" y="6327796"/>
                  <a:pt x="2229664" y="6325115"/>
                  <a:pt x="2228052" y="6322858"/>
                </a:cubicBezTo>
                <a:cubicBezTo>
                  <a:pt x="2226439" y="6320601"/>
                  <a:pt x="2224011" y="6318777"/>
                  <a:pt x="2220766" y="6317386"/>
                </a:cubicBezTo>
                <a:cubicBezTo>
                  <a:pt x="2217521" y="6315995"/>
                  <a:pt x="2213964" y="6315300"/>
                  <a:pt x="2210094" y="6315300"/>
                </a:cubicBezTo>
                <a:close/>
                <a:moveTo>
                  <a:pt x="2140336" y="6315300"/>
                </a:moveTo>
                <a:cubicBezTo>
                  <a:pt x="2134814" y="6315300"/>
                  <a:pt x="2129957" y="6316056"/>
                  <a:pt x="2125765" y="6317567"/>
                </a:cubicBezTo>
                <a:cubicBezTo>
                  <a:pt x="2121573" y="6319079"/>
                  <a:pt x="2118368" y="6321235"/>
                  <a:pt x="2116151" y="6324037"/>
                </a:cubicBezTo>
                <a:cubicBezTo>
                  <a:pt x="2113934" y="6326838"/>
                  <a:pt x="2112342" y="6330516"/>
                  <a:pt x="2111375" y="6335071"/>
                </a:cubicBezTo>
                <a:lnTo>
                  <a:pt x="2122016" y="6336522"/>
                </a:lnTo>
                <a:cubicBezTo>
                  <a:pt x="2123185" y="6331967"/>
                  <a:pt x="2124989" y="6328793"/>
                  <a:pt x="2127427" y="6326999"/>
                </a:cubicBezTo>
                <a:cubicBezTo>
                  <a:pt x="2129866" y="6325206"/>
                  <a:pt x="2133645" y="6324309"/>
                  <a:pt x="2138764" y="6324309"/>
                </a:cubicBezTo>
                <a:cubicBezTo>
                  <a:pt x="2144246" y="6324309"/>
                  <a:pt x="2148377" y="6325538"/>
                  <a:pt x="2151159" y="6327997"/>
                </a:cubicBezTo>
                <a:cubicBezTo>
                  <a:pt x="2153214" y="6329811"/>
                  <a:pt x="2154242" y="6332935"/>
                  <a:pt x="2154242" y="6337369"/>
                </a:cubicBezTo>
                <a:cubicBezTo>
                  <a:pt x="2154242" y="6337772"/>
                  <a:pt x="2154222" y="6338719"/>
                  <a:pt x="2154182" y="6340210"/>
                </a:cubicBezTo>
                <a:cubicBezTo>
                  <a:pt x="2150030" y="6341661"/>
                  <a:pt x="2143560" y="6342911"/>
                  <a:pt x="2134773" y="6343959"/>
                </a:cubicBezTo>
                <a:cubicBezTo>
                  <a:pt x="2130460" y="6344483"/>
                  <a:pt x="2127236" y="6345027"/>
                  <a:pt x="2125100" y="6345591"/>
                </a:cubicBezTo>
                <a:cubicBezTo>
                  <a:pt x="2122197" y="6346397"/>
                  <a:pt x="2119587" y="6347587"/>
                  <a:pt x="2117270" y="6349159"/>
                </a:cubicBezTo>
                <a:cubicBezTo>
                  <a:pt x="2114952" y="6350731"/>
                  <a:pt x="2113078" y="6352816"/>
                  <a:pt x="2111647" y="6355416"/>
                </a:cubicBezTo>
                <a:cubicBezTo>
                  <a:pt x="2110216" y="6358016"/>
                  <a:pt x="2109500" y="6360888"/>
                  <a:pt x="2109500" y="6364032"/>
                </a:cubicBezTo>
                <a:cubicBezTo>
                  <a:pt x="2109500" y="6369393"/>
                  <a:pt x="2111395" y="6373797"/>
                  <a:pt x="2115184" y="6377243"/>
                </a:cubicBezTo>
                <a:cubicBezTo>
                  <a:pt x="2118973" y="6380689"/>
                  <a:pt x="2124394" y="6382412"/>
                  <a:pt x="2131448" y="6382412"/>
                </a:cubicBezTo>
                <a:cubicBezTo>
                  <a:pt x="2135721" y="6382412"/>
                  <a:pt x="2139721" y="6381707"/>
                  <a:pt x="2143450" y="6380296"/>
                </a:cubicBezTo>
                <a:cubicBezTo>
                  <a:pt x="2147178" y="6378885"/>
                  <a:pt x="2151058" y="6376467"/>
                  <a:pt x="2155089" y="6373041"/>
                </a:cubicBezTo>
                <a:cubicBezTo>
                  <a:pt x="2155411" y="6376064"/>
                  <a:pt x="2156136" y="6378704"/>
                  <a:pt x="2157265" y="6380961"/>
                </a:cubicBezTo>
                <a:lnTo>
                  <a:pt x="2168632" y="6380961"/>
                </a:lnTo>
                <a:cubicBezTo>
                  <a:pt x="2167261" y="6378502"/>
                  <a:pt x="2166344" y="6375933"/>
                  <a:pt x="2165881" y="6373252"/>
                </a:cubicBezTo>
                <a:cubicBezTo>
                  <a:pt x="2165417" y="6370572"/>
                  <a:pt x="2165185" y="6364173"/>
                  <a:pt x="2165185" y="6354056"/>
                </a:cubicBezTo>
                <a:lnTo>
                  <a:pt x="2165185" y="6339545"/>
                </a:lnTo>
                <a:cubicBezTo>
                  <a:pt x="2165185" y="6334708"/>
                  <a:pt x="2165004" y="6331363"/>
                  <a:pt x="2164641" y="6329509"/>
                </a:cubicBezTo>
                <a:cubicBezTo>
                  <a:pt x="2163996" y="6326526"/>
                  <a:pt x="2162868" y="6324057"/>
                  <a:pt x="2161255" y="6322102"/>
                </a:cubicBezTo>
                <a:cubicBezTo>
                  <a:pt x="2159643" y="6320147"/>
                  <a:pt x="2157124" y="6318525"/>
                  <a:pt x="2153698" y="6317235"/>
                </a:cubicBezTo>
                <a:cubicBezTo>
                  <a:pt x="2150272" y="6315945"/>
                  <a:pt x="2145818" y="6315300"/>
                  <a:pt x="2140336" y="6315300"/>
                </a:cubicBezTo>
                <a:close/>
                <a:moveTo>
                  <a:pt x="2076744" y="6315300"/>
                </a:moveTo>
                <a:cubicBezTo>
                  <a:pt x="2067836" y="6315300"/>
                  <a:pt x="2061024" y="6318827"/>
                  <a:pt x="2056309" y="6325881"/>
                </a:cubicBezTo>
                <a:lnTo>
                  <a:pt x="2056309" y="6316751"/>
                </a:lnTo>
                <a:lnTo>
                  <a:pt x="2046514" y="6316751"/>
                </a:lnTo>
                <a:lnTo>
                  <a:pt x="2046514" y="6380961"/>
                </a:lnTo>
                <a:lnTo>
                  <a:pt x="2057397" y="6380961"/>
                </a:lnTo>
                <a:lnTo>
                  <a:pt x="2057397" y="6345894"/>
                </a:lnTo>
                <a:cubicBezTo>
                  <a:pt x="2057397" y="6337671"/>
                  <a:pt x="2059079" y="6332088"/>
                  <a:pt x="2062445" y="6329146"/>
                </a:cubicBezTo>
                <a:cubicBezTo>
                  <a:pt x="2065811" y="6326203"/>
                  <a:pt x="2069811" y="6324732"/>
                  <a:pt x="2074447" y="6324732"/>
                </a:cubicBezTo>
                <a:cubicBezTo>
                  <a:pt x="2077349" y="6324732"/>
                  <a:pt x="2079878" y="6325387"/>
                  <a:pt x="2082035" y="6326697"/>
                </a:cubicBezTo>
                <a:cubicBezTo>
                  <a:pt x="2084191" y="6328007"/>
                  <a:pt x="2085692" y="6329761"/>
                  <a:pt x="2086539" y="6331957"/>
                </a:cubicBezTo>
                <a:cubicBezTo>
                  <a:pt x="2087385" y="6334154"/>
                  <a:pt x="2087809" y="6337469"/>
                  <a:pt x="2087809" y="6341903"/>
                </a:cubicBezTo>
                <a:lnTo>
                  <a:pt x="2087809" y="6380961"/>
                </a:lnTo>
                <a:lnTo>
                  <a:pt x="2098692" y="6380961"/>
                </a:lnTo>
                <a:lnTo>
                  <a:pt x="2098692" y="6341480"/>
                </a:lnTo>
                <a:cubicBezTo>
                  <a:pt x="2098692" y="6336441"/>
                  <a:pt x="2098490" y="6332915"/>
                  <a:pt x="2098087" y="6330899"/>
                </a:cubicBezTo>
                <a:cubicBezTo>
                  <a:pt x="2097442" y="6327796"/>
                  <a:pt x="2096314" y="6325115"/>
                  <a:pt x="2094702" y="6322858"/>
                </a:cubicBezTo>
                <a:cubicBezTo>
                  <a:pt x="2093089" y="6320601"/>
                  <a:pt x="2090661" y="6318777"/>
                  <a:pt x="2087416" y="6317386"/>
                </a:cubicBezTo>
                <a:cubicBezTo>
                  <a:pt x="2084171" y="6315995"/>
                  <a:pt x="2080614" y="6315300"/>
                  <a:pt x="2076744" y="6315300"/>
                </a:cubicBezTo>
                <a:close/>
                <a:moveTo>
                  <a:pt x="2010069" y="6315300"/>
                </a:moveTo>
                <a:cubicBezTo>
                  <a:pt x="2001161" y="6315300"/>
                  <a:pt x="1994349" y="6318827"/>
                  <a:pt x="1989633" y="6325881"/>
                </a:cubicBezTo>
                <a:lnTo>
                  <a:pt x="1989633" y="6316751"/>
                </a:lnTo>
                <a:lnTo>
                  <a:pt x="1979839" y="6316751"/>
                </a:lnTo>
                <a:lnTo>
                  <a:pt x="1979839" y="6380961"/>
                </a:lnTo>
                <a:lnTo>
                  <a:pt x="1990722" y="6380961"/>
                </a:lnTo>
                <a:lnTo>
                  <a:pt x="1990722" y="6345894"/>
                </a:lnTo>
                <a:cubicBezTo>
                  <a:pt x="1990722" y="6337671"/>
                  <a:pt x="1992405" y="6332088"/>
                  <a:pt x="1995770" y="6329146"/>
                </a:cubicBezTo>
                <a:cubicBezTo>
                  <a:pt x="1999136" y="6326203"/>
                  <a:pt x="2003136" y="6324732"/>
                  <a:pt x="2007772" y="6324732"/>
                </a:cubicBezTo>
                <a:cubicBezTo>
                  <a:pt x="2010674" y="6324732"/>
                  <a:pt x="2013203" y="6325387"/>
                  <a:pt x="2015360" y="6326697"/>
                </a:cubicBezTo>
                <a:cubicBezTo>
                  <a:pt x="2017516" y="6328007"/>
                  <a:pt x="2019018" y="6329761"/>
                  <a:pt x="2019864" y="6331957"/>
                </a:cubicBezTo>
                <a:cubicBezTo>
                  <a:pt x="2020710" y="6334154"/>
                  <a:pt x="2021134" y="6337469"/>
                  <a:pt x="2021134" y="6341903"/>
                </a:cubicBezTo>
                <a:lnTo>
                  <a:pt x="2021134" y="6380961"/>
                </a:lnTo>
                <a:lnTo>
                  <a:pt x="2032017" y="6380961"/>
                </a:lnTo>
                <a:lnTo>
                  <a:pt x="2032017" y="6341480"/>
                </a:lnTo>
                <a:cubicBezTo>
                  <a:pt x="2032017" y="6336441"/>
                  <a:pt x="2031815" y="6332915"/>
                  <a:pt x="2031412" y="6330899"/>
                </a:cubicBezTo>
                <a:cubicBezTo>
                  <a:pt x="2030767" y="6327796"/>
                  <a:pt x="2029639" y="6325115"/>
                  <a:pt x="2028026" y="6322858"/>
                </a:cubicBezTo>
                <a:cubicBezTo>
                  <a:pt x="2026414" y="6320601"/>
                  <a:pt x="2023985" y="6318777"/>
                  <a:pt x="2020741" y="6317386"/>
                </a:cubicBezTo>
                <a:cubicBezTo>
                  <a:pt x="2017496" y="6315995"/>
                  <a:pt x="2013939" y="6315300"/>
                  <a:pt x="2010069" y="6315300"/>
                </a:cubicBezTo>
                <a:close/>
                <a:moveTo>
                  <a:pt x="1939525" y="6315300"/>
                </a:moveTo>
                <a:cubicBezTo>
                  <a:pt x="1930657" y="6315300"/>
                  <a:pt x="1923442" y="6318283"/>
                  <a:pt x="1917880" y="6324248"/>
                </a:cubicBezTo>
                <a:cubicBezTo>
                  <a:pt x="1912317" y="6330214"/>
                  <a:pt x="1909536" y="6338598"/>
                  <a:pt x="1909536" y="6349400"/>
                </a:cubicBezTo>
                <a:cubicBezTo>
                  <a:pt x="1909536" y="6359840"/>
                  <a:pt x="1912287" y="6367952"/>
                  <a:pt x="1917789" y="6373736"/>
                </a:cubicBezTo>
                <a:cubicBezTo>
                  <a:pt x="1923291" y="6379520"/>
                  <a:pt x="1930738" y="6382412"/>
                  <a:pt x="1940129" y="6382412"/>
                </a:cubicBezTo>
                <a:cubicBezTo>
                  <a:pt x="1947586" y="6382412"/>
                  <a:pt x="1953713" y="6380598"/>
                  <a:pt x="1958510" y="6376971"/>
                </a:cubicBezTo>
                <a:cubicBezTo>
                  <a:pt x="1963306" y="6373343"/>
                  <a:pt x="1966591" y="6368244"/>
                  <a:pt x="1968365" y="6361674"/>
                </a:cubicBezTo>
                <a:lnTo>
                  <a:pt x="1957119" y="6360283"/>
                </a:lnTo>
                <a:cubicBezTo>
                  <a:pt x="1955466" y="6364879"/>
                  <a:pt x="1953229" y="6368224"/>
                  <a:pt x="1950408" y="6370320"/>
                </a:cubicBezTo>
                <a:cubicBezTo>
                  <a:pt x="1947586" y="6372416"/>
                  <a:pt x="1944180" y="6373464"/>
                  <a:pt x="1940190" y="6373464"/>
                </a:cubicBezTo>
                <a:cubicBezTo>
                  <a:pt x="1934829" y="6373464"/>
                  <a:pt x="1930355" y="6371590"/>
                  <a:pt x="1926767" y="6367841"/>
                </a:cubicBezTo>
                <a:cubicBezTo>
                  <a:pt x="1923180" y="6364093"/>
                  <a:pt x="1921185" y="6358691"/>
                  <a:pt x="1920782" y="6351637"/>
                </a:cubicBezTo>
                <a:lnTo>
                  <a:pt x="1968667" y="6351637"/>
                </a:lnTo>
                <a:cubicBezTo>
                  <a:pt x="1968707" y="6350348"/>
                  <a:pt x="1968728" y="6349380"/>
                  <a:pt x="1968728" y="6348735"/>
                </a:cubicBezTo>
                <a:cubicBezTo>
                  <a:pt x="1968728" y="6338134"/>
                  <a:pt x="1966007" y="6329912"/>
                  <a:pt x="1960565" y="6324067"/>
                </a:cubicBezTo>
                <a:cubicBezTo>
                  <a:pt x="1955124" y="6318222"/>
                  <a:pt x="1948110" y="6315300"/>
                  <a:pt x="1939525" y="6315300"/>
                </a:cubicBezTo>
                <a:close/>
                <a:moveTo>
                  <a:pt x="1805752" y="6315300"/>
                </a:moveTo>
                <a:cubicBezTo>
                  <a:pt x="1800230" y="6315300"/>
                  <a:pt x="1795120" y="6316600"/>
                  <a:pt x="1790425" y="6319200"/>
                </a:cubicBezTo>
                <a:cubicBezTo>
                  <a:pt x="1785729" y="6321800"/>
                  <a:pt x="1782232" y="6325700"/>
                  <a:pt x="1779935" y="6330899"/>
                </a:cubicBezTo>
                <a:cubicBezTo>
                  <a:pt x="1777637" y="6336099"/>
                  <a:pt x="1776488" y="6342165"/>
                  <a:pt x="1776488" y="6349098"/>
                </a:cubicBezTo>
                <a:cubicBezTo>
                  <a:pt x="1776488" y="6359820"/>
                  <a:pt x="1779159" y="6368053"/>
                  <a:pt x="1784499" y="6373797"/>
                </a:cubicBezTo>
                <a:cubicBezTo>
                  <a:pt x="1789840" y="6379540"/>
                  <a:pt x="1796904" y="6382412"/>
                  <a:pt x="1805691" y="6382412"/>
                </a:cubicBezTo>
                <a:cubicBezTo>
                  <a:pt x="1812705" y="6382412"/>
                  <a:pt x="1818620" y="6380326"/>
                  <a:pt x="1823437" y="6376155"/>
                </a:cubicBezTo>
                <a:cubicBezTo>
                  <a:pt x="1828253" y="6371983"/>
                  <a:pt x="1831246" y="6366209"/>
                  <a:pt x="1832415" y="6358832"/>
                </a:cubicBezTo>
                <a:lnTo>
                  <a:pt x="1821714" y="6357442"/>
                </a:lnTo>
                <a:cubicBezTo>
                  <a:pt x="1820948" y="6362883"/>
                  <a:pt x="1819134" y="6366914"/>
                  <a:pt x="1816272" y="6369534"/>
                </a:cubicBezTo>
                <a:cubicBezTo>
                  <a:pt x="1813410" y="6372154"/>
                  <a:pt x="1809843" y="6373464"/>
                  <a:pt x="1805570" y="6373464"/>
                </a:cubicBezTo>
                <a:cubicBezTo>
                  <a:pt x="1800250" y="6373464"/>
                  <a:pt x="1795937" y="6371509"/>
                  <a:pt x="1792632" y="6367599"/>
                </a:cubicBezTo>
                <a:cubicBezTo>
                  <a:pt x="1789326" y="6363689"/>
                  <a:pt x="1787674" y="6357422"/>
                  <a:pt x="1787674" y="6348796"/>
                </a:cubicBezTo>
                <a:cubicBezTo>
                  <a:pt x="1787674" y="6340291"/>
                  <a:pt x="1789387" y="6334073"/>
                  <a:pt x="1792813" y="6330143"/>
                </a:cubicBezTo>
                <a:cubicBezTo>
                  <a:pt x="1796239" y="6326213"/>
                  <a:pt x="1800693" y="6324248"/>
                  <a:pt x="1806175" y="6324248"/>
                </a:cubicBezTo>
                <a:cubicBezTo>
                  <a:pt x="1809803" y="6324248"/>
                  <a:pt x="1812896" y="6325337"/>
                  <a:pt x="1815456" y="6327513"/>
                </a:cubicBezTo>
                <a:cubicBezTo>
                  <a:pt x="1818015" y="6329690"/>
                  <a:pt x="1819799" y="6332935"/>
                  <a:pt x="1820806" y="6337248"/>
                </a:cubicBezTo>
                <a:lnTo>
                  <a:pt x="1831387" y="6335615"/>
                </a:lnTo>
                <a:cubicBezTo>
                  <a:pt x="1830138" y="6329126"/>
                  <a:pt x="1827296" y="6324117"/>
                  <a:pt x="1822862" y="6320591"/>
                </a:cubicBezTo>
                <a:cubicBezTo>
                  <a:pt x="1818428" y="6317064"/>
                  <a:pt x="1812725" y="6315300"/>
                  <a:pt x="1805752" y="6315300"/>
                </a:cubicBezTo>
                <a:close/>
                <a:moveTo>
                  <a:pt x="1515165" y="6315300"/>
                </a:moveTo>
                <a:cubicBezTo>
                  <a:pt x="1511819" y="6315300"/>
                  <a:pt x="1508685" y="6315733"/>
                  <a:pt x="1505763" y="6316600"/>
                </a:cubicBezTo>
                <a:cubicBezTo>
                  <a:pt x="1502840" y="6317467"/>
                  <a:pt x="1500533" y="6318525"/>
                  <a:pt x="1498840" y="6319774"/>
                </a:cubicBezTo>
                <a:cubicBezTo>
                  <a:pt x="1496583" y="6321387"/>
                  <a:pt x="1494799" y="6323412"/>
                  <a:pt x="1493489" y="6325851"/>
                </a:cubicBezTo>
                <a:cubicBezTo>
                  <a:pt x="1492179" y="6328289"/>
                  <a:pt x="1491524" y="6330939"/>
                  <a:pt x="1491524" y="6333801"/>
                </a:cubicBezTo>
                <a:cubicBezTo>
                  <a:pt x="1491524" y="6336945"/>
                  <a:pt x="1492320" y="6339817"/>
                  <a:pt x="1493913" y="6342417"/>
                </a:cubicBezTo>
                <a:cubicBezTo>
                  <a:pt x="1495505" y="6345017"/>
                  <a:pt x="1497843" y="6347052"/>
                  <a:pt x="1500926" y="6348524"/>
                </a:cubicBezTo>
                <a:cubicBezTo>
                  <a:pt x="1504009" y="6349995"/>
                  <a:pt x="1509542" y="6351738"/>
                  <a:pt x="1517523" y="6353754"/>
                </a:cubicBezTo>
                <a:cubicBezTo>
                  <a:pt x="1523448" y="6355245"/>
                  <a:pt x="1527156" y="6356474"/>
                  <a:pt x="1528648" y="6357442"/>
                </a:cubicBezTo>
                <a:cubicBezTo>
                  <a:pt x="1530784" y="6358853"/>
                  <a:pt x="1531852" y="6360787"/>
                  <a:pt x="1531852" y="6363246"/>
                </a:cubicBezTo>
                <a:cubicBezTo>
                  <a:pt x="1531852" y="6365987"/>
                  <a:pt x="1530643" y="6368375"/>
                  <a:pt x="1528224" y="6370411"/>
                </a:cubicBezTo>
                <a:cubicBezTo>
                  <a:pt x="1525806" y="6372446"/>
                  <a:pt x="1522097" y="6373464"/>
                  <a:pt x="1517100" y="6373464"/>
                </a:cubicBezTo>
                <a:cubicBezTo>
                  <a:pt x="1512141" y="6373464"/>
                  <a:pt x="1508282" y="6372315"/>
                  <a:pt x="1505521" y="6370018"/>
                </a:cubicBezTo>
                <a:cubicBezTo>
                  <a:pt x="1502760" y="6367720"/>
                  <a:pt x="1501077" y="6364415"/>
                  <a:pt x="1500472" y="6360102"/>
                </a:cubicBezTo>
                <a:lnTo>
                  <a:pt x="1489710" y="6361795"/>
                </a:lnTo>
                <a:cubicBezTo>
                  <a:pt x="1490920" y="6368607"/>
                  <a:pt x="1493711" y="6373746"/>
                  <a:pt x="1498084" y="6377213"/>
                </a:cubicBezTo>
                <a:cubicBezTo>
                  <a:pt x="1502458" y="6380679"/>
                  <a:pt x="1508816" y="6382412"/>
                  <a:pt x="1517160" y="6382412"/>
                </a:cubicBezTo>
                <a:cubicBezTo>
                  <a:pt x="1522198" y="6382412"/>
                  <a:pt x="1526713" y="6381536"/>
                  <a:pt x="1530703" y="6379782"/>
                </a:cubicBezTo>
                <a:cubicBezTo>
                  <a:pt x="1534694" y="6378029"/>
                  <a:pt x="1537747" y="6375550"/>
                  <a:pt x="1539863" y="6372345"/>
                </a:cubicBezTo>
                <a:cubicBezTo>
                  <a:pt x="1541979" y="6369141"/>
                  <a:pt x="1543037" y="6365725"/>
                  <a:pt x="1543037" y="6362097"/>
                </a:cubicBezTo>
                <a:cubicBezTo>
                  <a:pt x="1543037" y="6358389"/>
                  <a:pt x="1542171" y="6355285"/>
                  <a:pt x="1540437" y="6352786"/>
                </a:cubicBezTo>
                <a:cubicBezTo>
                  <a:pt x="1538704" y="6350287"/>
                  <a:pt x="1536316" y="6348383"/>
                  <a:pt x="1533273" y="6347073"/>
                </a:cubicBezTo>
                <a:cubicBezTo>
                  <a:pt x="1530230" y="6345763"/>
                  <a:pt x="1524859" y="6344080"/>
                  <a:pt x="1517160" y="6342024"/>
                </a:cubicBezTo>
                <a:cubicBezTo>
                  <a:pt x="1511839" y="6340573"/>
                  <a:pt x="1508635" y="6339646"/>
                  <a:pt x="1507547" y="6339243"/>
                </a:cubicBezTo>
                <a:cubicBezTo>
                  <a:pt x="1505652" y="6338477"/>
                  <a:pt x="1504261" y="6337510"/>
                  <a:pt x="1503375" y="6336341"/>
                </a:cubicBezTo>
                <a:cubicBezTo>
                  <a:pt x="1502488" y="6335212"/>
                  <a:pt x="1502044" y="6333942"/>
                  <a:pt x="1502044" y="6332532"/>
                </a:cubicBezTo>
                <a:cubicBezTo>
                  <a:pt x="1502044" y="6330315"/>
                  <a:pt x="1503113" y="6328380"/>
                  <a:pt x="1505249" y="6326727"/>
                </a:cubicBezTo>
                <a:cubicBezTo>
                  <a:pt x="1507385" y="6325075"/>
                  <a:pt x="1510953" y="6324248"/>
                  <a:pt x="1515951" y="6324248"/>
                </a:cubicBezTo>
                <a:cubicBezTo>
                  <a:pt x="1520183" y="6324248"/>
                  <a:pt x="1523458" y="6325176"/>
                  <a:pt x="1525776" y="6327030"/>
                </a:cubicBezTo>
                <a:cubicBezTo>
                  <a:pt x="1528093" y="6328884"/>
                  <a:pt x="1529494" y="6331463"/>
                  <a:pt x="1529978" y="6334769"/>
                </a:cubicBezTo>
                <a:lnTo>
                  <a:pt x="1540619" y="6333318"/>
                </a:lnTo>
                <a:cubicBezTo>
                  <a:pt x="1539934" y="6329166"/>
                  <a:pt x="1538684" y="6325851"/>
                  <a:pt x="1536870" y="6323372"/>
                </a:cubicBezTo>
                <a:cubicBezTo>
                  <a:pt x="1535056" y="6320893"/>
                  <a:pt x="1532245" y="6318928"/>
                  <a:pt x="1528436" y="6317477"/>
                </a:cubicBezTo>
                <a:cubicBezTo>
                  <a:pt x="1524627" y="6316026"/>
                  <a:pt x="1520203" y="6315300"/>
                  <a:pt x="1515165" y="6315300"/>
                </a:cubicBezTo>
                <a:close/>
                <a:moveTo>
                  <a:pt x="1479544" y="6315300"/>
                </a:moveTo>
                <a:cubicBezTo>
                  <a:pt x="1477004" y="6315300"/>
                  <a:pt x="1474676" y="6316026"/>
                  <a:pt x="1472560" y="6317477"/>
                </a:cubicBezTo>
                <a:cubicBezTo>
                  <a:pt x="1470444" y="6318928"/>
                  <a:pt x="1468136" y="6321931"/>
                  <a:pt x="1465638" y="6326486"/>
                </a:cubicBezTo>
                <a:lnTo>
                  <a:pt x="1465638" y="6316751"/>
                </a:lnTo>
                <a:lnTo>
                  <a:pt x="1455843" y="6316751"/>
                </a:lnTo>
                <a:lnTo>
                  <a:pt x="1455843" y="6380961"/>
                </a:lnTo>
                <a:lnTo>
                  <a:pt x="1466726" y="6380961"/>
                </a:lnTo>
                <a:lnTo>
                  <a:pt x="1466726" y="6347345"/>
                </a:lnTo>
                <a:cubicBezTo>
                  <a:pt x="1466726" y="6342750"/>
                  <a:pt x="1467330" y="6338517"/>
                  <a:pt x="1468540" y="6334648"/>
                </a:cubicBezTo>
                <a:cubicBezTo>
                  <a:pt x="1469346" y="6332108"/>
                  <a:pt x="1470696" y="6330123"/>
                  <a:pt x="1472590" y="6328692"/>
                </a:cubicBezTo>
                <a:cubicBezTo>
                  <a:pt x="1474485" y="6327261"/>
                  <a:pt x="1476621" y="6326546"/>
                  <a:pt x="1479000" y="6326546"/>
                </a:cubicBezTo>
                <a:cubicBezTo>
                  <a:pt x="1481660" y="6326546"/>
                  <a:pt x="1484320" y="6327332"/>
                  <a:pt x="1486980" y="6328904"/>
                </a:cubicBezTo>
                <a:lnTo>
                  <a:pt x="1490729" y="6318807"/>
                </a:lnTo>
                <a:cubicBezTo>
                  <a:pt x="1486940" y="6316469"/>
                  <a:pt x="1483212" y="6315300"/>
                  <a:pt x="1479544" y="6315300"/>
                </a:cubicBezTo>
                <a:close/>
                <a:moveTo>
                  <a:pt x="1416436" y="6315300"/>
                </a:moveTo>
                <a:cubicBezTo>
                  <a:pt x="1410914" y="6315300"/>
                  <a:pt x="1406057" y="6316056"/>
                  <a:pt x="1401865" y="6317567"/>
                </a:cubicBezTo>
                <a:cubicBezTo>
                  <a:pt x="1397673" y="6319079"/>
                  <a:pt x="1394468" y="6321235"/>
                  <a:pt x="1392251" y="6324037"/>
                </a:cubicBezTo>
                <a:cubicBezTo>
                  <a:pt x="1390034" y="6326838"/>
                  <a:pt x="1388442" y="6330516"/>
                  <a:pt x="1387475" y="6335071"/>
                </a:cubicBezTo>
                <a:lnTo>
                  <a:pt x="1398116" y="6336522"/>
                </a:lnTo>
                <a:cubicBezTo>
                  <a:pt x="1399285" y="6331967"/>
                  <a:pt x="1401089" y="6328793"/>
                  <a:pt x="1403527" y="6326999"/>
                </a:cubicBezTo>
                <a:cubicBezTo>
                  <a:pt x="1405966" y="6325206"/>
                  <a:pt x="1409745" y="6324309"/>
                  <a:pt x="1414864" y="6324309"/>
                </a:cubicBezTo>
                <a:cubicBezTo>
                  <a:pt x="1420345" y="6324309"/>
                  <a:pt x="1424477" y="6325538"/>
                  <a:pt x="1427258" y="6327997"/>
                </a:cubicBezTo>
                <a:cubicBezTo>
                  <a:pt x="1429314" y="6329811"/>
                  <a:pt x="1430342" y="6332935"/>
                  <a:pt x="1430342" y="6337369"/>
                </a:cubicBezTo>
                <a:cubicBezTo>
                  <a:pt x="1430342" y="6337772"/>
                  <a:pt x="1430322" y="6338719"/>
                  <a:pt x="1430281" y="6340210"/>
                </a:cubicBezTo>
                <a:cubicBezTo>
                  <a:pt x="1426130" y="6341661"/>
                  <a:pt x="1419660" y="6342911"/>
                  <a:pt x="1410873" y="6343959"/>
                </a:cubicBezTo>
                <a:cubicBezTo>
                  <a:pt x="1406561" y="6344483"/>
                  <a:pt x="1403336" y="6345027"/>
                  <a:pt x="1401199" y="6345591"/>
                </a:cubicBezTo>
                <a:cubicBezTo>
                  <a:pt x="1398297" y="6346397"/>
                  <a:pt x="1395687" y="6347587"/>
                  <a:pt x="1393370" y="6349159"/>
                </a:cubicBezTo>
                <a:cubicBezTo>
                  <a:pt x="1391052" y="6350731"/>
                  <a:pt x="1389178" y="6352816"/>
                  <a:pt x="1387747" y="6355416"/>
                </a:cubicBezTo>
                <a:cubicBezTo>
                  <a:pt x="1386316" y="6358016"/>
                  <a:pt x="1385600" y="6360888"/>
                  <a:pt x="1385600" y="6364032"/>
                </a:cubicBezTo>
                <a:cubicBezTo>
                  <a:pt x="1385600" y="6369393"/>
                  <a:pt x="1387495" y="6373797"/>
                  <a:pt x="1391284" y="6377243"/>
                </a:cubicBezTo>
                <a:cubicBezTo>
                  <a:pt x="1395073" y="6380689"/>
                  <a:pt x="1400494" y="6382412"/>
                  <a:pt x="1407548" y="6382412"/>
                </a:cubicBezTo>
                <a:cubicBezTo>
                  <a:pt x="1411821" y="6382412"/>
                  <a:pt x="1415821" y="6381707"/>
                  <a:pt x="1419550" y="6380296"/>
                </a:cubicBezTo>
                <a:cubicBezTo>
                  <a:pt x="1423278" y="6378885"/>
                  <a:pt x="1427158" y="6376467"/>
                  <a:pt x="1431188" y="6373041"/>
                </a:cubicBezTo>
                <a:cubicBezTo>
                  <a:pt x="1431511" y="6376064"/>
                  <a:pt x="1432236" y="6378704"/>
                  <a:pt x="1433365" y="6380961"/>
                </a:cubicBezTo>
                <a:lnTo>
                  <a:pt x="1444732" y="6380961"/>
                </a:lnTo>
                <a:cubicBezTo>
                  <a:pt x="1443361" y="6378502"/>
                  <a:pt x="1442444" y="6375933"/>
                  <a:pt x="1441981" y="6373252"/>
                </a:cubicBezTo>
                <a:cubicBezTo>
                  <a:pt x="1441517" y="6370572"/>
                  <a:pt x="1441285" y="6364173"/>
                  <a:pt x="1441285" y="6354056"/>
                </a:cubicBezTo>
                <a:lnTo>
                  <a:pt x="1441285" y="6339545"/>
                </a:lnTo>
                <a:cubicBezTo>
                  <a:pt x="1441285" y="6334708"/>
                  <a:pt x="1441104" y="6331363"/>
                  <a:pt x="1440741" y="6329509"/>
                </a:cubicBezTo>
                <a:cubicBezTo>
                  <a:pt x="1440096" y="6326526"/>
                  <a:pt x="1438968" y="6324057"/>
                  <a:pt x="1437355" y="6322102"/>
                </a:cubicBezTo>
                <a:cubicBezTo>
                  <a:pt x="1435743" y="6320147"/>
                  <a:pt x="1433224" y="6318525"/>
                  <a:pt x="1429798" y="6317235"/>
                </a:cubicBezTo>
                <a:cubicBezTo>
                  <a:pt x="1426372" y="6315945"/>
                  <a:pt x="1421917" y="6315300"/>
                  <a:pt x="1416436" y="6315300"/>
                </a:cubicBezTo>
                <a:close/>
                <a:moveTo>
                  <a:pt x="1167698" y="6315300"/>
                </a:moveTo>
                <a:cubicBezTo>
                  <a:pt x="1159757" y="6315300"/>
                  <a:pt x="1153026" y="6317678"/>
                  <a:pt x="1147503" y="6322435"/>
                </a:cubicBezTo>
                <a:cubicBezTo>
                  <a:pt x="1140893" y="6328158"/>
                  <a:pt x="1137588" y="6336965"/>
                  <a:pt x="1137588" y="6348856"/>
                </a:cubicBezTo>
                <a:cubicBezTo>
                  <a:pt x="1137588" y="6359699"/>
                  <a:pt x="1140359" y="6368002"/>
                  <a:pt x="1145901" y="6373766"/>
                </a:cubicBezTo>
                <a:cubicBezTo>
                  <a:pt x="1151443" y="6379530"/>
                  <a:pt x="1158709" y="6382412"/>
                  <a:pt x="1167698" y="6382412"/>
                </a:cubicBezTo>
                <a:cubicBezTo>
                  <a:pt x="1173300" y="6382412"/>
                  <a:pt x="1178470" y="6381102"/>
                  <a:pt x="1183206" y="6378482"/>
                </a:cubicBezTo>
                <a:cubicBezTo>
                  <a:pt x="1187942" y="6375862"/>
                  <a:pt x="1191550" y="6372184"/>
                  <a:pt x="1194028" y="6367448"/>
                </a:cubicBezTo>
                <a:cubicBezTo>
                  <a:pt x="1196507" y="6362712"/>
                  <a:pt x="1197747" y="6356212"/>
                  <a:pt x="1197747" y="6347949"/>
                </a:cubicBezTo>
                <a:cubicBezTo>
                  <a:pt x="1197747" y="6337751"/>
                  <a:pt x="1194945" y="6329761"/>
                  <a:pt x="1189343" y="6323976"/>
                </a:cubicBezTo>
                <a:cubicBezTo>
                  <a:pt x="1183740" y="6318192"/>
                  <a:pt x="1176525" y="6315300"/>
                  <a:pt x="1167698" y="6315300"/>
                </a:cubicBezTo>
                <a:close/>
                <a:moveTo>
                  <a:pt x="1057965" y="6315300"/>
                </a:moveTo>
                <a:cubicBezTo>
                  <a:pt x="1054619" y="6315300"/>
                  <a:pt x="1051485" y="6315733"/>
                  <a:pt x="1048563" y="6316600"/>
                </a:cubicBezTo>
                <a:cubicBezTo>
                  <a:pt x="1045641" y="6317467"/>
                  <a:pt x="1043333" y="6318525"/>
                  <a:pt x="1041640" y="6319774"/>
                </a:cubicBezTo>
                <a:cubicBezTo>
                  <a:pt x="1039383" y="6321387"/>
                  <a:pt x="1037599" y="6323412"/>
                  <a:pt x="1036289" y="6325851"/>
                </a:cubicBezTo>
                <a:cubicBezTo>
                  <a:pt x="1034979" y="6328289"/>
                  <a:pt x="1034324" y="6330939"/>
                  <a:pt x="1034324" y="6333801"/>
                </a:cubicBezTo>
                <a:cubicBezTo>
                  <a:pt x="1034324" y="6336945"/>
                  <a:pt x="1035120" y="6339817"/>
                  <a:pt x="1036712" y="6342417"/>
                </a:cubicBezTo>
                <a:cubicBezTo>
                  <a:pt x="1038304" y="6345017"/>
                  <a:pt x="1040642" y="6347052"/>
                  <a:pt x="1043726" y="6348524"/>
                </a:cubicBezTo>
                <a:cubicBezTo>
                  <a:pt x="1046809" y="6349995"/>
                  <a:pt x="1052342" y="6351738"/>
                  <a:pt x="1060323" y="6353754"/>
                </a:cubicBezTo>
                <a:cubicBezTo>
                  <a:pt x="1066248" y="6355245"/>
                  <a:pt x="1069956" y="6356474"/>
                  <a:pt x="1071447" y="6357442"/>
                </a:cubicBezTo>
                <a:cubicBezTo>
                  <a:pt x="1073584" y="6358853"/>
                  <a:pt x="1074652" y="6360787"/>
                  <a:pt x="1074652" y="6363246"/>
                </a:cubicBezTo>
                <a:cubicBezTo>
                  <a:pt x="1074652" y="6365987"/>
                  <a:pt x="1073443" y="6368375"/>
                  <a:pt x="1071024" y="6370411"/>
                </a:cubicBezTo>
                <a:cubicBezTo>
                  <a:pt x="1068606" y="6372446"/>
                  <a:pt x="1064898" y="6373464"/>
                  <a:pt x="1059899" y="6373464"/>
                </a:cubicBezTo>
                <a:cubicBezTo>
                  <a:pt x="1054942" y="6373464"/>
                  <a:pt x="1051082" y="6372315"/>
                  <a:pt x="1048321" y="6370018"/>
                </a:cubicBezTo>
                <a:cubicBezTo>
                  <a:pt x="1045560" y="6367720"/>
                  <a:pt x="1043877" y="6364415"/>
                  <a:pt x="1043272" y="6360102"/>
                </a:cubicBezTo>
                <a:lnTo>
                  <a:pt x="1032510" y="6361795"/>
                </a:lnTo>
                <a:cubicBezTo>
                  <a:pt x="1033720" y="6368607"/>
                  <a:pt x="1036511" y="6373746"/>
                  <a:pt x="1040884" y="6377213"/>
                </a:cubicBezTo>
                <a:cubicBezTo>
                  <a:pt x="1045258" y="6380679"/>
                  <a:pt x="1051616" y="6382412"/>
                  <a:pt x="1059960" y="6382412"/>
                </a:cubicBezTo>
                <a:cubicBezTo>
                  <a:pt x="1064998" y="6382412"/>
                  <a:pt x="1069513" y="6381536"/>
                  <a:pt x="1073503" y="6379782"/>
                </a:cubicBezTo>
                <a:cubicBezTo>
                  <a:pt x="1077494" y="6378029"/>
                  <a:pt x="1080547" y="6375550"/>
                  <a:pt x="1082663" y="6372345"/>
                </a:cubicBezTo>
                <a:cubicBezTo>
                  <a:pt x="1084779" y="6369141"/>
                  <a:pt x="1085837" y="6365725"/>
                  <a:pt x="1085837" y="6362097"/>
                </a:cubicBezTo>
                <a:cubicBezTo>
                  <a:pt x="1085837" y="6358389"/>
                  <a:pt x="1084971" y="6355285"/>
                  <a:pt x="1083237" y="6352786"/>
                </a:cubicBezTo>
                <a:cubicBezTo>
                  <a:pt x="1081504" y="6350287"/>
                  <a:pt x="1079116" y="6348383"/>
                  <a:pt x="1076073" y="6347073"/>
                </a:cubicBezTo>
                <a:cubicBezTo>
                  <a:pt x="1073030" y="6345763"/>
                  <a:pt x="1067659" y="6344080"/>
                  <a:pt x="1059960" y="6342024"/>
                </a:cubicBezTo>
                <a:cubicBezTo>
                  <a:pt x="1054639" y="6340573"/>
                  <a:pt x="1051435" y="6339646"/>
                  <a:pt x="1050346" y="6339243"/>
                </a:cubicBezTo>
                <a:cubicBezTo>
                  <a:pt x="1048452" y="6338477"/>
                  <a:pt x="1047061" y="6337510"/>
                  <a:pt x="1046175" y="6336341"/>
                </a:cubicBezTo>
                <a:cubicBezTo>
                  <a:pt x="1045288" y="6335212"/>
                  <a:pt x="1044844" y="6333942"/>
                  <a:pt x="1044844" y="6332532"/>
                </a:cubicBezTo>
                <a:cubicBezTo>
                  <a:pt x="1044844" y="6330315"/>
                  <a:pt x="1045913" y="6328380"/>
                  <a:pt x="1048049" y="6326727"/>
                </a:cubicBezTo>
                <a:cubicBezTo>
                  <a:pt x="1050185" y="6325075"/>
                  <a:pt x="1053753" y="6324248"/>
                  <a:pt x="1058751" y="6324248"/>
                </a:cubicBezTo>
                <a:cubicBezTo>
                  <a:pt x="1062983" y="6324248"/>
                  <a:pt x="1066258" y="6325176"/>
                  <a:pt x="1068576" y="6327030"/>
                </a:cubicBezTo>
                <a:cubicBezTo>
                  <a:pt x="1070893" y="6328884"/>
                  <a:pt x="1072294" y="6331463"/>
                  <a:pt x="1072778" y="6334769"/>
                </a:cubicBezTo>
                <a:lnTo>
                  <a:pt x="1083419" y="6333318"/>
                </a:lnTo>
                <a:cubicBezTo>
                  <a:pt x="1082734" y="6329166"/>
                  <a:pt x="1081484" y="6325851"/>
                  <a:pt x="1079670" y="6323372"/>
                </a:cubicBezTo>
                <a:cubicBezTo>
                  <a:pt x="1077856" y="6320893"/>
                  <a:pt x="1075045" y="6318928"/>
                  <a:pt x="1071236" y="6317477"/>
                </a:cubicBezTo>
                <a:cubicBezTo>
                  <a:pt x="1067427" y="6316026"/>
                  <a:pt x="1063003" y="6315300"/>
                  <a:pt x="1057965" y="6315300"/>
                </a:cubicBezTo>
                <a:close/>
                <a:moveTo>
                  <a:pt x="991290" y="6315300"/>
                </a:moveTo>
                <a:cubicBezTo>
                  <a:pt x="987944" y="6315300"/>
                  <a:pt x="984810" y="6315733"/>
                  <a:pt x="981888" y="6316600"/>
                </a:cubicBezTo>
                <a:cubicBezTo>
                  <a:pt x="978965" y="6317467"/>
                  <a:pt x="976658" y="6318525"/>
                  <a:pt x="974965" y="6319774"/>
                </a:cubicBezTo>
                <a:cubicBezTo>
                  <a:pt x="972708" y="6321387"/>
                  <a:pt x="970924" y="6323412"/>
                  <a:pt x="969614" y="6325851"/>
                </a:cubicBezTo>
                <a:cubicBezTo>
                  <a:pt x="968304" y="6328289"/>
                  <a:pt x="967649" y="6330939"/>
                  <a:pt x="967649" y="6333801"/>
                </a:cubicBezTo>
                <a:cubicBezTo>
                  <a:pt x="967649" y="6336945"/>
                  <a:pt x="968445" y="6339817"/>
                  <a:pt x="970037" y="6342417"/>
                </a:cubicBezTo>
                <a:cubicBezTo>
                  <a:pt x="971630" y="6345017"/>
                  <a:pt x="973967" y="6347052"/>
                  <a:pt x="977051" y="6348524"/>
                </a:cubicBezTo>
                <a:cubicBezTo>
                  <a:pt x="980134" y="6349995"/>
                  <a:pt x="985667" y="6351738"/>
                  <a:pt x="993648" y="6353754"/>
                </a:cubicBezTo>
                <a:cubicBezTo>
                  <a:pt x="999573" y="6355245"/>
                  <a:pt x="1003281" y="6356474"/>
                  <a:pt x="1004772" y="6357442"/>
                </a:cubicBezTo>
                <a:cubicBezTo>
                  <a:pt x="1006909" y="6358853"/>
                  <a:pt x="1007977" y="6360787"/>
                  <a:pt x="1007977" y="6363246"/>
                </a:cubicBezTo>
                <a:cubicBezTo>
                  <a:pt x="1007977" y="6365987"/>
                  <a:pt x="1006768" y="6368375"/>
                  <a:pt x="1004349" y="6370411"/>
                </a:cubicBezTo>
                <a:cubicBezTo>
                  <a:pt x="1001931" y="6372446"/>
                  <a:pt x="998222" y="6373464"/>
                  <a:pt x="993224" y="6373464"/>
                </a:cubicBezTo>
                <a:cubicBezTo>
                  <a:pt x="988266" y="6373464"/>
                  <a:pt x="984407" y="6372315"/>
                  <a:pt x="981646" y="6370018"/>
                </a:cubicBezTo>
                <a:cubicBezTo>
                  <a:pt x="978885" y="6367720"/>
                  <a:pt x="977202" y="6364415"/>
                  <a:pt x="976598" y="6360102"/>
                </a:cubicBezTo>
                <a:lnTo>
                  <a:pt x="965835" y="6361795"/>
                </a:lnTo>
                <a:cubicBezTo>
                  <a:pt x="967044" y="6368607"/>
                  <a:pt x="969836" y="6373746"/>
                  <a:pt x="974209" y="6377213"/>
                </a:cubicBezTo>
                <a:cubicBezTo>
                  <a:pt x="978583" y="6380679"/>
                  <a:pt x="984941" y="6382412"/>
                  <a:pt x="993285" y="6382412"/>
                </a:cubicBezTo>
                <a:cubicBezTo>
                  <a:pt x="998323" y="6382412"/>
                  <a:pt x="1002838" y="6381536"/>
                  <a:pt x="1006828" y="6379782"/>
                </a:cubicBezTo>
                <a:cubicBezTo>
                  <a:pt x="1010819" y="6378029"/>
                  <a:pt x="1013872" y="6375550"/>
                  <a:pt x="1015988" y="6372345"/>
                </a:cubicBezTo>
                <a:cubicBezTo>
                  <a:pt x="1018104" y="6369141"/>
                  <a:pt x="1019162" y="6365725"/>
                  <a:pt x="1019162" y="6362097"/>
                </a:cubicBezTo>
                <a:cubicBezTo>
                  <a:pt x="1019162" y="6358389"/>
                  <a:pt x="1018296" y="6355285"/>
                  <a:pt x="1016562" y="6352786"/>
                </a:cubicBezTo>
                <a:cubicBezTo>
                  <a:pt x="1014829" y="6350287"/>
                  <a:pt x="1012441" y="6348383"/>
                  <a:pt x="1009398" y="6347073"/>
                </a:cubicBezTo>
                <a:cubicBezTo>
                  <a:pt x="1006354" y="6345763"/>
                  <a:pt x="1000984" y="6344080"/>
                  <a:pt x="993285" y="6342024"/>
                </a:cubicBezTo>
                <a:cubicBezTo>
                  <a:pt x="987964" y="6340573"/>
                  <a:pt x="984760" y="6339646"/>
                  <a:pt x="983671" y="6339243"/>
                </a:cubicBezTo>
                <a:cubicBezTo>
                  <a:pt x="981777" y="6338477"/>
                  <a:pt x="980386" y="6337510"/>
                  <a:pt x="979500" y="6336341"/>
                </a:cubicBezTo>
                <a:cubicBezTo>
                  <a:pt x="978613" y="6335212"/>
                  <a:pt x="978170" y="6333942"/>
                  <a:pt x="978170" y="6332532"/>
                </a:cubicBezTo>
                <a:cubicBezTo>
                  <a:pt x="978170" y="6330315"/>
                  <a:pt x="979238" y="6328380"/>
                  <a:pt x="981374" y="6326727"/>
                </a:cubicBezTo>
                <a:cubicBezTo>
                  <a:pt x="983510" y="6325075"/>
                  <a:pt x="987077" y="6324248"/>
                  <a:pt x="992076" y="6324248"/>
                </a:cubicBezTo>
                <a:cubicBezTo>
                  <a:pt x="996308" y="6324248"/>
                  <a:pt x="999583" y="6325176"/>
                  <a:pt x="1001900" y="6327030"/>
                </a:cubicBezTo>
                <a:cubicBezTo>
                  <a:pt x="1004218" y="6328884"/>
                  <a:pt x="1005619" y="6331463"/>
                  <a:pt x="1006103" y="6334769"/>
                </a:cubicBezTo>
                <a:lnTo>
                  <a:pt x="1016744" y="6333318"/>
                </a:lnTo>
                <a:cubicBezTo>
                  <a:pt x="1016059" y="6329166"/>
                  <a:pt x="1014809" y="6325851"/>
                  <a:pt x="1012995" y="6323372"/>
                </a:cubicBezTo>
                <a:cubicBezTo>
                  <a:pt x="1011181" y="6320893"/>
                  <a:pt x="1008370" y="6318928"/>
                  <a:pt x="1004561" y="6317477"/>
                </a:cubicBezTo>
                <a:cubicBezTo>
                  <a:pt x="1000752" y="6316026"/>
                  <a:pt x="996328" y="6315300"/>
                  <a:pt x="991290" y="6315300"/>
                </a:cubicBezTo>
                <a:close/>
                <a:moveTo>
                  <a:pt x="929875" y="6315300"/>
                </a:moveTo>
                <a:cubicBezTo>
                  <a:pt x="921007" y="6315300"/>
                  <a:pt x="913792" y="6318283"/>
                  <a:pt x="908229" y="6324248"/>
                </a:cubicBezTo>
                <a:cubicBezTo>
                  <a:pt x="902667" y="6330214"/>
                  <a:pt x="899886" y="6338598"/>
                  <a:pt x="899886" y="6349400"/>
                </a:cubicBezTo>
                <a:cubicBezTo>
                  <a:pt x="899886" y="6359840"/>
                  <a:pt x="902637" y="6367952"/>
                  <a:pt x="908139" y="6373736"/>
                </a:cubicBezTo>
                <a:cubicBezTo>
                  <a:pt x="913641" y="6379520"/>
                  <a:pt x="921088" y="6382412"/>
                  <a:pt x="930479" y="6382412"/>
                </a:cubicBezTo>
                <a:cubicBezTo>
                  <a:pt x="937936" y="6382412"/>
                  <a:pt x="944063" y="6380598"/>
                  <a:pt x="948860" y="6376971"/>
                </a:cubicBezTo>
                <a:cubicBezTo>
                  <a:pt x="953656" y="6373343"/>
                  <a:pt x="956941" y="6368244"/>
                  <a:pt x="958715" y="6361674"/>
                </a:cubicBezTo>
                <a:lnTo>
                  <a:pt x="947469" y="6360283"/>
                </a:lnTo>
                <a:cubicBezTo>
                  <a:pt x="945816" y="6364879"/>
                  <a:pt x="943579" y="6368224"/>
                  <a:pt x="940758" y="6370320"/>
                </a:cubicBezTo>
                <a:cubicBezTo>
                  <a:pt x="937936" y="6372416"/>
                  <a:pt x="934530" y="6373464"/>
                  <a:pt x="930540" y="6373464"/>
                </a:cubicBezTo>
                <a:cubicBezTo>
                  <a:pt x="925179" y="6373464"/>
                  <a:pt x="920705" y="6371590"/>
                  <a:pt x="917117" y="6367841"/>
                </a:cubicBezTo>
                <a:cubicBezTo>
                  <a:pt x="913530" y="6364093"/>
                  <a:pt x="911535" y="6358691"/>
                  <a:pt x="911132" y="6351637"/>
                </a:cubicBezTo>
                <a:lnTo>
                  <a:pt x="959017" y="6351637"/>
                </a:lnTo>
                <a:cubicBezTo>
                  <a:pt x="959057" y="6350348"/>
                  <a:pt x="959078" y="6349380"/>
                  <a:pt x="959078" y="6348735"/>
                </a:cubicBezTo>
                <a:cubicBezTo>
                  <a:pt x="959078" y="6338134"/>
                  <a:pt x="956357" y="6329912"/>
                  <a:pt x="950915" y="6324067"/>
                </a:cubicBezTo>
                <a:cubicBezTo>
                  <a:pt x="945474" y="6318222"/>
                  <a:pt x="938460" y="6315300"/>
                  <a:pt x="929875" y="6315300"/>
                </a:cubicBezTo>
                <a:close/>
                <a:moveTo>
                  <a:pt x="867069" y="6315300"/>
                </a:moveTo>
                <a:cubicBezTo>
                  <a:pt x="858161" y="6315300"/>
                  <a:pt x="851349" y="6318827"/>
                  <a:pt x="846633" y="6325881"/>
                </a:cubicBezTo>
                <a:lnTo>
                  <a:pt x="846633" y="6316751"/>
                </a:lnTo>
                <a:lnTo>
                  <a:pt x="836839" y="6316751"/>
                </a:lnTo>
                <a:lnTo>
                  <a:pt x="836839" y="6380961"/>
                </a:lnTo>
                <a:lnTo>
                  <a:pt x="847722" y="6380961"/>
                </a:lnTo>
                <a:lnTo>
                  <a:pt x="847722" y="6345894"/>
                </a:lnTo>
                <a:cubicBezTo>
                  <a:pt x="847722" y="6337671"/>
                  <a:pt x="849405" y="6332088"/>
                  <a:pt x="852770" y="6329146"/>
                </a:cubicBezTo>
                <a:cubicBezTo>
                  <a:pt x="856136" y="6326203"/>
                  <a:pt x="860136" y="6324732"/>
                  <a:pt x="864772" y="6324732"/>
                </a:cubicBezTo>
                <a:cubicBezTo>
                  <a:pt x="867674" y="6324732"/>
                  <a:pt x="870203" y="6325387"/>
                  <a:pt x="872360" y="6326697"/>
                </a:cubicBezTo>
                <a:cubicBezTo>
                  <a:pt x="874516" y="6328007"/>
                  <a:pt x="876018" y="6329761"/>
                  <a:pt x="876864" y="6331957"/>
                </a:cubicBezTo>
                <a:cubicBezTo>
                  <a:pt x="877710" y="6334154"/>
                  <a:pt x="878134" y="6337469"/>
                  <a:pt x="878134" y="6341903"/>
                </a:cubicBezTo>
                <a:lnTo>
                  <a:pt x="878134" y="6380961"/>
                </a:lnTo>
                <a:lnTo>
                  <a:pt x="889017" y="6380961"/>
                </a:lnTo>
                <a:lnTo>
                  <a:pt x="889017" y="6341480"/>
                </a:lnTo>
                <a:cubicBezTo>
                  <a:pt x="889017" y="6336441"/>
                  <a:pt x="888815" y="6332915"/>
                  <a:pt x="888412" y="6330899"/>
                </a:cubicBezTo>
                <a:cubicBezTo>
                  <a:pt x="887767" y="6327796"/>
                  <a:pt x="886639" y="6325115"/>
                  <a:pt x="885026" y="6322858"/>
                </a:cubicBezTo>
                <a:cubicBezTo>
                  <a:pt x="883414" y="6320601"/>
                  <a:pt x="880985" y="6318777"/>
                  <a:pt x="877741" y="6317386"/>
                </a:cubicBezTo>
                <a:cubicBezTo>
                  <a:pt x="874496" y="6315995"/>
                  <a:pt x="870939" y="6315300"/>
                  <a:pt x="867069" y="6315300"/>
                </a:cubicBezTo>
                <a:close/>
                <a:moveTo>
                  <a:pt x="762690" y="6315300"/>
                </a:moveTo>
                <a:cubicBezTo>
                  <a:pt x="759344" y="6315300"/>
                  <a:pt x="756210" y="6315733"/>
                  <a:pt x="753288" y="6316600"/>
                </a:cubicBezTo>
                <a:cubicBezTo>
                  <a:pt x="750366" y="6317467"/>
                  <a:pt x="748058" y="6318525"/>
                  <a:pt x="746365" y="6319774"/>
                </a:cubicBezTo>
                <a:cubicBezTo>
                  <a:pt x="744108" y="6321387"/>
                  <a:pt x="742324" y="6323412"/>
                  <a:pt x="741014" y="6325851"/>
                </a:cubicBezTo>
                <a:cubicBezTo>
                  <a:pt x="739704" y="6328289"/>
                  <a:pt x="739049" y="6330939"/>
                  <a:pt x="739049" y="6333801"/>
                </a:cubicBezTo>
                <a:cubicBezTo>
                  <a:pt x="739049" y="6336945"/>
                  <a:pt x="739845" y="6339817"/>
                  <a:pt x="741437" y="6342417"/>
                </a:cubicBezTo>
                <a:cubicBezTo>
                  <a:pt x="743030" y="6345017"/>
                  <a:pt x="745367" y="6347052"/>
                  <a:pt x="748451" y="6348524"/>
                </a:cubicBezTo>
                <a:cubicBezTo>
                  <a:pt x="751534" y="6349995"/>
                  <a:pt x="757067" y="6351738"/>
                  <a:pt x="765048" y="6353754"/>
                </a:cubicBezTo>
                <a:cubicBezTo>
                  <a:pt x="770973" y="6355245"/>
                  <a:pt x="774681" y="6356474"/>
                  <a:pt x="776172" y="6357442"/>
                </a:cubicBezTo>
                <a:cubicBezTo>
                  <a:pt x="778309" y="6358853"/>
                  <a:pt x="779377" y="6360787"/>
                  <a:pt x="779377" y="6363246"/>
                </a:cubicBezTo>
                <a:cubicBezTo>
                  <a:pt x="779377" y="6365987"/>
                  <a:pt x="778168" y="6368375"/>
                  <a:pt x="775749" y="6370411"/>
                </a:cubicBezTo>
                <a:cubicBezTo>
                  <a:pt x="773331" y="6372446"/>
                  <a:pt x="769623" y="6373464"/>
                  <a:pt x="764624" y="6373464"/>
                </a:cubicBezTo>
                <a:cubicBezTo>
                  <a:pt x="759666" y="6373464"/>
                  <a:pt x="755807" y="6372315"/>
                  <a:pt x="753046" y="6370018"/>
                </a:cubicBezTo>
                <a:cubicBezTo>
                  <a:pt x="750285" y="6367720"/>
                  <a:pt x="748602" y="6364415"/>
                  <a:pt x="747997" y="6360102"/>
                </a:cubicBezTo>
                <a:lnTo>
                  <a:pt x="737235" y="6361795"/>
                </a:lnTo>
                <a:cubicBezTo>
                  <a:pt x="738445" y="6368607"/>
                  <a:pt x="741236" y="6373746"/>
                  <a:pt x="745609" y="6377213"/>
                </a:cubicBezTo>
                <a:cubicBezTo>
                  <a:pt x="749983" y="6380679"/>
                  <a:pt x="756341" y="6382412"/>
                  <a:pt x="764685" y="6382412"/>
                </a:cubicBezTo>
                <a:cubicBezTo>
                  <a:pt x="769723" y="6382412"/>
                  <a:pt x="774238" y="6381536"/>
                  <a:pt x="778228" y="6379782"/>
                </a:cubicBezTo>
                <a:cubicBezTo>
                  <a:pt x="782219" y="6378029"/>
                  <a:pt x="785272" y="6375550"/>
                  <a:pt x="787388" y="6372345"/>
                </a:cubicBezTo>
                <a:cubicBezTo>
                  <a:pt x="789504" y="6369141"/>
                  <a:pt x="790562" y="6365725"/>
                  <a:pt x="790562" y="6362097"/>
                </a:cubicBezTo>
                <a:cubicBezTo>
                  <a:pt x="790562" y="6358389"/>
                  <a:pt x="789696" y="6355285"/>
                  <a:pt x="787962" y="6352786"/>
                </a:cubicBezTo>
                <a:cubicBezTo>
                  <a:pt x="786229" y="6350287"/>
                  <a:pt x="783841" y="6348383"/>
                  <a:pt x="780798" y="6347073"/>
                </a:cubicBezTo>
                <a:cubicBezTo>
                  <a:pt x="777754" y="6345763"/>
                  <a:pt x="772383" y="6344080"/>
                  <a:pt x="764685" y="6342024"/>
                </a:cubicBezTo>
                <a:cubicBezTo>
                  <a:pt x="759364" y="6340573"/>
                  <a:pt x="756160" y="6339646"/>
                  <a:pt x="755071" y="6339243"/>
                </a:cubicBezTo>
                <a:cubicBezTo>
                  <a:pt x="753177" y="6338477"/>
                  <a:pt x="751786" y="6337510"/>
                  <a:pt x="750900" y="6336341"/>
                </a:cubicBezTo>
                <a:cubicBezTo>
                  <a:pt x="750013" y="6335212"/>
                  <a:pt x="749569" y="6333942"/>
                  <a:pt x="749569" y="6332532"/>
                </a:cubicBezTo>
                <a:cubicBezTo>
                  <a:pt x="749569" y="6330315"/>
                  <a:pt x="750638" y="6328380"/>
                  <a:pt x="752774" y="6326727"/>
                </a:cubicBezTo>
                <a:cubicBezTo>
                  <a:pt x="754910" y="6325075"/>
                  <a:pt x="758477" y="6324248"/>
                  <a:pt x="763476" y="6324248"/>
                </a:cubicBezTo>
                <a:cubicBezTo>
                  <a:pt x="767708" y="6324248"/>
                  <a:pt x="770983" y="6325176"/>
                  <a:pt x="773301" y="6327030"/>
                </a:cubicBezTo>
                <a:cubicBezTo>
                  <a:pt x="775618" y="6328884"/>
                  <a:pt x="777019" y="6331463"/>
                  <a:pt x="777503" y="6334769"/>
                </a:cubicBezTo>
                <a:lnTo>
                  <a:pt x="788144" y="6333318"/>
                </a:lnTo>
                <a:cubicBezTo>
                  <a:pt x="787459" y="6329166"/>
                  <a:pt x="786209" y="6325851"/>
                  <a:pt x="784395" y="6323372"/>
                </a:cubicBezTo>
                <a:cubicBezTo>
                  <a:pt x="782581" y="6320893"/>
                  <a:pt x="779770" y="6318928"/>
                  <a:pt x="775961" y="6317477"/>
                </a:cubicBezTo>
                <a:cubicBezTo>
                  <a:pt x="772152" y="6316026"/>
                  <a:pt x="767728" y="6315300"/>
                  <a:pt x="762690" y="6315300"/>
                </a:cubicBezTo>
                <a:close/>
                <a:moveTo>
                  <a:pt x="525681" y="6301636"/>
                </a:moveTo>
                <a:cubicBezTo>
                  <a:pt x="527051" y="6306432"/>
                  <a:pt x="529147" y="6312559"/>
                  <a:pt x="531969" y="6320016"/>
                </a:cubicBezTo>
                <a:lnTo>
                  <a:pt x="541219" y="6344563"/>
                </a:lnTo>
                <a:lnTo>
                  <a:pt x="511170" y="6344563"/>
                </a:lnTo>
                <a:lnTo>
                  <a:pt x="520904" y="6318565"/>
                </a:lnTo>
                <a:cubicBezTo>
                  <a:pt x="522960" y="6312962"/>
                  <a:pt x="524552" y="6307319"/>
                  <a:pt x="525681" y="6301636"/>
                </a:cubicBezTo>
                <a:close/>
                <a:moveTo>
                  <a:pt x="1847396" y="6292325"/>
                </a:moveTo>
                <a:lnTo>
                  <a:pt x="1847396" y="6380961"/>
                </a:lnTo>
                <a:lnTo>
                  <a:pt x="1902778" y="6380961"/>
                </a:lnTo>
                <a:lnTo>
                  <a:pt x="1902778" y="6370501"/>
                </a:lnTo>
                <a:lnTo>
                  <a:pt x="1859125" y="6370501"/>
                </a:lnTo>
                <a:lnTo>
                  <a:pt x="1859125" y="6292325"/>
                </a:lnTo>
                <a:close/>
                <a:moveTo>
                  <a:pt x="1676067" y="6292325"/>
                </a:moveTo>
                <a:lnTo>
                  <a:pt x="1676067" y="6380961"/>
                </a:lnTo>
                <a:lnTo>
                  <a:pt x="1687373" y="6380961"/>
                </a:lnTo>
                <a:lnTo>
                  <a:pt x="1687373" y="6305505"/>
                </a:lnTo>
                <a:lnTo>
                  <a:pt x="1713008" y="6380961"/>
                </a:lnTo>
                <a:lnTo>
                  <a:pt x="1723589" y="6380961"/>
                </a:lnTo>
                <a:lnTo>
                  <a:pt x="1749346" y="6306775"/>
                </a:lnTo>
                <a:lnTo>
                  <a:pt x="1749346" y="6380961"/>
                </a:lnTo>
                <a:lnTo>
                  <a:pt x="1760652" y="6380961"/>
                </a:lnTo>
                <a:lnTo>
                  <a:pt x="1760652" y="6292325"/>
                </a:lnTo>
                <a:lnTo>
                  <a:pt x="1744872" y="6292325"/>
                </a:lnTo>
                <a:lnTo>
                  <a:pt x="1723650" y="6353995"/>
                </a:lnTo>
                <a:cubicBezTo>
                  <a:pt x="1721513" y="6360243"/>
                  <a:pt x="1719941" y="6364979"/>
                  <a:pt x="1718933" y="6368204"/>
                </a:cubicBezTo>
                <a:cubicBezTo>
                  <a:pt x="1718047" y="6365302"/>
                  <a:pt x="1716636" y="6360928"/>
                  <a:pt x="1714701" y="6355084"/>
                </a:cubicBezTo>
                <a:lnTo>
                  <a:pt x="1693721" y="6292325"/>
                </a:lnTo>
                <a:close/>
                <a:moveTo>
                  <a:pt x="1560739" y="6292325"/>
                </a:moveTo>
                <a:lnTo>
                  <a:pt x="1560739" y="6380961"/>
                </a:lnTo>
                <a:lnTo>
                  <a:pt x="1571622" y="6380961"/>
                </a:lnTo>
                <a:lnTo>
                  <a:pt x="1571622" y="6345833"/>
                </a:lnTo>
                <a:cubicBezTo>
                  <a:pt x="1571622" y="6340795"/>
                  <a:pt x="1572226" y="6336845"/>
                  <a:pt x="1573435" y="6333983"/>
                </a:cubicBezTo>
                <a:cubicBezTo>
                  <a:pt x="1574645" y="6331121"/>
                  <a:pt x="1576670" y="6328854"/>
                  <a:pt x="1579512" y="6327181"/>
                </a:cubicBezTo>
                <a:cubicBezTo>
                  <a:pt x="1582354" y="6325508"/>
                  <a:pt x="1585387" y="6324672"/>
                  <a:pt x="1588611" y="6324672"/>
                </a:cubicBezTo>
                <a:cubicBezTo>
                  <a:pt x="1592924" y="6324672"/>
                  <a:pt x="1596260" y="6325911"/>
                  <a:pt x="1598618" y="6328390"/>
                </a:cubicBezTo>
                <a:cubicBezTo>
                  <a:pt x="1600976" y="6330869"/>
                  <a:pt x="1602155" y="6334829"/>
                  <a:pt x="1602155" y="6340271"/>
                </a:cubicBezTo>
                <a:lnTo>
                  <a:pt x="1602155" y="6380961"/>
                </a:lnTo>
                <a:lnTo>
                  <a:pt x="1613038" y="6380961"/>
                </a:lnTo>
                <a:lnTo>
                  <a:pt x="1613038" y="6340271"/>
                </a:lnTo>
                <a:cubicBezTo>
                  <a:pt x="1613038" y="6333983"/>
                  <a:pt x="1612282" y="6329186"/>
                  <a:pt x="1610771" y="6325881"/>
                </a:cubicBezTo>
                <a:cubicBezTo>
                  <a:pt x="1609259" y="6322576"/>
                  <a:pt x="1606750" y="6319986"/>
                  <a:pt x="1603243" y="6318112"/>
                </a:cubicBezTo>
                <a:cubicBezTo>
                  <a:pt x="1599736" y="6316237"/>
                  <a:pt x="1595605" y="6315300"/>
                  <a:pt x="1590848" y="6315300"/>
                </a:cubicBezTo>
                <a:cubicBezTo>
                  <a:pt x="1583109" y="6315300"/>
                  <a:pt x="1576700" y="6318243"/>
                  <a:pt x="1571622" y="6324128"/>
                </a:cubicBezTo>
                <a:lnTo>
                  <a:pt x="1571622" y="6292325"/>
                </a:lnTo>
                <a:close/>
                <a:moveTo>
                  <a:pt x="1285542" y="6292325"/>
                </a:moveTo>
                <a:lnTo>
                  <a:pt x="1285542" y="6380961"/>
                </a:lnTo>
                <a:lnTo>
                  <a:pt x="1296848" y="6380961"/>
                </a:lnTo>
                <a:lnTo>
                  <a:pt x="1296848" y="6305505"/>
                </a:lnTo>
                <a:lnTo>
                  <a:pt x="1322484" y="6380961"/>
                </a:lnTo>
                <a:lnTo>
                  <a:pt x="1333064" y="6380961"/>
                </a:lnTo>
                <a:lnTo>
                  <a:pt x="1358821" y="6306775"/>
                </a:lnTo>
                <a:lnTo>
                  <a:pt x="1358821" y="6380961"/>
                </a:lnTo>
                <a:lnTo>
                  <a:pt x="1370127" y="6380961"/>
                </a:lnTo>
                <a:lnTo>
                  <a:pt x="1370127" y="6292325"/>
                </a:lnTo>
                <a:lnTo>
                  <a:pt x="1354347" y="6292325"/>
                </a:lnTo>
                <a:lnTo>
                  <a:pt x="1333125" y="6353995"/>
                </a:lnTo>
                <a:cubicBezTo>
                  <a:pt x="1330988" y="6360243"/>
                  <a:pt x="1329416" y="6364979"/>
                  <a:pt x="1328409" y="6368204"/>
                </a:cubicBezTo>
                <a:cubicBezTo>
                  <a:pt x="1327522" y="6365302"/>
                  <a:pt x="1326111" y="6360928"/>
                  <a:pt x="1324176" y="6355084"/>
                </a:cubicBezTo>
                <a:lnTo>
                  <a:pt x="1303196" y="6292325"/>
                </a:lnTo>
                <a:close/>
                <a:moveTo>
                  <a:pt x="808324" y="6292325"/>
                </a:moveTo>
                <a:lnTo>
                  <a:pt x="808324" y="6304840"/>
                </a:lnTo>
                <a:lnTo>
                  <a:pt x="819207" y="6304840"/>
                </a:lnTo>
                <a:lnTo>
                  <a:pt x="819207" y="6292325"/>
                </a:lnTo>
                <a:close/>
                <a:moveTo>
                  <a:pt x="608178" y="6292325"/>
                </a:moveTo>
                <a:lnTo>
                  <a:pt x="608178" y="6380961"/>
                </a:lnTo>
                <a:lnTo>
                  <a:pt x="618275" y="6380961"/>
                </a:lnTo>
                <a:lnTo>
                  <a:pt x="618275" y="6372920"/>
                </a:lnTo>
                <a:cubicBezTo>
                  <a:pt x="622588" y="6379248"/>
                  <a:pt x="628533" y="6382412"/>
                  <a:pt x="636111" y="6382412"/>
                </a:cubicBezTo>
                <a:cubicBezTo>
                  <a:pt x="643729" y="6382412"/>
                  <a:pt x="650259" y="6379409"/>
                  <a:pt x="655701" y="6373404"/>
                </a:cubicBezTo>
                <a:cubicBezTo>
                  <a:pt x="661142" y="6367398"/>
                  <a:pt x="663863" y="6358893"/>
                  <a:pt x="663863" y="6347889"/>
                </a:cubicBezTo>
                <a:cubicBezTo>
                  <a:pt x="663863" y="6343253"/>
                  <a:pt x="663218" y="6338900"/>
                  <a:pt x="661928" y="6334829"/>
                </a:cubicBezTo>
                <a:cubicBezTo>
                  <a:pt x="660638" y="6330758"/>
                  <a:pt x="658855" y="6327282"/>
                  <a:pt x="656577" y="6324400"/>
                </a:cubicBezTo>
                <a:cubicBezTo>
                  <a:pt x="654300" y="6321518"/>
                  <a:pt x="651398" y="6319281"/>
                  <a:pt x="647871" y="6317688"/>
                </a:cubicBezTo>
                <a:cubicBezTo>
                  <a:pt x="644344" y="6316096"/>
                  <a:pt x="640606" y="6315300"/>
                  <a:pt x="636655" y="6315300"/>
                </a:cubicBezTo>
                <a:cubicBezTo>
                  <a:pt x="629521" y="6315300"/>
                  <a:pt x="623656" y="6318182"/>
                  <a:pt x="619061" y="6323946"/>
                </a:cubicBezTo>
                <a:lnTo>
                  <a:pt x="619061" y="6292325"/>
                </a:lnTo>
                <a:close/>
                <a:moveTo>
                  <a:pt x="519635" y="6292325"/>
                </a:moveTo>
                <a:lnTo>
                  <a:pt x="485595" y="6380961"/>
                </a:lnTo>
                <a:lnTo>
                  <a:pt x="498050" y="6380961"/>
                </a:lnTo>
                <a:lnTo>
                  <a:pt x="507784" y="6354116"/>
                </a:lnTo>
                <a:lnTo>
                  <a:pt x="544847" y="6354116"/>
                </a:lnTo>
                <a:lnTo>
                  <a:pt x="555186" y="6380961"/>
                </a:lnTo>
                <a:lnTo>
                  <a:pt x="568548" y="6380961"/>
                </a:lnTo>
                <a:lnTo>
                  <a:pt x="532271" y="6292325"/>
                </a:lnTo>
                <a:close/>
                <a:moveTo>
                  <a:pt x="1228689" y="6290813"/>
                </a:moveTo>
                <a:cubicBezTo>
                  <a:pt x="1223933" y="6290813"/>
                  <a:pt x="1220235" y="6291690"/>
                  <a:pt x="1217594" y="6293443"/>
                </a:cubicBezTo>
                <a:cubicBezTo>
                  <a:pt x="1214954" y="6295197"/>
                  <a:pt x="1213110" y="6297484"/>
                  <a:pt x="1212062" y="6300306"/>
                </a:cubicBezTo>
                <a:cubicBezTo>
                  <a:pt x="1211296" y="6302402"/>
                  <a:pt x="1210914" y="6305606"/>
                  <a:pt x="1210914" y="6309919"/>
                </a:cubicBezTo>
                <a:lnTo>
                  <a:pt x="1210914" y="6316751"/>
                </a:lnTo>
                <a:lnTo>
                  <a:pt x="1201300" y="6316751"/>
                </a:lnTo>
                <a:lnTo>
                  <a:pt x="1201300" y="6325216"/>
                </a:lnTo>
                <a:lnTo>
                  <a:pt x="1210914" y="6325216"/>
                </a:lnTo>
                <a:lnTo>
                  <a:pt x="1210914" y="6380961"/>
                </a:lnTo>
                <a:lnTo>
                  <a:pt x="1221736" y="6380961"/>
                </a:lnTo>
                <a:lnTo>
                  <a:pt x="1221736" y="6325216"/>
                </a:lnTo>
                <a:lnTo>
                  <a:pt x="1234252" y="6325216"/>
                </a:lnTo>
                <a:lnTo>
                  <a:pt x="1234252" y="6316751"/>
                </a:lnTo>
                <a:lnTo>
                  <a:pt x="1221736" y="6316751"/>
                </a:lnTo>
                <a:lnTo>
                  <a:pt x="1221736" y="6310826"/>
                </a:lnTo>
                <a:cubicBezTo>
                  <a:pt x="1221736" y="6306956"/>
                  <a:pt x="1222421" y="6304316"/>
                  <a:pt x="1223792" y="6302906"/>
                </a:cubicBezTo>
                <a:cubicBezTo>
                  <a:pt x="1225162" y="6301495"/>
                  <a:pt x="1227500" y="6300789"/>
                  <a:pt x="1230805" y="6300789"/>
                </a:cubicBezTo>
                <a:cubicBezTo>
                  <a:pt x="1232820" y="6300789"/>
                  <a:pt x="1234957" y="6300991"/>
                  <a:pt x="1237214" y="6301394"/>
                </a:cubicBezTo>
                <a:lnTo>
                  <a:pt x="1238847" y="6291902"/>
                </a:lnTo>
                <a:cubicBezTo>
                  <a:pt x="1235138" y="6291176"/>
                  <a:pt x="1231753" y="6290813"/>
                  <a:pt x="1228689" y="6290813"/>
                </a:cubicBezTo>
                <a:close/>
                <a:moveTo>
                  <a:pt x="7175501" y="1"/>
                </a:moveTo>
                <a:lnTo>
                  <a:pt x="12191999" y="1"/>
                </a:lnTo>
                <a:lnTo>
                  <a:pt x="12191999" y="6858001"/>
                </a:lnTo>
                <a:lnTo>
                  <a:pt x="1" y="6858001"/>
                </a:lnTo>
                <a:lnTo>
                  <a:pt x="1" y="5752619"/>
                </a:lnTo>
                <a:lnTo>
                  <a:pt x="7175501" y="5752619"/>
                </a:lnTo>
                <a:close/>
                <a:moveTo>
                  <a:pt x="0" y="0"/>
                </a:moveTo>
                <a:lnTo>
                  <a:pt x="7175501" y="0"/>
                </a:lnTo>
                <a:lnTo>
                  <a:pt x="7175501" y="1"/>
                </a:lnTo>
                <a:lnTo>
                  <a:pt x="1" y="1"/>
                </a:lnTo>
                <a:lnTo>
                  <a:pt x="1" y="5752619"/>
                </a:lnTo>
                <a:lnTo>
                  <a:pt x="0" y="5752619"/>
                </a:lnTo>
                <a:close/>
              </a:path>
            </a:pathLst>
          </a:custGeom>
          <a:solidFill>
            <a:srgbClr val="F0F0F0"/>
          </a:solidFill>
        </p:spPr>
        <p:txBody>
          <a:bodyPr wrap="square">
            <a:no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1200">
                <a:solidFill>
                  <a:srgbClr val="FF0000"/>
                </a:solidFill>
              </a:defRPr>
            </a:lvl1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t>Click on picture icon to insert picture. Reset layout.</a:t>
            </a:r>
          </a:p>
        </p:txBody>
      </p:sp>
      <p:sp>
        <p:nvSpPr>
          <p:cNvPr id="12"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baseline="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a:t>
            </a:r>
            <a:r>
              <a:rPr lang="en-US" sz="1000" dirty="0">
                <a:ea typeface="Open Sans" panose="020B0606030504020204" pitchFamily="34" charset="0"/>
                <a:cs typeface="Arial" panose="020B0604020202020204" pitchFamily="34" charset="0"/>
              </a:rPr>
              <a:t>Give the logo equal visual weight as Marsh’s. </a:t>
            </a:r>
            <a:r>
              <a:rPr lang="en-US" dirty="0"/>
              <a:t>Delete box if not used.</a:t>
            </a:r>
          </a:p>
        </p:txBody>
      </p:sp>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609725"/>
            <a:ext cx="6485763" cy="1600200"/>
          </a:xfrm>
        </p:spPr>
        <p:txBody>
          <a:bodyPr vert="horz" anchor="b" anchorCtr="0"/>
          <a:lstStyle>
            <a:lvl1pPr>
              <a:lnSpc>
                <a:spcPct val="90000"/>
              </a:lnSpc>
              <a:defRPr lang="en-US" sz="4800" b="1" i="0" kern="1200" cap="none" baseline="0" dirty="0">
                <a:solidFill>
                  <a:schemeClr val="bg1"/>
                </a:solidFill>
                <a:latin typeface="Arial" panose="020B0604020202020204" pitchFamily="34" charset="0"/>
                <a:ea typeface="+mj-ea"/>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405820"/>
            <a:ext cx="6447769" cy="807913"/>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9" name="Text Placeholder 3">
            <a:extLst>
              <a:ext uri="{FF2B5EF4-FFF2-40B4-BE49-F238E27FC236}">
                <a16:creationId xmlns:a16="http://schemas.microsoft.com/office/drawing/2014/main" id="{408D7265-22AD-444D-9DAE-694197297FA6}"/>
              </a:ext>
            </a:extLst>
          </p:cNvPr>
          <p:cNvSpPr>
            <a:spLocks noGrp="1"/>
          </p:cNvSpPr>
          <p:nvPr>
            <p:ph type="body" sz="half" idx="2" hasCustomPrompt="1"/>
          </p:nvPr>
        </p:nvSpPr>
        <p:spPr>
          <a:xfrm>
            <a:off x="485775" y="4429126"/>
            <a:ext cx="64484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pic>
        <p:nvPicPr>
          <p:cNvPr id="73" name="Graphic 12">
            <a:extLst>
              <a:ext uri="{FF2B5EF4-FFF2-40B4-BE49-F238E27FC236}">
                <a16:creationId xmlns:a16="http://schemas.microsoft.com/office/drawing/2014/main" id="{D426043B-0359-FC46-BCF1-DAFF274E758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86803" y="341762"/>
            <a:ext cx="1623974" cy="338328"/>
          </a:xfrm>
          <a:prstGeom prst="rect">
            <a:avLst/>
          </a:prstGeom>
        </p:spPr>
      </p:pic>
      <p:pic>
        <p:nvPicPr>
          <p:cNvPr id="4" name="Picture 3"/>
          <p:cNvPicPr>
            <a:picLocks noChangeAspect="1"/>
          </p:cNvPicPr>
          <p:nvPr userDrawn="1"/>
        </p:nvPicPr>
        <p:blipFill>
          <a:blip r:embed="rId7"/>
          <a:stretch>
            <a:fillRect/>
          </a:stretch>
        </p:blipFill>
        <p:spPr>
          <a:xfrm>
            <a:off x="486803" y="1174876"/>
            <a:ext cx="3548512" cy="438912"/>
          </a:xfrm>
          <a:prstGeom prst="rect">
            <a:avLst/>
          </a:prstGeom>
        </p:spPr>
      </p:pic>
    </p:spTree>
    <p:extLst>
      <p:ext uri="{BB962C8B-B14F-4D97-AF65-F5344CB8AC3E}">
        <p14:creationId xmlns:p14="http://schemas.microsoft.com/office/powerpoint/2010/main" val="178367890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itle slide A: image light box">
    <p:bg>
      <p:bgPr>
        <a:solidFill>
          <a:schemeClr val="accent3"/>
        </a:solidFill>
        <a:effectLst/>
      </p:bgPr>
    </p:bg>
    <p:spTree>
      <p:nvGrpSpPr>
        <p:cNvPr id="1" name=""/>
        <p:cNvGrpSpPr/>
        <p:nvPr/>
      </p:nvGrpSpPr>
      <p:grpSpPr>
        <a:xfrm>
          <a:off x="0" y="0"/>
          <a:ext cx="0" cy="0"/>
          <a:chOff x="0" y="0"/>
          <a:chExt cx="0" cy="0"/>
        </a:xfrm>
      </p:grpSpPr>
      <p:sp>
        <p:nvSpPr>
          <p:cNvPr id="17" name="Rectangle 16"/>
          <p:cNvSpPr/>
          <p:nvPr userDrawn="1"/>
        </p:nvSpPr>
        <p:spPr>
          <a:xfrm>
            <a:off x="355599" y="6121400"/>
            <a:ext cx="2032001" cy="4953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Picture Placeholder 17">
            <a:extLst>
              <a:ext uri="{FF2B5EF4-FFF2-40B4-BE49-F238E27FC236}">
                <a16:creationId xmlns:a16="http://schemas.microsoft.com/office/drawing/2014/main" id="{73319BE5-0EF3-DD4B-B826-A8E9F0755285}"/>
              </a:ext>
            </a:extLst>
          </p:cNvPr>
          <p:cNvSpPr>
            <a:spLocks noGrp="1"/>
          </p:cNvSpPr>
          <p:nvPr>
            <p:ph type="pic" sz="quarter" idx="10" hasCustomPrompt="1"/>
          </p:nvPr>
        </p:nvSpPr>
        <p:spPr>
          <a:xfrm>
            <a:off x="-1" y="-1"/>
            <a:ext cx="12191999" cy="6858001"/>
          </a:xfrm>
          <a:custGeom>
            <a:avLst/>
            <a:gdLst>
              <a:gd name="connsiteX0" fmla="*/ 2154182 w 12191999"/>
              <a:gd name="connsiteY0" fmla="*/ 6348735 h 6858001"/>
              <a:gd name="connsiteX1" fmla="*/ 2154182 w 12191999"/>
              <a:gd name="connsiteY1" fmla="*/ 6352726 h 6858001"/>
              <a:gd name="connsiteX2" fmla="*/ 2152428 w 12191999"/>
              <a:gd name="connsiteY2" fmla="*/ 6363609 h 6858001"/>
              <a:gd name="connsiteX3" fmla="*/ 2145233 w 12191999"/>
              <a:gd name="connsiteY3" fmla="*/ 6371136 h 6858001"/>
              <a:gd name="connsiteX4" fmla="*/ 2134048 w 12191999"/>
              <a:gd name="connsiteY4" fmla="*/ 6373887 h 6858001"/>
              <a:gd name="connsiteX5" fmla="*/ 2124404 w 12191999"/>
              <a:gd name="connsiteY5" fmla="*/ 6370985 h 6858001"/>
              <a:gd name="connsiteX6" fmla="*/ 2121109 w 12191999"/>
              <a:gd name="connsiteY6" fmla="*/ 6363730 h 6858001"/>
              <a:gd name="connsiteX7" fmla="*/ 2122621 w 12191999"/>
              <a:gd name="connsiteY7" fmla="*/ 6358560 h 6858001"/>
              <a:gd name="connsiteX8" fmla="*/ 2126913 w 12191999"/>
              <a:gd name="connsiteY8" fmla="*/ 6355023 h 6858001"/>
              <a:gd name="connsiteX9" fmla="*/ 2136406 w 12191999"/>
              <a:gd name="connsiteY9" fmla="*/ 6352847 h 6858001"/>
              <a:gd name="connsiteX10" fmla="*/ 2154182 w 12191999"/>
              <a:gd name="connsiteY10" fmla="*/ 6348735 h 6858001"/>
              <a:gd name="connsiteX11" fmla="*/ 1430281 w 12191999"/>
              <a:gd name="connsiteY11" fmla="*/ 6348735 h 6858001"/>
              <a:gd name="connsiteX12" fmla="*/ 1430281 w 12191999"/>
              <a:gd name="connsiteY12" fmla="*/ 6352726 h 6858001"/>
              <a:gd name="connsiteX13" fmla="*/ 1428528 w 12191999"/>
              <a:gd name="connsiteY13" fmla="*/ 6363609 h 6858001"/>
              <a:gd name="connsiteX14" fmla="*/ 1421333 w 12191999"/>
              <a:gd name="connsiteY14" fmla="*/ 6371136 h 6858001"/>
              <a:gd name="connsiteX15" fmla="*/ 1410148 w 12191999"/>
              <a:gd name="connsiteY15" fmla="*/ 6373887 h 6858001"/>
              <a:gd name="connsiteX16" fmla="*/ 1400504 w 12191999"/>
              <a:gd name="connsiteY16" fmla="*/ 6370985 h 6858001"/>
              <a:gd name="connsiteX17" fmla="*/ 1397209 w 12191999"/>
              <a:gd name="connsiteY17" fmla="*/ 6363730 h 6858001"/>
              <a:gd name="connsiteX18" fmla="*/ 1398721 w 12191999"/>
              <a:gd name="connsiteY18" fmla="*/ 6358560 h 6858001"/>
              <a:gd name="connsiteX19" fmla="*/ 1403013 w 12191999"/>
              <a:gd name="connsiteY19" fmla="*/ 6355023 h 6858001"/>
              <a:gd name="connsiteX20" fmla="*/ 1412506 w 12191999"/>
              <a:gd name="connsiteY20" fmla="*/ 6352847 h 6858001"/>
              <a:gd name="connsiteX21" fmla="*/ 1430281 w 12191999"/>
              <a:gd name="connsiteY21" fmla="*/ 6348735 h 6858001"/>
              <a:gd name="connsiteX22" fmla="*/ 1167698 w 12191999"/>
              <a:gd name="connsiteY22" fmla="*/ 6324309 h 6858001"/>
              <a:gd name="connsiteX23" fmla="*/ 1181150 w 12191999"/>
              <a:gd name="connsiteY23" fmla="*/ 6330446 h 6858001"/>
              <a:gd name="connsiteX24" fmla="*/ 1186561 w 12191999"/>
              <a:gd name="connsiteY24" fmla="*/ 6348493 h 6858001"/>
              <a:gd name="connsiteX25" fmla="*/ 1181180 w 12191999"/>
              <a:gd name="connsiteY25" fmla="*/ 6367297 h 6858001"/>
              <a:gd name="connsiteX26" fmla="*/ 1167698 w 12191999"/>
              <a:gd name="connsiteY26" fmla="*/ 6373464 h 6858001"/>
              <a:gd name="connsiteX27" fmla="*/ 1154154 w 12191999"/>
              <a:gd name="connsiteY27" fmla="*/ 6367327 h 6858001"/>
              <a:gd name="connsiteX28" fmla="*/ 1148773 w 12191999"/>
              <a:gd name="connsiteY28" fmla="*/ 6348856 h 6858001"/>
              <a:gd name="connsiteX29" fmla="*/ 1154154 w 12191999"/>
              <a:gd name="connsiteY29" fmla="*/ 6330415 h 6858001"/>
              <a:gd name="connsiteX30" fmla="*/ 1167698 w 12191999"/>
              <a:gd name="connsiteY30" fmla="*/ 6324309 h 6858001"/>
              <a:gd name="connsiteX31" fmla="*/ 1939646 w 12191999"/>
              <a:gd name="connsiteY31" fmla="*/ 6324248 h 6858001"/>
              <a:gd name="connsiteX32" fmla="*/ 1953129 w 12191999"/>
              <a:gd name="connsiteY32" fmla="*/ 6330536 h 6858001"/>
              <a:gd name="connsiteX33" fmla="*/ 1957240 w 12191999"/>
              <a:gd name="connsiteY33" fmla="*/ 6342689 h 6858001"/>
              <a:gd name="connsiteX34" fmla="*/ 1921387 w 12191999"/>
              <a:gd name="connsiteY34" fmla="*/ 6342689 h 6858001"/>
              <a:gd name="connsiteX35" fmla="*/ 1927040 w 12191999"/>
              <a:gd name="connsiteY35" fmla="*/ 6329267 h 6858001"/>
              <a:gd name="connsiteX36" fmla="*/ 1939646 w 12191999"/>
              <a:gd name="connsiteY36" fmla="*/ 6324248 h 6858001"/>
              <a:gd name="connsiteX37" fmla="*/ 929996 w 12191999"/>
              <a:gd name="connsiteY37" fmla="*/ 6324248 h 6858001"/>
              <a:gd name="connsiteX38" fmla="*/ 943479 w 12191999"/>
              <a:gd name="connsiteY38" fmla="*/ 6330536 h 6858001"/>
              <a:gd name="connsiteX39" fmla="*/ 947590 w 12191999"/>
              <a:gd name="connsiteY39" fmla="*/ 6342689 h 6858001"/>
              <a:gd name="connsiteX40" fmla="*/ 911736 w 12191999"/>
              <a:gd name="connsiteY40" fmla="*/ 6342689 h 6858001"/>
              <a:gd name="connsiteX41" fmla="*/ 917389 w 12191999"/>
              <a:gd name="connsiteY41" fmla="*/ 6329267 h 6858001"/>
              <a:gd name="connsiteX42" fmla="*/ 929996 w 12191999"/>
              <a:gd name="connsiteY42" fmla="*/ 6324248 h 6858001"/>
              <a:gd name="connsiteX43" fmla="*/ 635688 w 12191999"/>
              <a:gd name="connsiteY43" fmla="*/ 6324248 h 6858001"/>
              <a:gd name="connsiteX44" fmla="*/ 647750 w 12191999"/>
              <a:gd name="connsiteY44" fmla="*/ 6330234 h 6858001"/>
              <a:gd name="connsiteX45" fmla="*/ 652738 w 12191999"/>
              <a:gd name="connsiteY45" fmla="*/ 6348796 h 6858001"/>
              <a:gd name="connsiteX46" fmla="*/ 647538 w 12191999"/>
              <a:gd name="connsiteY46" fmla="*/ 6367267 h 6858001"/>
              <a:gd name="connsiteX47" fmla="*/ 635204 w 12191999"/>
              <a:gd name="connsiteY47" fmla="*/ 6373464 h 6858001"/>
              <a:gd name="connsiteX48" fmla="*/ 621298 w 12191999"/>
              <a:gd name="connsiteY48" fmla="*/ 6365060 h 6858001"/>
              <a:gd name="connsiteX49" fmla="*/ 618154 w 12191999"/>
              <a:gd name="connsiteY49" fmla="*/ 6348373 h 6858001"/>
              <a:gd name="connsiteX50" fmla="*/ 623354 w 12191999"/>
              <a:gd name="connsiteY50" fmla="*/ 6330446 h 6858001"/>
              <a:gd name="connsiteX51" fmla="*/ 635688 w 12191999"/>
              <a:gd name="connsiteY51" fmla="*/ 6324248 h 6858001"/>
              <a:gd name="connsiteX52" fmla="*/ 808324 w 12191999"/>
              <a:gd name="connsiteY52" fmla="*/ 6316751 h 6858001"/>
              <a:gd name="connsiteX53" fmla="*/ 808324 w 12191999"/>
              <a:gd name="connsiteY53" fmla="*/ 6380961 h 6858001"/>
              <a:gd name="connsiteX54" fmla="*/ 819207 w 12191999"/>
              <a:gd name="connsiteY54" fmla="*/ 6380961 h 6858001"/>
              <a:gd name="connsiteX55" fmla="*/ 819207 w 12191999"/>
              <a:gd name="connsiteY55" fmla="*/ 6316751 h 6858001"/>
              <a:gd name="connsiteX56" fmla="*/ 674672 w 12191999"/>
              <a:gd name="connsiteY56" fmla="*/ 6316751 h 6858001"/>
              <a:gd name="connsiteX57" fmla="*/ 674672 w 12191999"/>
              <a:gd name="connsiteY57" fmla="*/ 6356535 h 6858001"/>
              <a:gd name="connsiteX58" fmla="*/ 675337 w 12191999"/>
              <a:gd name="connsiteY58" fmla="*/ 6366692 h 6858001"/>
              <a:gd name="connsiteX59" fmla="*/ 678692 w 12191999"/>
              <a:gd name="connsiteY59" fmla="*/ 6374764 h 6858001"/>
              <a:gd name="connsiteX60" fmla="*/ 686008 w 12191999"/>
              <a:gd name="connsiteY60" fmla="*/ 6380236 h 6858001"/>
              <a:gd name="connsiteX61" fmla="*/ 696619 w 12191999"/>
              <a:gd name="connsiteY61" fmla="*/ 6382412 h 6858001"/>
              <a:gd name="connsiteX62" fmla="*/ 716995 w 12191999"/>
              <a:gd name="connsiteY62" fmla="*/ 6371529 h 6858001"/>
              <a:gd name="connsiteX63" fmla="*/ 716995 w 12191999"/>
              <a:gd name="connsiteY63" fmla="*/ 6380961 h 6858001"/>
              <a:gd name="connsiteX64" fmla="*/ 726729 w 12191999"/>
              <a:gd name="connsiteY64" fmla="*/ 6380961 h 6858001"/>
              <a:gd name="connsiteX65" fmla="*/ 726729 w 12191999"/>
              <a:gd name="connsiteY65" fmla="*/ 6316751 h 6858001"/>
              <a:gd name="connsiteX66" fmla="*/ 715846 w 12191999"/>
              <a:gd name="connsiteY66" fmla="*/ 6316751 h 6858001"/>
              <a:gd name="connsiteX67" fmla="*/ 715846 w 12191999"/>
              <a:gd name="connsiteY67" fmla="*/ 6351154 h 6858001"/>
              <a:gd name="connsiteX68" fmla="*/ 714062 w 12191999"/>
              <a:gd name="connsiteY68" fmla="*/ 6363700 h 6858001"/>
              <a:gd name="connsiteX69" fmla="*/ 707986 w 12191999"/>
              <a:gd name="connsiteY69" fmla="*/ 6370532 h 6858001"/>
              <a:gd name="connsiteX70" fmla="*/ 698796 w 12191999"/>
              <a:gd name="connsiteY70" fmla="*/ 6373041 h 6858001"/>
              <a:gd name="connsiteX71" fmla="*/ 690573 w 12191999"/>
              <a:gd name="connsiteY71" fmla="*/ 6370592 h 6858001"/>
              <a:gd name="connsiteX72" fmla="*/ 686220 w 12191999"/>
              <a:gd name="connsiteY72" fmla="*/ 6363851 h 6858001"/>
              <a:gd name="connsiteX73" fmla="*/ 685555 w 12191999"/>
              <a:gd name="connsiteY73" fmla="*/ 6352363 h 6858001"/>
              <a:gd name="connsiteX74" fmla="*/ 685555 w 12191999"/>
              <a:gd name="connsiteY74" fmla="*/ 6316751 h 6858001"/>
              <a:gd name="connsiteX75" fmla="*/ 2210094 w 12191999"/>
              <a:gd name="connsiteY75" fmla="*/ 6315300 h 6858001"/>
              <a:gd name="connsiteX76" fmla="*/ 2189659 w 12191999"/>
              <a:gd name="connsiteY76" fmla="*/ 6325881 h 6858001"/>
              <a:gd name="connsiteX77" fmla="*/ 2189659 w 12191999"/>
              <a:gd name="connsiteY77" fmla="*/ 6316751 h 6858001"/>
              <a:gd name="connsiteX78" fmla="*/ 2179864 w 12191999"/>
              <a:gd name="connsiteY78" fmla="*/ 6316751 h 6858001"/>
              <a:gd name="connsiteX79" fmla="*/ 2179864 w 12191999"/>
              <a:gd name="connsiteY79" fmla="*/ 6380961 h 6858001"/>
              <a:gd name="connsiteX80" fmla="*/ 2190747 w 12191999"/>
              <a:gd name="connsiteY80" fmla="*/ 6380961 h 6858001"/>
              <a:gd name="connsiteX81" fmla="*/ 2190747 w 12191999"/>
              <a:gd name="connsiteY81" fmla="*/ 6345894 h 6858001"/>
              <a:gd name="connsiteX82" fmla="*/ 2195795 w 12191999"/>
              <a:gd name="connsiteY82" fmla="*/ 6329146 h 6858001"/>
              <a:gd name="connsiteX83" fmla="*/ 2207797 w 12191999"/>
              <a:gd name="connsiteY83" fmla="*/ 6324732 h 6858001"/>
              <a:gd name="connsiteX84" fmla="*/ 2215385 w 12191999"/>
              <a:gd name="connsiteY84" fmla="*/ 6326697 h 6858001"/>
              <a:gd name="connsiteX85" fmla="*/ 2219889 w 12191999"/>
              <a:gd name="connsiteY85" fmla="*/ 6331957 h 6858001"/>
              <a:gd name="connsiteX86" fmla="*/ 2221159 w 12191999"/>
              <a:gd name="connsiteY86" fmla="*/ 6341903 h 6858001"/>
              <a:gd name="connsiteX87" fmla="*/ 2221159 w 12191999"/>
              <a:gd name="connsiteY87" fmla="*/ 6380961 h 6858001"/>
              <a:gd name="connsiteX88" fmla="*/ 2232042 w 12191999"/>
              <a:gd name="connsiteY88" fmla="*/ 6380961 h 6858001"/>
              <a:gd name="connsiteX89" fmla="*/ 2232042 w 12191999"/>
              <a:gd name="connsiteY89" fmla="*/ 6341480 h 6858001"/>
              <a:gd name="connsiteX90" fmla="*/ 2231437 w 12191999"/>
              <a:gd name="connsiteY90" fmla="*/ 6330899 h 6858001"/>
              <a:gd name="connsiteX91" fmla="*/ 2228052 w 12191999"/>
              <a:gd name="connsiteY91" fmla="*/ 6322858 h 6858001"/>
              <a:gd name="connsiteX92" fmla="*/ 2220766 w 12191999"/>
              <a:gd name="connsiteY92" fmla="*/ 6317386 h 6858001"/>
              <a:gd name="connsiteX93" fmla="*/ 2210094 w 12191999"/>
              <a:gd name="connsiteY93" fmla="*/ 6315300 h 6858001"/>
              <a:gd name="connsiteX94" fmla="*/ 2140336 w 12191999"/>
              <a:gd name="connsiteY94" fmla="*/ 6315300 h 6858001"/>
              <a:gd name="connsiteX95" fmla="*/ 2125765 w 12191999"/>
              <a:gd name="connsiteY95" fmla="*/ 6317567 h 6858001"/>
              <a:gd name="connsiteX96" fmla="*/ 2116151 w 12191999"/>
              <a:gd name="connsiteY96" fmla="*/ 6324037 h 6858001"/>
              <a:gd name="connsiteX97" fmla="*/ 2111375 w 12191999"/>
              <a:gd name="connsiteY97" fmla="*/ 6335071 h 6858001"/>
              <a:gd name="connsiteX98" fmla="*/ 2122016 w 12191999"/>
              <a:gd name="connsiteY98" fmla="*/ 6336522 h 6858001"/>
              <a:gd name="connsiteX99" fmla="*/ 2127427 w 12191999"/>
              <a:gd name="connsiteY99" fmla="*/ 6326999 h 6858001"/>
              <a:gd name="connsiteX100" fmla="*/ 2138764 w 12191999"/>
              <a:gd name="connsiteY100" fmla="*/ 6324309 h 6858001"/>
              <a:gd name="connsiteX101" fmla="*/ 2151159 w 12191999"/>
              <a:gd name="connsiteY101" fmla="*/ 6327997 h 6858001"/>
              <a:gd name="connsiteX102" fmla="*/ 2154242 w 12191999"/>
              <a:gd name="connsiteY102" fmla="*/ 6337369 h 6858001"/>
              <a:gd name="connsiteX103" fmla="*/ 2154182 w 12191999"/>
              <a:gd name="connsiteY103" fmla="*/ 6340210 h 6858001"/>
              <a:gd name="connsiteX104" fmla="*/ 2134773 w 12191999"/>
              <a:gd name="connsiteY104" fmla="*/ 6343959 h 6858001"/>
              <a:gd name="connsiteX105" fmla="*/ 2125100 w 12191999"/>
              <a:gd name="connsiteY105" fmla="*/ 6345591 h 6858001"/>
              <a:gd name="connsiteX106" fmla="*/ 2117270 w 12191999"/>
              <a:gd name="connsiteY106" fmla="*/ 6349159 h 6858001"/>
              <a:gd name="connsiteX107" fmla="*/ 2111647 w 12191999"/>
              <a:gd name="connsiteY107" fmla="*/ 6355416 h 6858001"/>
              <a:gd name="connsiteX108" fmla="*/ 2109500 w 12191999"/>
              <a:gd name="connsiteY108" fmla="*/ 6364032 h 6858001"/>
              <a:gd name="connsiteX109" fmla="*/ 2115184 w 12191999"/>
              <a:gd name="connsiteY109" fmla="*/ 6377243 h 6858001"/>
              <a:gd name="connsiteX110" fmla="*/ 2131448 w 12191999"/>
              <a:gd name="connsiteY110" fmla="*/ 6382412 h 6858001"/>
              <a:gd name="connsiteX111" fmla="*/ 2143450 w 12191999"/>
              <a:gd name="connsiteY111" fmla="*/ 6380296 h 6858001"/>
              <a:gd name="connsiteX112" fmla="*/ 2155089 w 12191999"/>
              <a:gd name="connsiteY112" fmla="*/ 6373041 h 6858001"/>
              <a:gd name="connsiteX113" fmla="*/ 2157265 w 12191999"/>
              <a:gd name="connsiteY113" fmla="*/ 6380961 h 6858001"/>
              <a:gd name="connsiteX114" fmla="*/ 2168632 w 12191999"/>
              <a:gd name="connsiteY114" fmla="*/ 6380961 h 6858001"/>
              <a:gd name="connsiteX115" fmla="*/ 2165881 w 12191999"/>
              <a:gd name="connsiteY115" fmla="*/ 6373252 h 6858001"/>
              <a:gd name="connsiteX116" fmla="*/ 2165185 w 12191999"/>
              <a:gd name="connsiteY116" fmla="*/ 6354056 h 6858001"/>
              <a:gd name="connsiteX117" fmla="*/ 2165185 w 12191999"/>
              <a:gd name="connsiteY117" fmla="*/ 6339545 h 6858001"/>
              <a:gd name="connsiteX118" fmla="*/ 2164641 w 12191999"/>
              <a:gd name="connsiteY118" fmla="*/ 6329509 h 6858001"/>
              <a:gd name="connsiteX119" fmla="*/ 2161255 w 12191999"/>
              <a:gd name="connsiteY119" fmla="*/ 6322102 h 6858001"/>
              <a:gd name="connsiteX120" fmla="*/ 2153698 w 12191999"/>
              <a:gd name="connsiteY120" fmla="*/ 6317235 h 6858001"/>
              <a:gd name="connsiteX121" fmla="*/ 2140336 w 12191999"/>
              <a:gd name="connsiteY121" fmla="*/ 6315300 h 6858001"/>
              <a:gd name="connsiteX122" fmla="*/ 2076744 w 12191999"/>
              <a:gd name="connsiteY122" fmla="*/ 6315300 h 6858001"/>
              <a:gd name="connsiteX123" fmla="*/ 2056309 w 12191999"/>
              <a:gd name="connsiteY123" fmla="*/ 6325881 h 6858001"/>
              <a:gd name="connsiteX124" fmla="*/ 2056309 w 12191999"/>
              <a:gd name="connsiteY124" fmla="*/ 6316751 h 6858001"/>
              <a:gd name="connsiteX125" fmla="*/ 2046514 w 12191999"/>
              <a:gd name="connsiteY125" fmla="*/ 6316751 h 6858001"/>
              <a:gd name="connsiteX126" fmla="*/ 2046514 w 12191999"/>
              <a:gd name="connsiteY126" fmla="*/ 6380961 h 6858001"/>
              <a:gd name="connsiteX127" fmla="*/ 2057397 w 12191999"/>
              <a:gd name="connsiteY127" fmla="*/ 6380961 h 6858001"/>
              <a:gd name="connsiteX128" fmla="*/ 2057397 w 12191999"/>
              <a:gd name="connsiteY128" fmla="*/ 6345894 h 6858001"/>
              <a:gd name="connsiteX129" fmla="*/ 2062445 w 12191999"/>
              <a:gd name="connsiteY129" fmla="*/ 6329146 h 6858001"/>
              <a:gd name="connsiteX130" fmla="*/ 2074447 w 12191999"/>
              <a:gd name="connsiteY130" fmla="*/ 6324732 h 6858001"/>
              <a:gd name="connsiteX131" fmla="*/ 2082035 w 12191999"/>
              <a:gd name="connsiteY131" fmla="*/ 6326697 h 6858001"/>
              <a:gd name="connsiteX132" fmla="*/ 2086539 w 12191999"/>
              <a:gd name="connsiteY132" fmla="*/ 6331957 h 6858001"/>
              <a:gd name="connsiteX133" fmla="*/ 2087809 w 12191999"/>
              <a:gd name="connsiteY133" fmla="*/ 6341903 h 6858001"/>
              <a:gd name="connsiteX134" fmla="*/ 2087809 w 12191999"/>
              <a:gd name="connsiteY134" fmla="*/ 6380961 h 6858001"/>
              <a:gd name="connsiteX135" fmla="*/ 2098692 w 12191999"/>
              <a:gd name="connsiteY135" fmla="*/ 6380961 h 6858001"/>
              <a:gd name="connsiteX136" fmla="*/ 2098692 w 12191999"/>
              <a:gd name="connsiteY136" fmla="*/ 6341480 h 6858001"/>
              <a:gd name="connsiteX137" fmla="*/ 2098087 w 12191999"/>
              <a:gd name="connsiteY137" fmla="*/ 6330899 h 6858001"/>
              <a:gd name="connsiteX138" fmla="*/ 2094702 w 12191999"/>
              <a:gd name="connsiteY138" fmla="*/ 6322858 h 6858001"/>
              <a:gd name="connsiteX139" fmla="*/ 2087416 w 12191999"/>
              <a:gd name="connsiteY139" fmla="*/ 6317386 h 6858001"/>
              <a:gd name="connsiteX140" fmla="*/ 2076744 w 12191999"/>
              <a:gd name="connsiteY140" fmla="*/ 6315300 h 6858001"/>
              <a:gd name="connsiteX141" fmla="*/ 2010069 w 12191999"/>
              <a:gd name="connsiteY141" fmla="*/ 6315300 h 6858001"/>
              <a:gd name="connsiteX142" fmla="*/ 1989633 w 12191999"/>
              <a:gd name="connsiteY142" fmla="*/ 6325881 h 6858001"/>
              <a:gd name="connsiteX143" fmla="*/ 1989633 w 12191999"/>
              <a:gd name="connsiteY143" fmla="*/ 6316751 h 6858001"/>
              <a:gd name="connsiteX144" fmla="*/ 1979839 w 12191999"/>
              <a:gd name="connsiteY144" fmla="*/ 6316751 h 6858001"/>
              <a:gd name="connsiteX145" fmla="*/ 1979839 w 12191999"/>
              <a:gd name="connsiteY145" fmla="*/ 6380961 h 6858001"/>
              <a:gd name="connsiteX146" fmla="*/ 1990722 w 12191999"/>
              <a:gd name="connsiteY146" fmla="*/ 6380961 h 6858001"/>
              <a:gd name="connsiteX147" fmla="*/ 1990722 w 12191999"/>
              <a:gd name="connsiteY147" fmla="*/ 6345894 h 6858001"/>
              <a:gd name="connsiteX148" fmla="*/ 1995770 w 12191999"/>
              <a:gd name="connsiteY148" fmla="*/ 6329146 h 6858001"/>
              <a:gd name="connsiteX149" fmla="*/ 2007772 w 12191999"/>
              <a:gd name="connsiteY149" fmla="*/ 6324732 h 6858001"/>
              <a:gd name="connsiteX150" fmla="*/ 2015360 w 12191999"/>
              <a:gd name="connsiteY150" fmla="*/ 6326697 h 6858001"/>
              <a:gd name="connsiteX151" fmla="*/ 2019864 w 12191999"/>
              <a:gd name="connsiteY151" fmla="*/ 6331957 h 6858001"/>
              <a:gd name="connsiteX152" fmla="*/ 2021134 w 12191999"/>
              <a:gd name="connsiteY152" fmla="*/ 6341903 h 6858001"/>
              <a:gd name="connsiteX153" fmla="*/ 2021134 w 12191999"/>
              <a:gd name="connsiteY153" fmla="*/ 6380961 h 6858001"/>
              <a:gd name="connsiteX154" fmla="*/ 2032017 w 12191999"/>
              <a:gd name="connsiteY154" fmla="*/ 6380961 h 6858001"/>
              <a:gd name="connsiteX155" fmla="*/ 2032017 w 12191999"/>
              <a:gd name="connsiteY155" fmla="*/ 6341480 h 6858001"/>
              <a:gd name="connsiteX156" fmla="*/ 2031412 w 12191999"/>
              <a:gd name="connsiteY156" fmla="*/ 6330899 h 6858001"/>
              <a:gd name="connsiteX157" fmla="*/ 2028026 w 12191999"/>
              <a:gd name="connsiteY157" fmla="*/ 6322858 h 6858001"/>
              <a:gd name="connsiteX158" fmla="*/ 2020741 w 12191999"/>
              <a:gd name="connsiteY158" fmla="*/ 6317386 h 6858001"/>
              <a:gd name="connsiteX159" fmla="*/ 2010069 w 12191999"/>
              <a:gd name="connsiteY159" fmla="*/ 6315300 h 6858001"/>
              <a:gd name="connsiteX160" fmla="*/ 1939525 w 12191999"/>
              <a:gd name="connsiteY160" fmla="*/ 6315300 h 6858001"/>
              <a:gd name="connsiteX161" fmla="*/ 1917880 w 12191999"/>
              <a:gd name="connsiteY161" fmla="*/ 6324248 h 6858001"/>
              <a:gd name="connsiteX162" fmla="*/ 1909536 w 12191999"/>
              <a:gd name="connsiteY162" fmla="*/ 6349400 h 6858001"/>
              <a:gd name="connsiteX163" fmla="*/ 1917789 w 12191999"/>
              <a:gd name="connsiteY163" fmla="*/ 6373736 h 6858001"/>
              <a:gd name="connsiteX164" fmla="*/ 1940129 w 12191999"/>
              <a:gd name="connsiteY164" fmla="*/ 6382412 h 6858001"/>
              <a:gd name="connsiteX165" fmla="*/ 1958510 w 12191999"/>
              <a:gd name="connsiteY165" fmla="*/ 6376971 h 6858001"/>
              <a:gd name="connsiteX166" fmla="*/ 1968365 w 12191999"/>
              <a:gd name="connsiteY166" fmla="*/ 6361674 h 6858001"/>
              <a:gd name="connsiteX167" fmla="*/ 1957119 w 12191999"/>
              <a:gd name="connsiteY167" fmla="*/ 6360283 h 6858001"/>
              <a:gd name="connsiteX168" fmla="*/ 1950408 w 12191999"/>
              <a:gd name="connsiteY168" fmla="*/ 6370320 h 6858001"/>
              <a:gd name="connsiteX169" fmla="*/ 1940190 w 12191999"/>
              <a:gd name="connsiteY169" fmla="*/ 6373464 h 6858001"/>
              <a:gd name="connsiteX170" fmla="*/ 1926767 w 12191999"/>
              <a:gd name="connsiteY170" fmla="*/ 6367841 h 6858001"/>
              <a:gd name="connsiteX171" fmla="*/ 1920782 w 12191999"/>
              <a:gd name="connsiteY171" fmla="*/ 6351637 h 6858001"/>
              <a:gd name="connsiteX172" fmla="*/ 1968667 w 12191999"/>
              <a:gd name="connsiteY172" fmla="*/ 6351637 h 6858001"/>
              <a:gd name="connsiteX173" fmla="*/ 1968728 w 12191999"/>
              <a:gd name="connsiteY173" fmla="*/ 6348735 h 6858001"/>
              <a:gd name="connsiteX174" fmla="*/ 1960565 w 12191999"/>
              <a:gd name="connsiteY174" fmla="*/ 6324067 h 6858001"/>
              <a:gd name="connsiteX175" fmla="*/ 1939525 w 12191999"/>
              <a:gd name="connsiteY175" fmla="*/ 6315300 h 6858001"/>
              <a:gd name="connsiteX176" fmla="*/ 1805752 w 12191999"/>
              <a:gd name="connsiteY176" fmla="*/ 6315300 h 6858001"/>
              <a:gd name="connsiteX177" fmla="*/ 1790425 w 12191999"/>
              <a:gd name="connsiteY177" fmla="*/ 6319200 h 6858001"/>
              <a:gd name="connsiteX178" fmla="*/ 1779935 w 12191999"/>
              <a:gd name="connsiteY178" fmla="*/ 6330899 h 6858001"/>
              <a:gd name="connsiteX179" fmla="*/ 1776488 w 12191999"/>
              <a:gd name="connsiteY179" fmla="*/ 6349098 h 6858001"/>
              <a:gd name="connsiteX180" fmla="*/ 1784499 w 12191999"/>
              <a:gd name="connsiteY180" fmla="*/ 6373797 h 6858001"/>
              <a:gd name="connsiteX181" fmla="*/ 1805691 w 12191999"/>
              <a:gd name="connsiteY181" fmla="*/ 6382412 h 6858001"/>
              <a:gd name="connsiteX182" fmla="*/ 1823437 w 12191999"/>
              <a:gd name="connsiteY182" fmla="*/ 6376155 h 6858001"/>
              <a:gd name="connsiteX183" fmla="*/ 1832415 w 12191999"/>
              <a:gd name="connsiteY183" fmla="*/ 6358832 h 6858001"/>
              <a:gd name="connsiteX184" fmla="*/ 1821714 w 12191999"/>
              <a:gd name="connsiteY184" fmla="*/ 6357442 h 6858001"/>
              <a:gd name="connsiteX185" fmla="*/ 1816272 w 12191999"/>
              <a:gd name="connsiteY185" fmla="*/ 6369534 h 6858001"/>
              <a:gd name="connsiteX186" fmla="*/ 1805570 w 12191999"/>
              <a:gd name="connsiteY186" fmla="*/ 6373464 h 6858001"/>
              <a:gd name="connsiteX187" fmla="*/ 1792632 w 12191999"/>
              <a:gd name="connsiteY187" fmla="*/ 6367599 h 6858001"/>
              <a:gd name="connsiteX188" fmla="*/ 1787674 w 12191999"/>
              <a:gd name="connsiteY188" fmla="*/ 6348796 h 6858001"/>
              <a:gd name="connsiteX189" fmla="*/ 1792813 w 12191999"/>
              <a:gd name="connsiteY189" fmla="*/ 6330143 h 6858001"/>
              <a:gd name="connsiteX190" fmla="*/ 1806175 w 12191999"/>
              <a:gd name="connsiteY190" fmla="*/ 6324248 h 6858001"/>
              <a:gd name="connsiteX191" fmla="*/ 1815456 w 12191999"/>
              <a:gd name="connsiteY191" fmla="*/ 6327513 h 6858001"/>
              <a:gd name="connsiteX192" fmla="*/ 1820806 w 12191999"/>
              <a:gd name="connsiteY192" fmla="*/ 6337248 h 6858001"/>
              <a:gd name="connsiteX193" fmla="*/ 1831387 w 12191999"/>
              <a:gd name="connsiteY193" fmla="*/ 6335615 h 6858001"/>
              <a:gd name="connsiteX194" fmla="*/ 1822862 w 12191999"/>
              <a:gd name="connsiteY194" fmla="*/ 6320591 h 6858001"/>
              <a:gd name="connsiteX195" fmla="*/ 1805752 w 12191999"/>
              <a:gd name="connsiteY195" fmla="*/ 6315300 h 6858001"/>
              <a:gd name="connsiteX196" fmla="*/ 1515165 w 12191999"/>
              <a:gd name="connsiteY196" fmla="*/ 6315300 h 6858001"/>
              <a:gd name="connsiteX197" fmla="*/ 1505763 w 12191999"/>
              <a:gd name="connsiteY197" fmla="*/ 6316600 h 6858001"/>
              <a:gd name="connsiteX198" fmla="*/ 1498840 w 12191999"/>
              <a:gd name="connsiteY198" fmla="*/ 6319774 h 6858001"/>
              <a:gd name="connsiteX199" fmla="*/ 1493489 w 12191999"/>
              <a:gd name="connsiteY199" fmla="*/ 6325851 h 6858001"/>
              <a:gd name="connsiteX200" fmla="*/ 1491524 w 12191999"/>
              <a:gd name="connsiteY200" fmla="*/ 6333801 h 6858001"/>
              <a:gd name="connsiteX201" fmla="*/ 1493913 w 12191999"/>
              <a:gd name="connsiteY201" fmla="*/ 6342417 h 6858001"/>
              <a:gd name="connsiteX202" fmla="*/ 1500926 w 12191999"/>
              <a:gd name="connsiteY202" fmla="*/ 6348524 h 6858001"/>
              <a:gd name="connsiteX203" fmla="*/ 1517523 w 12191999"/>
              <a:gd name="connsiteY203" fmla="*/ 6353754 h 6858001"/>
              <a:gd name="connsiteX204" fmla="*/ 1528648 w 12191999"/>
              <a:gd name="connsiteY204" fmla="*/ 6357442 h 6858001"/>
              <a:gd name="connsiteX205" fmla="*/ 1531852 w 12191999"/>
              <a:gd name="connsiteY205" fmla="*/ 6363246 h 6858001"/>
              <a:gd name="connsiteX206" fmla="*/ 1528224 w 12191999"/>
              <a:gd name="connsiteY206" fmla="*/ 6370411 h 6858001"/>
              <a:gd name="connsiteX207" fmla="*/ 1517100 w 12191999"/>
              <a:gd name="connsiteY207" fmla="*/ 6373464 h 6858001"/>
              <a:gd name="connsiteX208" fmla="*/ 1505521 w 12191999"/>
              <a:gd name="connsiteY208" fmla="*/ 6370018 h 6858001"/>
              <a:gd name="connsiteX209" fmla="*/ 1500472 w 12191999"/>
              <a:gd name="connsiteY209" fmla="*/ 6360102 h 6858001"/>
              <a:gd name="connsiteX210" fmla="*/ 1489710 w 12191999"/>
              <a:gd name="connsiteY210" fmla="*/ 6361795 h 6858001"/>
              <a:gd name="connsiteX211" fmla="*/ 1498084 w 12191999"/>
              <a:gd name="connsiteY211" fmla="*/ 6377213 h 6858001"/>
              <a:gd name="connsiteX212" fmla="*/ 1517160 w 12191999"/>
              <a:gd name="connsiteY212" fmla="*/ 6382412 h 6858001"/>
              <a:gd name="connsiteX213" fmla="*/ 1530703 w 12191999"/>
              <a:gd name="connsiteY213" fmla="*/ 6379782 h 6858001"/>
              <a:gd name="connsiteX214" fmla="*/ 1539863 w 12191999"/>
              <a:gd name="connsiteY214" fmla="*/ 6372345 h 6858001"/>
              <a:gd name="connsiteX215" fmla="*/ 1543037 w 12191999"/>
              <a:gd name="connsiteY215" fmla="*/ 6362097 h 6858001"/>
              <a:gd name="connsiteX216" fmla="*/ 1540437 w 12191999"/>
              <a:gd name="connsiteY216" fmla="*/ 6352786 h 6858001"/>
              <a:gd name="connsiteX217" fmla="*/ 1533273 w 12191999"/>
              <a:gd name="connsiteY217" fmla="*/ 6347073 h 6858001"/>
              <a:gd name="connsiteX218" fmla="*/ 1517160 w 12191999"/>
              <a:gd name="connsiteY218" fmla="*/ 6342024 h 6858001"/>
              <a:gd name="connsiteX219" fmla="*/ 1507547 w 12191999"/>
              <a:gd name="connsiteY219" fmla="*/ 6339243 h 6858001"/>
              <a:gd name="connsiteX220" fmla="*/ 1503375 w 12191999"/>
              <a:gd name="connsiteY220" fmla="*/ 6336341 h 6858001"/>
              <a:gd name="connsiteX221" fmla="*/ 1502044 w 12191999"/>
              <a:gd name="connsiteY221" fmla="*/ 6332532 h 6858001"/>
              <a:gd name="connsiteX222" fmla="*/ 1505249 w 12191999"/>
              <a:gd name="connsiteY222" fmla="*/ 6326727 h 6858001"/>
              <a:gd name="connsiteX223" fmla="*/ 1515951 w 12191999"/>
              <a:gd name="connsiteY223" fmla="*/ 6324248 h 6858001"/>
              <a:gd name="connsiteX224" fmla="*/ 1525776 w 12191999"/>
              <a:gd name="connsiteY224" fmla="*/ 6327030 h 6858001"/>
              <a:gd name="connsiteX225" fmla="*/ 1529978 w 12191999"/>
              <a:gd name="connsiteY225" fmla="*/ 6334769 h 6858001"/>
              <a:gd name="connsiteX226" fmla="*/ 1540619 w 12191999"/>
              <a:gd name="connsiteY226" fmla="*/ 6333318 h 6858001"/>
              <a:gd name="connsiteX227" fmla="*/ 1536870 w 12191999"/>
              <a:gd name="connsiteY227" fmla="*/ 6323372 h 6858001"/>
              <a:gd name="connsiteX228" fmla="*/ 1528436 w 12191999"/>
              <a:gd name="connsiteY228" fmla="*/ 6317477 h 6858001"/>
              <a:gd name="connsiteX229" fmla="*/ 1515165 w 12191999"/>
              <a:gd name="connsiteY229" fmla="*/ 6315300 h 6858001"/>
              <a:gd name="connsiteX230" fmla="*/ 1479544 w 12191999"/>
              <a:gd name="connsiteY230" fmla="*/ 6315300 h 6858001"/>
              <a:gd name="connsiteX231" fmla="*/ 1472560 w 12191999"/>
              <a:gd name="connsiteY231" fmla="*/ 6317477 h 6858001"/>
              <a:gd name="connsiteX232" fmla="*/ 1465638 w 12191999"/>
              <a:gd name="connsiteY232" fmla="*/ 6326486 h 6858001"/>
              <a:gd name="connsiteX233" fmla="*/ 1465638 w 12191999"/>
              <a:gd name="connsiteY233" fmla="*/ 6316751 h 6858001"/>
              <a:gd name="connsiteX234" fmla="*/ 1455843 w 12191999"/>
              <a:gd name="connsiteY234" fmla="*/ 6316751 h 6858001"/>
              <a:gd name="connsiteX235" fmla="*/ 1455843 w 12191999"/>
              <a:gd name="connsiteY235" fmla="*/ 6380961 h 6858001"/>
              <a:gd name="connsiteX236" fmla="*/ 1466726 w 12191999"/>
              <a:gd name="connsiteY236" fmla="*/ 6380961 h 6858001"/>
              <a:gd name="connsiteX237" fmla="*/ 1466726 w 12191999"/>
              <a:gd name="connsiteY237" fmla="*/ 6347345 h 6858001"/>
              <a:gd name="connsiteX238" fmla="*/ 1468540 w 12191999"/>
              <a:gd name="connsiteY238" fmla="*/ 6334648 h 6858001"/>
              <a:gd name="connsiteX239" fmla="*/ 1472590 w 12191999"/>
              <a:gd name="connsiteY239" fmla="*/ 6328692 h 6858001"/>
              <a:gd name="connsiteX240" fmla="*/ 1479000 w 12191999"/>
              <a:gd name="connsiteY240" fmla="*/ 6326546 h 6858001"/>
              <a:gd name="connsiteX241" fmla="*/ 1486980 w 12191999"/>
              <a:gd name="connsiteY241" fmla="*/ 6328904 h 6858001"/>
              <a:gd name="connsiteX242" fmla="*/ 1490729 w 12191999"/>
              <a:gd name="connsiteY242" fmla="*/ 6318807 h 6858001"/>
              <a:gd name="connsiteX243" fmla="*/ 1479544 w 12191999"/>
              <a:gd name="connsiteY243" fmla="*/ 6315300 h 6858001"/>
              <a:gd name="connsiteX244" fmla="*/ 1416436 w 12191999"/>
              <a:gd name="connsiteY244" fmla="*/ 6315300 h 6858001"/>
              <a:gd name="connsiteX245" fmla="*/ 1401865 w 12191999"/>
              <a:gd name="connsiteY245" fmla="*/ 6317567 h 6858001"/>
              <a:gd name="connsiteX246" fmla="*/ 1392251 w 12191999"/>
              <a:gd name="connsiteY246" fmla="*/ 6324037 h 6858001"/>
              <a:gd name="connsiteX247" fmla="*/ 1387475 w 12191999"/>
              <a:gd name="connsiteY247" fmla="*/ 6335071 h 6858001"/>
              <a:gd name="connsiteX248" fmla="*/ 1398116 w 12191999"/>
              <a:gd name="connsiteY248" fmla="*/ 6336522 h 6858001"/>
              <a:gd name="connsiteX249" fmla="*/ 1403527 w 12191999"/>
              <a:gd name="connsiteY249" fmla="*/ 6326999 h 6858001"/>
              <a:gd name="connsiteX250" fmla="*/ 1414864 w 12191999"/>
              <a:gd name="connsiteY250" fmla="*/ 6324309 h 6858001"/>
              <a:gd name="connsiteX251" fmla="*/ 1427258 w 12191999"/>
              <a:gd name="connsiteY251" fmla="*/ 6327997 h 6858001"/>
              <a:gd name="connsiteX252" fmla="*/ 1430342 w 12191999"/>
              <a:gd name="connsiteY252" fmla="*/ 6337369 h 6858001"/>
              <a:gd name="connsiteX253" fmla="*/ 1430281 w 12191999"/>
              <a:gd name="connsiteY253" fmla="*/ 6340210 h 6858001"/>
              <a:gd name="connsiteX254" fmla="*/ 1410873 w 12191999"/>
              <a:gd name="connsiteY254" fmla="*/ 6343959 h 6858001"/>
              <a:gd name="connsiteX255" fmla="*/ 1401199 w 12191999"/>
              <a:gd name="connsiteY255" fmla="*/ 6345591 h 6858001"/>
              <a:gd name="connsiteX256" fmla="*/ 1393370 w 12191999"/>
              <a:gd name="connsiteY256" fmla="*/ 6349159 h 6858001"/>
              <a:gd name="connsiteX257" fmla="*/ 1387747 w 12191999"/>
              <a:gd name="connsiteY257" fmla="*/ 6355416 h 6858001"/>
              <a:gd name="connsiteX258" fmla="*/ 1385600 w 12191999"/>
              <a:gd name="connsiteY258" fmla="*/ 6364032 h 6858001"/>
              <a:gd name="connsiteX259" fmla="*/ 1391284 w 12191999"/>
              <a:gd name="connsiteY259" fmla="*/ 6377243 h 6858001"/>
              <a:gd name="connsiteX260" fmla="*/ 1407548 w 12191999"/>
              <a:gd name="connsiteY260" fmla="*/ 6382412 h 6858001"/>
              <a:gd name="connsiteX261" fmla="*/ 1419550 w 12191999"/>
              <a:gd name="connsiteY261" fmla="*/ 6380296 h 6858001"/>
              <a:gd name="connsiteX262" fmla="*/ 1431188 w 12191999"/>
              <a:gd name="connsiteY262" fmla="*/ 6373041 h 6858001"/>
              <a:gd name="connsiteX263" fmla="*/ 1433365 w 12191999"/>
              <a:gd name="connsiteY263" fmla="*/ 6380961 h 6858001"/>
              <a:gd name="connsiteX264" fmla="*/ 1444732 w 12191999"/>
              <a:gd name="connsiteY264" fmla="*/ 6380961 h 6858001"/>
              <a:gd name="connsiteX265" fmla="*/ 1441981 w 12191999"/>
              <a:gd name="connsiteY265" fmla="*/ 6373252 h 6858001"/>
              <a:gd name="connsiteX266" fmla="*/ 1441285 w 12191999"/>
              <a:gd name="connsiteY266" fmla="*/ 6354056 h 6858001"/>
              <a:gd name="connsiteX267" fmla="*/ 1441285 w 12191999"/>
              <a:gd name="connsiteY267" fmla="*/ 6339545 h 6858001"/>
              <a:gd name="connsiteX268" fmla="*/ 1440741 w 12191999"/>
              <a:gd name="connsiteY268" fmla="*/ 6329509 h 6858001"/>
              <a:gd name="connsiteX269" fmla="*/ 1437355 w 12191999"/>
              <a:gd name="connsiteY269" fmla="*/ 6322102 h 6858001"/>
              <a:gd name="connsiteX270" fmla="*/ 1429798 w 12191999"/>
              <a:gd name="connsiteY270" fmla="*/ 6317235 h 6858001"/>
              <a:gd name="connsiteX271" fmla="*/ 1416436 w 12191999"/>
              <a:gd name="connsiteY271" fmla="*/ 6315300 h 6858001"/>
              <a:gd name="connsiteX272" fmla="*/ 1167698 w 12191999"/>
              <a:gd name="connsiteY272" fmla="*/ 6315300 h 6858001"/>
              <a:gd name="connsiteX273" fmla="*/ 1147503 w 12191999"/>
              <a:gd name="connsiteY273" fmla="*/ 6322435 h 6858001"/>
              <a:gd name="connsiteX274" fmla="*/ 1137588 w 12191999"/>
              <a:gd name="connsiteY274" fmla="*/ 6348856 h 6858001"/>
              <a:gd name="connsiteX275" fmla="*/ 1145901 w 12191999"/>
              <a:gd name="connsiteY275" fmla="*/ 6373766 h 6858001"/>
              <a:gd name="connsiteX276" fmla="*/ 1167698 w 12191999"/>
              <a:gd name="connsiteY276" fmla="*/ 6382412 h 6858001"/>
              <a:gd name="connsiteX277" fmla="*/ 1183206 w 12191999"/>
              <a:gd name="connsiteY277" fmla="*/ 6378482 h 6858001"/>
              <a:gd name="connsiteX278" fmla="*/ 1194028 w 12191999"/>
              <a:gd name="connsiteY278" fmla="*/ 6367448 h 6858001"/>
              <a:gd name="connsiteX279" fmla="*/ 1197747 w 12191999"/>
              <a:gd name="connsiteY279" fmla="*/ 6347949 h 6858001"/>
              <a:gd name="connsiteX280" fmla="*/ 1189343 w 12191999"/>
              <a:gd name="connsiteY280" fmla="*/ 6323976 h 6858001"/>
              <a:gd name="connsiteX281" fmla="*/ 1167698 w 12191999"/>
              <a:gd name="connsiteY281" fmla="*/ 6315300 h 6858001"/>
              <a:gd name="connsiteX282" fmla="*/ 1057965 w 12191999"/>
              <a:gd name="connsiteY282" fmla="*/ 6315300 h 6858001"/>
              <a:gd name="connsiteX283" fmla="*/ 1048563 w 12191999"/>
              <a:gd name="connsiteY283" fmla="*/ 6316600 h 6858001"/>
              <a:gd name="connsiteX284" fmla="*/ 1041640 w 12191999"/>
              <a:gd name="connsiteY284" fmla="*/ 6319774 h 6858001"/>
              <a:gd name="connsiteX285" fmla="*/ 1036289 w 12191999"/>
              <a:gd name="connsiteY285" fmla="*/ 6325851 h 6858001"/>
              <a:gd name="connsiteX286" fmla="*/ 1034324 w 12191999"/>
              <a:gd name="connsiteY286" fmla="*/ 6333801 h 6858001"/>
              <a:gd name="connsiteX287" fmla="*/ 1036712 w 12191999"/>
              <a:gd name="connsiteY287" fmla="*/ 6342417 h 6858001"/>
              <a:gd name="connsiteX288" fmla="*/ 1043726 w 12191999"/>
              <a:gd name="connsiteY288" fmla="*/ 6348524 h 6858001"/>
              <a:gd name="connsiteX289" fmla="*/ 1060323 w 12191999"/>
              <a:gd name="connsiteY289" fmla="*/ 6353754 h 6858001"/>
              <a:gd name="connsiteX290" fmla="*/ 1071447 w 12191999"/>
              <a:gd name="connsiteY290" fmla="*/ 6357442 h 6858001"/>
              <a:gd name="connsiteX291" fmla="*/ 1074652 w 12191999"/>
              <a:gd name="connsiteY291" fmla="*/ 6363246 h 6858001"/>
              <a:gd name="connsiteX292" fmla="*/ 1071024 w 12191999"/>
              <a:gd name="connsiteY292" fmla="*/ 6370411 h 6858001"/>
              <a:gd name="connsiteX293" fmla="*/ 1059899 w 12191999"/>
              <a:gd name="connsiteY293" fmla="*/ 6373464 h 6858001"/>
              <a:gd name="connsiteX294" fmla="*/ 1048321 w 12191999"/>
              <a:gd name="connsiteY294" fmla="*/ 6370018 h 6858001"/>
              <a:gd name="connsiteX295" fmla="*/ 1043272 w 12191999"/>
              <a:gd name="connsiteY295" fmla="*/ 6360102 h 6858001"/>
              <a:gd name="connsiteX296" fmla="*/ 1032510 w 12191999"/>
              <a:gd name="connsiteY296" fmla="*/ 6361795 h 6858001"/>
              <a:gd name="connsiteX297" fmla="*/ 1040884 w 12191999"/>
              <a:gd name="connsiteY297" fmla="*/ 6377213 h 6858001"/>
              <a:gd name="connsiteX298" fmla="*/ 1059960 w 12191999"/>
              <a:gd name="connsiteY298" fmla="*/ 6382412 h 6858001"/>
              <a:gd name="connsiteX299" fmla="*/ 1073503 w 12191999"/>
              <a:gd name="connsiteY299" fmla="*/ 6379782 h 6858001"/>
              <a:gd name="connsiteX300" fmla="*/ 1082663 w 12191999"/>
              <a:gd name="connsiteY300" fmla="*/ 6372345 h 6858001"/>
              <a:gd name="connsiteX301" fmla="*/ 1085837 w 12191999"/>
              <a:gd name="connsiteY301" fmla="*/ 6362097 h 6858001"/>
              <a:gd name="connsiteX302" fmla="*/ 1083237 w 12191999"/>
              <a:gd name="connsiteY302" fmla="*/ 6352786 h 6858001"/>
              <a:gd name="connsiteX303" fmla="*/ 1076073 w 12191999"/>
              <a:gd name="connsiteY303" fmla="*/ 6347073 h 6858001"/>
              <a:gd name="connsiteX304" fmla="*/ 1059960 w 12191999"/>
              <a:gd name="connsiteY304" fmla="*/ 6342024 h 6858001"/>
              <a:gd name="connsiteX305" fmla="*/ 1050346 w 12191999"/>
              <a:gd name="connsiteY305" fmla="*/ 6339243 h 6858001"/>
              <a:gd name="connsiteX306" fmla="*/ 1046175 w 12191999"/>
              <a:gd name="connsiteY306" fmla="*/ 6336341 h 6858001"/>
              <a:gd name="connsiteX307" fmla="*/ 1044844 w 12191999"/>
              <a:gd name="connsiteY307" fmla="*/ 6332532 h 6858001"/>
              <a:gd name="connsiteX308" fmla="*/ 1048049 w 12191999"/>
              <a:gd name="connsiteY308" fmla="*/ 6326727 h 6858001"/>
              <a:gd name="connsiteX309" fmla="*/ 1058751 w 12191999"/>
              <a:gd name="connsiteY309" fmla="*/ 6324248 h 6858001"/>
              <a:gd name="connsiteX310" fmla="*/ 1068576 w 12191999"/>
              <a:gd name="connsiteY310" fmla="*/ 6327030 h 6858001"/>
              <a:gd name="connsiteX311" fmla="*/ 1072778 w 12191999"/>
              <a:gd name="connsiteY311" fmla="*/ 6334769 h 6858001"/>
              <a:gd name="connsiteX312" fmla="*/ 1083419 w 12191999"/>
              <a:gd name="connsiteY312" fmla="*/ 6333318 h 6858001"/>
              <a:gd name="connsiteX313" fmla="*/ 1079670 w 12191999"/>
              <a:gd name="connsiteY313" fmla="*/ 6323372 h 6858001"/>
              <a:gd name="connsiteX314" fmla="*/ 1071236 w 12191999"/>
              <a:gd name="connsiteY314" fmla="*/ 6317477 h 6858001"/>
              <a:gd name="connsiteX315" fmla="*/ 1057965 w 12191999"/>
              <a:gd name="connsiteY315" fmla="*/ 6315300 h 6858001"/>
              <a:gd name="connsiteX316" fmla="*/ 991290 w 12191999"/>
              <a:gd name="connsiteY316" fmla="*/ 6315300 h 6858001"/>
              <a:gd name="connsiteX317" fmla="*/ 981888 w 12191999"/>
              <a:gd name="connsiteY317" fmla="*/ 6316600 h 6858001"/>
              <a:gd name="connsiteX318" fmla="*/ 974965 w 12191999"/>
              <a:gd name="connsiteY318" fmla="*/ 6319774 h 6858001"/>
              <a:gd name="connsiteX319" fmla="*/ 969614 w 12191999"/>
              <a:gd name="connsiteY319" fmla="*/ 6325851 h 6858001"/>
              <a:gd name="connsiteX320" fmla="*/ 967649 w 12191999"/>
              <a:gd name="connsiteY320" fmla="*/ 6333801 h 6858001"/>
              <a:gd name="connsiteX321" fmla="*/ 970037 w 12191999"/>
              <a:gd name="connsiteY321" fmla="*/ 6342417 h 6858001"/>
              <a:gd name="connsiteX322" fmla="*/ 977051 w 12191999"/>
              <a:gd name="connsiteY322" fmla="*/ 6348524 h 6858001"/>
              <a:gd name="connsiteX323" fmla="*/ 993648 w 12191999"/>
              <a:gd name="connsiteY323" fmla="*/ 6353754 h 6858001"/>
              <a:gd name="connsiteX324" fmla="*/ 1004772 w 12191999"/>
              <a:gd name="connsiteY324" fmla="*/ 6357442 h 6858001"/>
              <a:gd name="connsiteX325" fmla="*/ 1007977 w 12191999"/>
              <a:gd name="connsiteY325" fmla="*/ 6363246 h 6858001"/>
              <a:gd name="connsiteX326" fmla="*/ 1004349 w 12191999"/>
              <a:gd name="connsiteY326" fmla="*/ 6370411 h 6858001"/>
              <a:gd name="connsiteX327" fmla="*/ 993224 w 12191999"/>
              <a:gd name="connsiteY327" fmla="*/ 6373464 h 6858001"/>
              <a:gd name="connsiteX328" fmla="*/ 981646 w 12191999"/>
              <a:gd name="connsiteY328" fmla="*/ 6370018 h 6858001"/>
              <a:gd name="connsiteX329" fmla="*/ 976598 w 12191999"/>
              <a:gd name="connsiteY329" fmla="*/ 6360102 h 6858001"/>
              <a:gd name="connsiteX330" fmla="*/ 965835 w 12191999"/>
              <a:gd name="connsiteY330" fmla="*/ 6361795 h 6858001"/>
              <a:gd name="connsiteX331" fmla="*/ 974209 w 12191999"/>
              <a:gd name="connsiteY331" fmla="*/ 6377213 h 6858001"/>
              <a:gd name="connsiteX332" fmla="*/ 993285 w 12191999"/>
              <a:gd name="connsiteY332" fmla="*/ 6382412 h 6858001"/>
              <a:gd name="connsiteX333" fmla="*/ 1006828 w 12191999"/>
              <a:gd name="connsiteY333" fmla="*/ 6379782 h 6858001"/>
              <a:gd name="connsiteX334" fmla="*/ 1015988 w 12191999"/>
              <a:gd name="connsiteY334" fmla="*/ 6372345 h 6858001"/>
              <a:gd name="connsiteX335" fmla="*/ 1019162 w 12191999"/>
              <a:gd name="connsiteY335" fmla="*/ 6362097 h 6858001"/>
              <a:gd name="connsiteX336" fmla="*/ 1016562 w 12191999"/>
              <a:gd name="connsiteY336" fmla="*/ 6352786 h 6858001"/>
              <a:gd name="connsiteX337" fmla="*/ 1009398 w 12191999"/>
              <a:gd name="connsiteY337" fmla="*/ 6347073 h 6858001"/>
              <a:gd name="connsiteX338" fmla="*/ 993285 w 12191999"/>
              <a:gd name="connsiteY338" fmla="*/ 6342024 h 6858001"/>
              <a:gd name="connsiteX339" fmla="*/ 983671 w 12191999"/>
              <a:gd name="connsiteY339" fmla="*/ 6339243 h 6858001"/>
              <a:gd name="connsiteX340" fmla="*/ 979500 w 12191999"/>
              <a:gd name="connsiteY340" fmla="*/ 6336341 h 6858001"/>
              <a:gd name="connsiteX341" fmla="*/ 978170 w 12191999"/>
              <a:gd name="connsiteY341" fmla="*/ 6332532 h 6858001"/>
              <a:gd name="connsiteX342" fmla="*/ 981374 w 12191999"/>
              <a:gd name="connsiteY342" fmla="*/ 6326727 h 6858001"/>
              <a:gd name="connsiteX343" fmla="*/ 992076 w 12191999"/>
              <a:gd name="connsiteY343" fmla="*/ 6324248 h 6858001"/>
              <a:gd name="connsiteX344" fmla="*/ 1001900 w 12191999"/>
              <a:gd name="connsiteY344" fmla="*/ 6327030 h 6858001"/>
              <a:gd name="connsiteX345" fmla="*/ 1006103 w 12191999"/>
              <a:gd name="connsiteY345" fmla="*/ 6334769 h 6858001"/>
              <a:gd name="connsiteX346" fmla="*/ 1016744 w 12191999"/>
              <a:gd name="connsiteY346" fmla="*/ 6333318 h 6858001"/>
              <a:gd name="connsiteX347" fmla="*/ 1012995 w 12191999"/>
              <a:gd name="connsiteY347" fmla="*/ 6323372 h 6858001"/>
              <a:gd name="connsiteX348" fmla="*/ 1004561 w 12191999"/>
              <a:gd name="connsiteY348" fmla="*/ 6317477 h 6858001"/>
              <a:gd name="connsiteX349" fmla="*/ 991290 w 12191999"/>
              <a:gd name="connsiteY349" fmla="*/ 6315300 h 6858001"/>
              <a:gd name="connsiteX350" fmla="*/ 929875 w 12191999"/>
              <a:gd name="connsiteY350" fmla="*/ 6315300 h 6858001"/>
              <a:gd name="connsiteX351" fmla="*/ 908229 w 12191999"/>
              <a:gd name="connsiteY351" fmla="*/ 6324248 h 6858001"/>
              <a:gd name="connsiteX352" fmla="*/ 899886 w 12191999"/>
              <a:gd name="connsiteY352" fmla="*/ 6349400 h 6858001"/>
              <a:gd name="connsiteX353" fmla="*/ 908139 w 12191999"/>
              <a:gd name="connsiteY353" fmla="*/ 6373736 h 6858001"/>
              <a:gd name="connsiteX354" fmla="*/ 930479 w 12191999"/>
              <a:gd name="connsiteY354" fmla="*/ 6382412 h 6858001"/>
              <a:gd name="connsiteX355" fmla="*/ 948860 w 12191999"/>
              <a:gd name="connsiteY355" fmla="*/ 6376971 h 6858001"/>
              <a:gd name="connsiteX356" fmla="*/ 958715 w 12191999"/>
              <a:gd name="connsiteY356" fmla="*/ 6361674 h 6858001"/>
              <a:gd name="connsiteX357" fmla="*/ 947469 w 12191999"/>
              <a:gd name="connsiteY357" fmla="*/ 6360283 h 6858001"/>
              <a:gd name="connsiteX358" fmla="*/ 940758 w 12191999"/>
              <a:gd name="connsiteY358" fmla="*/ 6370320 h 6858001"/>
              <a:gd name="connsiteX359" fmla="*/ 930540 w 12191999"/>
              <a:gd name="connsiteY359" fmla="*/ 6373464 h 6858001"/>
              <a:gd name="connsiteX360" fmla="*/ 917117 w 12191999"/>
              <a:gd name="connsiteY360" fmla="*/ 6367841 h 6858001"/>
              <a:gd name="connsiteX361" fmla="*/ 911132 w 12191999"/>
              <a:gd name="connsiteY361" fmla="*/ 6351637 h 6858001"/>
              <a:gd name="connsiteX362" fmla="*/ 959017 w 12191999"/>
              <a:gd name="connsiteY362" fmla="*/ 6351637 h 6858001"/>
              <a:gd name="connsiteX363" fmla="*/ 959078 w 12191999"/>
              <a:gd name="connsiteY363" fmla="*/ 6348735 h 6858001"/>
              <a:gd name="connsiteX364" fmla="*/ 950915 w 12191999"/>
              <a:gd name="connsiteY364" fmla="*/ 6324067 h 6858001"/>
              <a:gd name="connsiteX365" fmla="*/ 929875 w 12191999"/>
              <a:gd name="connsiteY365" fmla="*/ 6315300 h 6858001"/>
              <a:gd name="connsiteX366" fmla="*/ 867069 w 12191999"/>
              <a:gd name="connsiteY366" fmla="*/ 6315300 h 6858001"/>
              <a:gd name="connsiteX367" fmla="*/ 846633 w 12191999"/>
              <a:gd name="connsiteY367" fmla="*/ 6325881 h 6858001"/>
              <a:gd name="connsiteX368" fmla="*/ 846633 w 12191999"/>
              <a:gd name="connsiteY368" fmla="*/ 6316751 h 6858001"/>
              <a:gd name="connsiteX369" fmla="*/ 836839 w 12191999"/>
              <a:gd name="connsiteY369" fmla="*/ 6316751 h 6858001"/>
              <a:gd name="connsiteX370" fmla="*/ 836839 w 12191999"/>
              <a:gd name="connsiteY370" fmla="*/ 6380961 h 6858001"/>
              <a:gd name="connsiteX371" fmla="*/ 847722 w 12191999"/>
              <a:gd name="connsiteY371" fmla="*/ 6380961 h 6858001"/>
              <a:gd name="connsiteX372" fmla="*/ 847722 w 12191999"/>
              <a:gd name="connsiteY372" fmla="*/ 6345894 h 6858001"/>
              <a:gd name="connsiteX373" fmla="*/ 852770 w 12191999"/>
              <a:gd name="connsiteY373" fmla="*/ 6329146 h 6858001"/>
              <a:gd name="connsiteX374" fmla="*/ 864772 w 12191999"/>
              <a:gd name="connsiteY374" fmla="*/ 6324732 h 6858001"/>
              <a:gd name="connsiteX375" fmla="*/ 872360 w 12191999"/>
              <a:gd name="connsiteY375" fmla="*/ 6326697 h 6858001"/>
              <a:gd name="connsiteX376" fmla="*/ 876864 w 12191999"/>
              <a:gd name="connsiteY376" fmla="*/ 6331957 h 6858001"/>
              <a:gd name="connsiteX377" fmla="*/ 878134 w 12191999"/>
              <a:gd name="connsiteY377" fmla="*/ 6341903 h 6858001"/>
              <a:gd name="connsiteX378" fmla="*/ 878134 w 12191999"/>
              <a:gd name="connsiteY378" fmla="*/ 6380961 h 6858001"/>
              <a:gd name="connsiteX379" fmla="*/ 889017 w 12191999"/>
              <a:gd name="connsiteY379" fmla="*/ 6380961 h 6858001"/>
              <a:gd name="connsiteX380" fmla="*/ 889017 w 12191999"/>
              <a:gd name="connsiteY380" fmla="*/ 6341480 h 6858001"/>
              <a:gd name="connsiteX381" fmla="*/ 888412 w 12191999"/>
              <a:gd name="connsiteY381" fmla="*/ 6330899 h 6858001"/>
              <a:gd name="connsiteX382" fmla="*/ 885026 w 12191999"/>
              <a:gd name="connsiteY382" fmla="*/ 6322858 h 6858001"/>
              <a:gd name="connsiteX383" fmla="*/ 877741 w 12191999"/>
              <a:gd name="connsiteY383" fmla="*/ 6317386 h 6858001"/>
              <a:gd name="connsiteX384" fmla="*/ 867069 w 12191999"/>
              <a:gd name="connsiteY384" fmla="*/ 6315300 h 6858001"/>
              <a:gd name="connsiteX385" fmla="*/ 762690 w 12191999"/>
              <a:gd name="connsiteY385" fmla="*/ 6315300 h 6858001"/>
              <a:gd name="connsiteX386" fmla="*/ 753288 w 12191999"/>
              <a:gd name="connsiteY386" fmla="*/ 6316600 h 6858001"/>
              <a:gd name="connsiteX387" fmla="*/ 746365 w 12191999"/>
              <a:gd name="connsiteY387" fmla="*/ 6319774 h 6858001"/>
              <a:gd name="connsiteX388" fmla="*/ 741014 w 12191999"/>
              <a:gd name="connsiteY388" fmla="*/ 6325851 h 6858001"/>
              <a:gd name="connsiteX389" fmla="*/ 739049 w 12191999"/>
              <a:gd name="connsiteY389" fmla="*/ 6333801 h 6858001"/>
              <a:gd name="connsiteX390" fmla="*/ 741437 w 12191999"/>
              <a:gd name="connsiteY390" fmla="*/ 6342417 h 6858001"/>
              <a:gd name="connsiteX391" fmla="*/ 748451 w 12191999"/>
              <a:gd name="connsiteY391" fmla="*/ 6348524 h 6858001"/>
              <a:gd name="connsiteX392" fmla="*/ 765048 w 12191999"/>
              <a:gd name="connsiteY392" fmla="*/ 6353754 h 6858001"/>
              <a:gd name="connsiteX393" fmla="*/ 776172 w 12191999"/>
              <a:gd name="connsiteY393" fmla="*/ 6357442 h 6858001"/>
              <a:gd name="connsiteX394" fmla="*/ 779377 w 12191999"/>
              <a:gd name="connsiteY394" fmla="*/ 6363246 h 6858001"/>
              <a:gd name="connsiteX395" fmla="*/ 775749 w 12191999"/>
              <a:gd name="connsiteY395" fmla="*/ 6370411 h 6858001"/>
              <a:gd name="connsiteX396" fmla="*/ 764624 w 12191999"/>
              <a:gd name="connsiteY396" fmla="*/ 6373464 h 6858001"/>
              <a:gd name="connsiteX397" fmla="*/ 753046 w 12191999"/>
              <a:gd name="connsiteY397" fmla="*/ 6370018 h 6858001"/>
              <a:gd name="connsiteX398" fmla="*/ 747997 w 12191999"/>
              <a:gd name="connsiteY398" fmla="*/ 6360102 h 6858001"/>
              <a:gd name="connsiteX399" fmla="*/ 737235 w 12191999"/>
              <a:gd name="connsiteY399" fmla="*/ 6361795 h 6858001"/>
              <a:gd name="connsiteX400" fmla="*/ 745609 w 12191999"/>
              <a:gd name="connsiteY400" fmla="*/ 6377213 h 6858001"/>
              <a:gd name="connsiteX401" fmla="*/ 764685 w 12191999"/>
              <a:gd name="connsiteY401" fmla="*/ 6382412 h 6858001"/>
              <a:gd name="connsiteX402" fmla="*/ 778228 w 12191999"/>
              <a:gd name="connsiteY402" fmla="*/ 6379782 h 6858001"/>
              <a:gd name="connsiteX403" fmla="*/ 787388 w 12191999"/>
              <a:gd name="connsiteY403" fmla="*/ 6372345 h 6858001"/>
              <a:gd name="connsiteX404" fmla="*/ 790562 w 12191999"/>
              <a:gd name="connsiteY404" fmla="*/ 6362097 h 6858001"/>
              <a:gd name="connsiteX405" fmla="*/ 787962 w 12191999"/>
              <a:gd name="connsiteY405" fmla="*/ 6352786 h 6858001"/>
              <a:gd name="connsiteX406" fmla="*/ 780798 w 12191999"/>
              <a:gd name="connsiteY406" fmla="*/ 6347073 h 6858001"/>
              <a:gd name="connsiteX407" fmla="*/ 764685 w 12191999"/>
              <a:gd name="connsiteY407" fmla="*/ 6342024 h 6858001"/>
              <a:gd name="connsiteX408" fmla="*/ 755071 w 12191999"/>
              <a:gd name="connsiteY408" fmla="*/ 6339243 h 6858001"/>
              <a:gd name="connsiteX409" fmla="*/ 750900 w 12191999"/>
              <a:gd name="connsiteY409" fmla="*/ 6336341 h 6858001"/>
              <a:gd name="connsiteX410" fmla="*/ 749569 w 12191999"/>
              <a:gd name="connsiteY410" fmla="*/ 6332532 h 6858001"/>
              <a:gd name="connsiteX411" fmla="*/ 752774 w 12191999"/>
              <a:gd name="connsiteY411" fmla="*/ 6326727 h 6858001"/>
              <a:gd name="connsiteX412" fmla="*/ 763476 w 12191999"/>
              <a:gd name="connsiteY412" fmla="*/ 6324248 h 6858001"/>
              <a:gd name="connsiteX413" fmla="*/ 773301 w 12191999"/>
              <a:gd name="connsiteY413" fmla="*/ 6327030 h 6858001"/>
              <a:gd name="connsiteX414" fmla="*/ 777503 w 12191999"/>
              <a:gd name="connsiteY414" fmla="*/ 6334769 h 6858001"/>
              <a:gd name="connsiteX415" fmla="*/ 788144 w 12191999"/>
              <a:gd name="connsiteY415" fmla="*/ 6333318 h 6858001"/>
              <a:gd name="connsiteX416" fmla="*/ 784395 w 12191999"/>
              <a:gd name="connsiteY416" fmla="*/ 6323372 h 6858001"/>
              <a:gd name="connsiteX417" fmla="*/ 775961 w 12191999"/>
              <a:gd name="connsiteY417" fmla="*/ 6317477 h 6858001"/>
              <a:gd name="connsiteX418" fmla="*/ 762690 w 12191999"/>
              <a:gd name="connsiteY418" fmla="*/ 6315300 h 6858001"/>
              <a:gd name="connsiteX419" fmla="*/ 525681 w 12191999"/>
              <a:gd name="connsiteY419" fmla="*/ 6301636 h 6858001"/>
              <a:gd name="connsiteX420" fmla="*/ 531969 w 12191999"/>
              <a:gd name="connsiteY420" fmla="*/ 6320016 h 6858001"/>
              <a:gd name="connsiteX421" fmla="*/ 541219 w 12191999"/>
              <a:gd name="connsiteY421" fmla="*/ 6344563 h 6858001"/>
              <a:gd name="connsiteX422" fmla="*/ 511170 w 12191999"/>
              <a:gd name="connsiteY422" fmla="*/ 6344563 h 6858001"/>
              <a:gd name="connsiteX423" fmla="*/ 520904 w 12191999"/>
              <a:gd name="connsiteY423" fmla="*/ 6318565 h 6858001"/>
              <a:gd name="connsiteX424" fmla="*/ 525681 w 12191999"/>
              <a:gd name="connsiteY424" fmla="*/ 6301636 h 6858001"/>
              <a:gd name="connsiteX425" fmla="*/ 1847396 w 12191999"/>
              <a:gd name="connsiteY425" fmla="*/ 6292325 h 6858001"/>
              <a:gd name="connsiteX426" fmla="*/ 1847396 w 12191999"/>
              <a:gd name="connsiteY426" fmla="*/ 6380961 h 6858001"/>
              <a:gd name="connsiteX427" fmla="*/ 1902778 w 12191999"/>
              <a:gd name="connsiteY427" fmla="*/ 6380961 h 6858001"/>
              <a:gd name="connsiteX428" fmla="*/ 1902778 w 12191999"/>
              <a:gd name="connsiteY428" fmla="*/ 6370501 h 6858001"/>
              <a:gd name="connsiteX429" fmla="*/ 1859125 w 12191999"/>
              <a:gd name="connsiteY429" fmla="*/ 6370501 h 6858001"/>
              <a:gd name="connsiteX430" fmla="*/ 1859125 w 12191999"/>
              <a:gd name="connsiteY430" fmla="*/ 6292325 h 6858001"/>
              <a:gd name="connsiteX431" fmla="*/ 1676067 w 12191999"/>
              <a:gd name="connsiteY431" fmla="*/ 6292325 h 6858001"/>
              <a:gd name="connsiteX432" fmla="*/ 1676067 w 12191999"/>
              <a:gd name="connsiteY432" fmla="*/ 6380961 h 6858001"/>
              <a:gd name="connsiteX433" fmla="*/ 1687373 w 12191999"/>
              <a:gd name="connsiteY433" fmla="*/ 6380961 h 6858001"/>
              <a:gd name="connsiteX434" fmla="*/ 1687373 w 12191999"/>
              <a:gd name="connsiteY434" fmla="*/ 6305505 h 6858001"/>
              <a:gd name="connsiteX435" fmla="*/ 1713008 w 12191999"/>
              <a:gd name="connsiteY435" fmla="*/ 6380961 h 6858001"/>
              <a:gd name="connsiteX436" fmla="*/ 1723589 w 12191999"/>
              <a:gd name="connsiteY436" fmla="*/ 6380961 h 6858001"/>
              <a:gd name="connsiteX437" fmla="*/ 1749346 w 12191999"/>
              <a:gd name="connsiteY437" fmla="*/ 6306775 h 6858001"/>
              <a:gd name="connsiteX438" fmla="*/ 1749346 w 12191999"/>
              <a:gd name="connsiteY438" fmla="*/ 6380961 h 6858001"/>
              <a:gd name="connsiteX439" fmla="*/ 1760652 w 12191999"/>
              <a:gd name="connsiteY439" fmla="*/ 6380961 h 6858001"/>
              <a:gd name="connsiteX440" fmla="*/ 1760652 w 12191999"/>
              <a:gd name="connsiteY440" fmla="*/ 6292325 h 6858001"/>
              <a:gd name="connsiteX441" fmla="*/ 1744872 w 12191999"/>
              <a:gd name="connsiteY441" fmla="*/ 6292325 h 6858001"/>
              <a:gd name="connsiteX442" fmla="*/ 1723650 w 12191999"/>
              <a:gd name="connsiteY442" fmla="*/ 6353995 h 6858001"/>
              <a:gd name="connsiteX443" fmla="*/ 1718933 w 12191999"/>
              <a:gd name="connsiteY443" fmla="*/ 6368204 h 6858001"/>
              <a:gd name="connsiteX444" fmla="*/ 1714701 w 12191999"/>
              <a:gd name="connsiteY444" fmla="*/ 6355084 h 6858001"/>
              <a:gd name="connsiteX445" fmla="*/ 1693721 w 12191999"/>
              <a:gd name="connsiteY445" fmla="*/ 6292325 h 6858001"/>
              <a:gd name="connsiteX446" fmla="*/ 1560739 w 12191999"/>
              <a:gd name="connsiteY446" fmla="*/ 6292325 h 6858001"/>
              <a:gd name="connsiteX447" fmla="*/ 1560739 w 12191999"/>
              <a:gd name="connsiteY447" fmla="*/ 6380961 h 6858001"/>
              <a:gd name="connsiteX448" fmla="*/ 1571622 w 12191999"/>
              <a:gd name="connsiteY448" fmla="*/ 6380961 h 6858001"/>
              <a:gd name="connsiteX449" fmla="*/ 1571622 w 12191999"/>
              <a:gd name="connsiteY449" fmla="*/ 6345833 h 6858001"/>
              <a:gd name="connsiteX450" fmla="*/ 1573435 w 12191999"/>
              <a:gd name="connsiteY450" fmla="*/ 6333983 h 6858001"/>
              <a:gd name="connsiteX451" fmla="*/ 1579512 w 12191999"/>
              <a:gd name="connsiteY451" fmla="*/ 6327181 h 6858001"/>
              <a:gd name="connsiteX452" fmla="*/ 1588611 w 12191999"/>
              <a:gd name="connsiteY452" fmla="*/ 6324672 h 6858001"/>
              <a:gd name="connsiteX453" fmla="*/ 1598618 w 12191999"/>
              <a:gd name="connsiteY453" fmla="*/ 6328390 h 6858001"/>
              <a:gd name="connsiteX454" fmla="*/ 1602155 w 12191999"/>
              <a:gd name="connsiteY454" fmla="*/ 6340271 h 6858001"/>
              <a:gd name="connsiteX455" fmla="*/ 1602155 w 12191999"/>
              <a:gd name="connsiteY455" fmla="*/ 6380961 h 6858001"/>
              <a:gd name="connsiteX456" fmla="*/ 1613038 w 12191999"/>
              <a:gd name="connsiteY456" fmla="*/ 6380961 h 6858001"/>
              <a:gd name="connsiteX457" fmla="*/ 1613038 w 12191999"/>
              <a:gd name="connsiteY457" fmla="*/ 6340271 h 6858001"/>
              <a:gd name="connsiteX458" fmla="*/ 1610771 w 12191999"/>
              <a:gd name="connsiteY458" fmla="*/ 6325881 h 6858001"/>
              <a:gd name="connsiteX459" fmla="*/ 1603243 w 12191999"/>
              <a:gd name="connsiteY459" fmla="*/ 6318112 h 6858001"/>
              <a:gd name="connsiteX460" fmla="*/ 1590848 w 12191999"/>
              <a:gd name="connsiteY460" fmla="*/ 6315300 h 6858001"/>
              <a:gd name="connsiteX461" fmla="*/ 1571622 w 12191999"/>
              <a:gd name="connsiteY461" fmla="*/ 6324128 h 6858001"/>
              <a:gd name="connsiteX462" fmla="*/ 1571622 w 12191999"/>
              <a:gd name="connsiteY462" fmla="*/ 6292325 h 6858001"/>
              <a:gd name="connsiteX463" fmla="*/ 1285542 w 12191999"/>
              <a:gd name="connsiteY463" fmla="*/ 6292325 h 6858001"/>
              <a:gd name="connsiteX464" fmla="*/ 1285542 w 12191999"/>
              <a:gd name="connsiteY464" fmla="*/ 6380961 h 6858001"/>
              <a:gd name="connsiteX465" fmla="*/ 1296848 w 12191999"/>
              <a:gd name="connsiteY465" fmla="*/ 6380961 h 6858001"/>
              <a:gd name="connsiteX466" fmla="*/ 1296848 w 12191999"/>
              <a:gd name="connsiteY466" fmla="*/ 6305505 h 6858001"/>
              <a:gd name="connsiteX467" fmla="*/ 1322484 w 12191999"/>
              <a:gd name="connsiteY467" fmla="*/ 6380961 h 6858001"/>
              <a:gd name="connsiteX468" fmla="*/ 1333064 w 12191999"/>
              <a:gd name="connsiteY468" fmla="*/ 6380961 h 6858001"/>
              <a:gd name="connsiteX469" fmla="*/ 1358821 w 12191999"/>
              <a:gd name="connsiteY469" fmla="*/ 6306775 h 6858001"/>
              <a:gd name="connsiteX470" fmla="*/ 1358821 w 12191999"/>
              <a:gd name="connsiteY470" fmla="*/ 6380961 h 6858001"/>
              <a:gd name="connsiteX471" fmla="*/ 1370127 w 12191999"/>
              <a:gd name="connsiteY471" fmla="*/ 6380961 h 6858001"/>
              <a:gd name="connsiteX472" fmla="*/ 1370127 w 12191999"/>
              <a:gd name="connsiteY472" fmla="*/ 6292325 h 6858001"/>
              <a:gd name="connsiteX473" fmla="*/ 1354347 w 12191999"/>
              <a:gd name="connsiteY473" fmla="*/ 6292325 h 6858001"/>
              <a:gd name="connsiteX474" fmla="*/ 1333125 w 12191999"/>
              <a:gd name="connsiteY474" fmla="*/ 6353995 h 6858001"/>
              <a:gd name="connsiteX475" fmla="*/ 1328409 w 12191999"/>
              <a:gd name="connsiteY475" fmla="*/ 6368204 h 6858001"/>
              <a:gd name="connsiteX476" fmla="*/ 1324176 w 12191999"/>
              <a:gd name="connsiteY476" fmla="*/ 6355084 h 6858001"/>
              <a:gd name="connsiteX477" fmla="*/ 1303196 w 12191999"/>
              <a:gd name="connsiteY477" fmla="*/ 6292325 h 6858001"/>
              <a:gd name="connsiteX478" fmla="*/ 808324 w 12191999"/>
              <a:gd name="connsiteY478" fmla="*/ 6292325 h 6858001"/>
              <a:gd name="connsiteX479" fmla="*/ 808324 w 12191999"/>
              <a:gd name="connsiteY479" fmla="*/ 6304840 h 6858001"/>
              <a:gd name="connsiteX480" fmla="*/ 819207 w 12191999"/>
              <a:gd name="connsiteY480" fmla="*/ 6304840 h 6858001"/>
              <a:gd name="connsiteX481" fmla="*/ 819207 w 12191999"/>
              <a:gd name="connsiteY481" fmla="*/ 6292325 h 6858001"/>
              <a:gd name="connsiteX482" fmla="*/ 608178 w 12191999"/>
              <a:gd name="connsiteY482" fmla="*/ 6292325 h 6858001"/>
              <a:gd name="connsiteX483" fmla="*/ 608178 w 12191999"/>
              <a:gd name="connsiteY483" fmla="*/ 6380961 h 6858001"/>
              <a:gd name="connsiteX484" fmla="*/ 618275 w 12191999"/>
              <a:gd name="connsiteY484" fmla="*/ 6380961 h 6858001"/>
              <a:gd name="connsiteX485" fmla="*/ 618275 w 12191999"/>
              <a:gd name="connsiteY485" fmla="*/ 6372920 h 6858001"/>
              <a:gd name="connsiteX486" fmla="*/ 636111 w 12191999"/>
              <a:gd name="connsiteY486" fmla="*/ 6382412 h 6858001"/>
              <a:gd name="connsiteX487" fmla="*/ 655701 w 12191999"/>
              <a:gd name="connsiteY487" fmla="*/ 6373404 h 6858001"/>
              <a:gd name="connsiteX488" fmla="*/ 663863 w 12191999"/>
              <a:gd name="connsiteY488" fmla="*/ 6347889 h 6858001"/>
              <a:gd name="connsiteX489" fmla="*/ 661928 w 12191999"/>
              <a:gd name="connsiteY489" fmla="*/ 6334829 h 6858001"/>
              <a:gd name="connsiteX490" fmla="*/ 656577 w 12191999"/>
              <a:gd name="connsiteY490" fmla="*/ 6324400 h 6858001"/>
              <a:gd name="connsiteX491" fmla="*/ 647871 w 12191999"/>
              <a:gd name="connsiteY491" fmla="*/ 6317688 h 6858001"/>
              <a:gd name="connsiteX492" fmla="*/ 636655 w 12191999"/>
              <a:gd name="connsiteY492" fmla="*/ 6315300 h 6858001"/>
              <a:gd name="connsiteX493" fmla="*/ 619061 w 12191999"/>
              <a:gd name="connsiteY493" fmla="*/ 6323946 h 6858001"/>
              <a:gd name="connsiteX494" fmla="*/ 619061 w 12191999"/>
              <a:gd name="connsiteY494" fmla="*/ 6292325 h 6858001"/>
              <a:gd name="connsiteX495" fmla="*/ 519635 w 12191999"/>
              <a:gd name="connsiteY495" fmla="*/ 6292325 h 6858001"/>
              <a:gd name="connsiteX496" fmla="*/ 485595 w 12191999"/>
              <a:gd name="connsiteY496" fmla="*/ 6380961 h 6858001"/>
              <a:gd name="connsiteX497" fmla="*/ 498050 w 12191999"/>
              <a:gd name="connsiteY497" fmla="*/ 6380961 h 6858001"/>
              <a:gd name="connsiteX498" fmla="*/ 507784 w 12191999"/>
              <a:gd name="connsiteY498" fmla="*/ 6354116 h 6858001"/>
              <a:gd name="connsiteX499" fmla="*/ 544847 w 12191999"/>
              <a:gd name="connsiteY499" fmla="*/ 6354116 h 6858001"/>
              <a:gd name="connsiteX500" fmla="*/ 555186 w 12191999"/>
              <a:gd name="connsiteY500" fmla="*/ 6380961 h 6858001"/>
              <a:gd name="connsiteX501" fmla="*/ 568548 w 12191999"/>
              <a:gd name="connsiteY501" fmla="*/ 6380961 h 6858001"/>
              <a:gd name="connsiteX502" fmla="*/ 532271 w 12191999"/>
              <a:gd name="connsiteY502" fmla="*/ 6292325 h 6858001"/>
              <a:gd name="connsiteX503" fmla="*/ 1228689 w 12191999"/>
              <a:gd name="connsiteY503" fmla="*/ 6290813 h 6858001"/>
              <a:gd name="connsiteX504" fmla="*/ 1217594 w 12191999"/>
              <a:gd name="connsiteY504" fmla="*/ 6293443 h 6858001"/>
              <a:gd name="connsiteX505" fmla="*/ 1212062 w 12191999"/>
              <a:gd name="connsiteY505" fmla="*/ 6300306 h 6858001"/>
              <a:gd name="connsiteX506" fmla="*/ 1210914 w 12191999"/>
              <a:gd name="connsiteY506" fmla="*/ 6309919 h 6858001"/>
              <a:gd name="connsiteX507" fmla="*/ 1210914 w 12191999"/>
              <a:gd name="connsiteY507" fmla="*/ 6316751 h 6858001"/>
              <a:gd name="connsiteX508" fmla="*/ 1201300 w 12191999"/>
              <a:gd name="connsiteY508" fmla="*/ 6316751 h 6858001"/>
              <a:gd name="connsiteX509" fmla="*/ 1201300 w 12191999"/>
              <a:gd name="connsiteY509" fmla="*/ 6325216 h 6858001"/>
              <a:gd name="connsiteX510" fmla="*/ 1210914 w 12191999"/>
              <a:gd name="connsiteY510" fmla="*/ 6325216 h 6858001"/>
              <a:gd name="connsiteX511" fmla="*/ 1210914 w 12191999"/>
              <a:gd name="connsiteY511" fmla="*/ 6380961 h 6858001"/>
              <a:gd name="connsiteX512" fmla="*/ 1221736 w 12191999"/>
              <a:gd name="connsiteY512" fmla="*/ 6380961 h 6858001"/>
              <a:gd name="connsiteX513" fmla="*/ 1221736 w 12191999"/>
              <a:gd name="connsiteY513" fmla="*/ 6325216 h 6858001"/>
              <a:gd name="connsiteX514" fmla="*/ 1234252 w 12191999"/>
              <a:gd name="connsiteY514" fmla="*/ 6325216 h 6858001"/>
              <a:gd name="connsiteX515" fmla="*/ 1234252 w 12191999"/>
              <a:gd name="connsiteY515" fmla="*/ 6316751 h 6858001"/>
              <a:gd name="connsiteX516" fmla="*/ 1221736 w 12191999"/>
              <a:gd name="connsiteY516" fmla="*/ 6316751 h 6858001"/>
              <a:gd name="connsiteX517" fmla="*/ 1221736 w 12191999"/>
              <a:gd name="connsiteY517" fmla="*/ 6310826 h 6858001"/>
              <a:gd name="connsiteX518" fmla="*/ 1223792 w 12191999"/>
              <a:gd name="connsiteY518" fmla="*/ 6302906 h 6858001"/>
              <a:gd name="connsiteX519" fmla="*/ 1230805 w 12191999"/>
              <a:gd name="connsiteY519" fmla="*/ 6300789 h 6858001"/>
              <a:gd name="connsiteX520" fmla="*/ 1237214 w 12191999"/>
              <a:gd name="connsiteY520" fmla="*/ 6301394 h 6858001"/>
              <a:gd name="connsiteX521" fmla="*/ 1238847 w 12191999"/>
              <a:gd name="connsiteY521" fmla="*/ 6291902 h 6858001"/>
              <a:gd name="connsiteX522" fmla="*/ 1228689 w 12191999"/>
              <a:gd name="connsiteY522" fmla="*/ 6290813 h 6858001"/>
              <a:gd name="connsiteX523" fmla="*/ 7175501 w 12191999"/>
              <a:gd name="connsiteY523" fmla="*/ 1 h 6858001"/>
              <a:gd name="connsiteX524" fmla="*/ 12191999 w 12191999"/>
              <a:gd name="connsiteY524" fmla="*/ 1 h 6858001"/>
              <a:gd name="connsiteX525" fmla="*/ 12191999 w 12191999"/>
              <a:gd name="connsiteY525" fmla="*/ 6858001 h 6858001"/>
              <a:gd name="connsiteX526" fmla="*/ 1 w 12191999"/>
              <a:gd name="connsiteY526" fmla="*/ 6858001 h 6858001"/>
              <a:gd name="connsiteX527" fmla="*/ 1 w 12191999"/>
              <a:gd name="connsiteY527" fmla="*/ 5752619 h 6858001"/>
              <a:gd name="connsiteX528" fmla="*/ 7175501 w 12191999"/>
              <a:gd name="connsiteY528" fmla="*/ 5752619 h 6858001"/>
              <a:gd name="connsiteX529" fmla="*/ 0 w 12191999"/>
              <a:gd name="connsiteY529" fmla="*/ 0 h 6858001"/>
              <a:gd name="connsiteX530" fmla="*/ 7175501 w 12191999"/>
              <a:gd name="connsiteY530" fmla="*/ 0 h 6858001"/>
              <a:gd name="connsiteX531" fmla="*/ 7175501 w 12191999"/>
              <a:gd name="connsiteY531" fmla="*/ 1 h 6858001"/>
              <a:gd name="connsiteX532" fmla="*/ 1 w 12191999"/>
              <a:gd name="connsiteY532" fmla="*/ 1 h 6858001"/>
              <a:gd name="connsiteX533" fmla="*/ 1 w 12191999"/>
              <a:gd name="connsiteY533" fmla="*/ 5752619 h 6858001"/>
              <a:gd name="connsiteX534" fmla="*/ 0 w 12191999"/>
              <a:gd name="connsiteY534" fmla="*/ 575261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Lst>
            <a:rect l="l" t="t" r="r" b="b"/>
            <a:pathLst>
              <a:path w="12191999" h="6858001">
                <a:moveTo>
                  <a:pt x="2154182" y="6348735"/>
                </a:moveTo>
                <a:lnTo>
                  <a:pt x="2154182" y="6352726"/>
                </a:lnTo>
                <a:cubicBezTo>
                  <a:pt x="2154182" y="6357522"/>
                  <a:pt x="2153597" y="6361150"/>
                  <a:pt x="2152428" y="6363609"/>
                </a:cubicBezTo>
                <a:cubicBezTo>
                  <a:pt x="2150896" y="6366793"/>
                  <a:pt x="2148498" y="6369302"/>
                  <a:pt x="2145233" y="6371136"/>
                </a:cubicBezTo>
                <a:cubicBezTo>
                  <a:pt x="2141968" y="6372970"/>
                  <a:pt x="2138240" y="6373887"/>
                  <a:pt x="2134048" y="6373887"/>
                </a:cubicBezTo>
                <a:cubicBezTo>
                  <a:pt x="2129816" y="6373887"/>
                  <a:pt x="2126601" y="6372920"/>
                  <a:pt x="2124404" y="6370985"/>
                </a:cubicBezTo>
                <a:cubicBezTo>
                  <a:pt x="2122207" y="6369050"/>
                  <a:pt x="2121109" y="6366632"/>
                  <a:pt x="2121109" y="6363730"/>
                </a:cubicBezTo>
                <a:cubicBezTo>
                  <a:pt x="2121109" y="6361835"/>
                  <a:pt x="2121613" y="6360112"/>
                  <a:pt x="2122621" y="6358560"/>
                </a:cubicBezTo>
                <a:cubicBezTo>
                  <a:pt x="2123628" y="6357008"/>
                  <a:pt x="2125059" y="6355829"/>
                  <a:pt x="2126913" y="6355023"/>
                </a:cubicBezTo>
                <a:cubicBezTo>
                  <a:pt x="2128768" y="6354217"/>
                  <a:pt x="2131932" y="6353492"/>
                  <a:pt x="2136406" y="6352847"/>
                </a:cubicBezTo>
                <a:cubicBezTo>
                  <a:pt x="2144306" y="6351718"/>
                  <a:pt x="2150231" y="6350348"/>
                  <a:pt x="2154182" y="6348735"/>
                </a:cubicBezTo>
                <a:close/>
                <a:moveTo>
                  <a:pt x="1430281" y="6348735"/>
                </a:moveTo>
                <a:lnTo>
                  <a:pt x="1430281" y="6352726"/>
                </a:lnTo>
                <a:cubicBezTo>
                  <a:pt x="1430281" y="6357522"/>
                  <a:pt x="1429697" y="6361150"/>
                  <a:pt x="1428528" y="6363609"/>
                </a:cubicBezTo>
                <a:cubicBezTo>
                  <a:pt x="1426997" y="6366793"/>
                  <a:pt x="1424598" y="6369302"/>
                  <a:pt x="1421333" y="6371136"/>
                </a:cubicBezTo>
                <a:cubicBezTo>
                  <a:pt x="1418068" y="6372970"/>
                  <a:pt x="1414340" y="6373887"/>
                  <a:pt x="1410148" y="6373887"/>
                </a:cubicBezTo>
                <a:cubicBezTo>
                  <a:pt x="1405916" y="6373887"/>
                  <a:pt x="1402701" y="6372920"/>
                  <a:pt x="1400504" y="6370985"/>
                </a:cubicBezTo>
                <a:cubicBezTo>
                  <a:pt x="1398308" y="6369050"/>
                  <a:pt x="1397209" y="6366632"/>
                  <a:pt x="1397209" y="6363730"/>
                </a:cubicBezTo>
                <a:cubicBezTo>
                  <a:pt x="1397209" y="6361835"/>
                  <a:pt x="1397713" y="6360112"/>
                  <a:pt x="1398721" y="6358560"/>
                </a:cubicBezTo>
                <a:cubicBezTo>
                  <a:pt x="1399728" y="6357008"/>
                  <a:pt x="1401159" y="6355829"/>
                  <a:pt x="1403013" y="6355023"/>
                </a:cubicBezTo>
                <a:cubicBezTo>
                  <a:pt x="1404867" y="6354217"/>
                  <a:pt x="1408032" y="6353492"/>
                  <a:pt x="1412506" y="6352847"/>
                </a:cubicBezTo>
                <a:cubicBezTo>
                  <a:pt x="1420406" y="6351718"/>
                  <a:pt x="1426331" y="6350348"/>
                  <a:pt x="1430281" y="6348735"/>
                </a:cubicBezTo>
                <a:close/>
                <a:moveTo>
                  <a:pt x="1167698" y="6324309"/>
                </a:moveTo>
                <a:cubicBezTo>
                  <a:pt x="1173058" y="6324309"/>
                  <a:pt x="1177543" y="6326355"/>
                  <a:pt x="1181150" y="6330446"/>
                </a:cubicBezTo>
                <a:cubicBezTo>
                  <a:pt x="1184758" y="6334537"/>
                  <a:pt x="1186561" y="6340553"/>
                  <a:pt x="1186561" y="6348493"/>
                </a:cubicBezTo>
                <a:cubicBezTo>
                  <a:pt x="1186561" y="6356918"/>
                  <a:pt x="1184768" y="6363186"/>
                  <a:pt x="1181180" y="6367297"/>
                </a:cubicBezTo>
                <a:cubicBezTo>
                  <a:pt x="1177593" y="6371408"/>
                  <a:pt x="1173099" y="6373464"/>
                  <a:pt x="1167698" y="6373464"/>
                </a:cubicBezTo>
                <a:cubicBezTo>
                  <a:pt x="1162256" y="6373464"/>
                  <a:pt x="1157741" y="6371418"/>
                  <a:pt x="1154154" y="6367327"/>
                </a:cubicBezTo>
                <a:cubicBezTo>
                  <a:pt x="1150567" y="6363236"/>
                  <a:pt x="1148773" y="6357079"/>
                  <a:pt x="1148773" y="6348856"/>
                </a:cubicBezTo>
                <a:cubicBezTo>
                  <a:pt x="1148773" y="6340633"/>
                  <a:pt x="1150567" y="6334487"/>
                  <a:pt x="1154154" y="6330415"/>
                </a:cubicBezTo>
                <a:cubicBezTo>
                  <a:pt x="1157741" y="6326344"/>
                  <a:pt x="1162256" y="6324309"/>
                  <a:pt x="1167698" y="6324309"/>
                </a:cubicBezTo>
                <a:close/>
                <a:moveTo>
                  <a:pt x="1939646" y="6324248"/>
                </a:moveTo>
                <a:cubicBezTo>
                  <a:pt x="1945168" y="6324248"/>
                  <a:pt x="1949662" y="6326344"/>
                  <a:pt x="1953129" y="6330536"/>
                </a:cubicBezTo>
                <a:cubicBezTo>
                  <a:pt x="1955386" y="6333237"/>
                  <a:pt x="1956756" y="6337288"/>
                  <a:pt x="1957240" y="6342689"/>
                </a:cubicBezTo>
                <a:lnTo>
                  <a:pt x="1921387" y="6342689"/>
                </a:lnTo>
                <a:cubicBezTo>
                  <a:pt x="1921749" y="6337086"/>
                  <a:pt x="1923634" y="6332612"/>
                  <a:pt x="1927040" y="6329267"/>
                </a:cubicBezTo>
                <a:cubicBezTo>
                  <a:pt x="1930445" y="6325921"/>
                  <a:pt x="1934648" y="6324248"/>
                  <a:pt x="1939646" y="6324248"/>
                </a:cubicBezTo>
                <a:close/>
                <a:moveTo>
                  <a:pt x="929996" y="6324248"/>
                </a:moveTo>
                <a:cubicBezTo>
                  <a:pt x="935518" y="6324248"/>
                  <a:pt x="940012" y="6326344"/>
                  <a:pt x="943479" y="6330536"/>
                </a:cubicBezTo>
                <a:cubicBezTo>
                  <a:pt x="945736" y="6333237"/>
                  <a:pt x="947106" y="6337288"/>
                  <a:pt x="947590" y="6342689"/>
                </a:cubicBezTo>
                <a:lnTo>
                  <a:pt x="911736" y="6342689"/>
                </a:lnTo>
                <a:cubicBezTo>
                  <a:pt x="912099" y="6337086"/>
                  <a:pt x="913983" y="6332612"/>
                  <a:pt x="917389" y="6329267"/>
                </a:cubicBezTo>
                <a:cubicBezTo>
                  <a:pt x="920795" y="6325921"/>
                  <a:pt x="924997" y="6324248"/>
                  <a:pt x="929996" y="6324248"/>
                </a:cubicBezTo>
                <a:close/>
                <a:moveTo>
                  <a:pt x="635688" y="6324248"/>
                </a:moveTo>
                <a:cubicBezTo>
                  <a:pt x="640404" y="6324248"/>
                  <a:pt x="644425" y="6326244"/>
                  <a:pt x="647750" y="6330234"/>
                </a:cubicBezTo>
                <a:cubicBezTo>
                  <a:pt x="651075" y="6334225"/>
                  <a:pt x="652738" y="6340412"/>
                  <a:pt x="652738" y="6348796"/>
                </a:cubicBezTo>
                <a:cubicBezTo>
                  <a:pt x="652738" y="6356978"/>
                  <a:pt x="651005" y="6363135"/>
                  <a:pt x="647538" y="6367267"/>
                </a:cubicBezTo>
                <a:cubicBezTo>
                  <a:pt x="644072" y="6371398"/>
                  <a:pt x="639961" y="6373464"/>
                  <a:pt x="635204" y="6373464"/>
                </a:cubicBezTo>
                <a:cubicBezTo>
                  <a:pt x="629360" y="6373464"/>
                  <a:pt x="624724" y="6370663"/>
                  <a:pt x="621298" y="6365060"/>
                </a:cubicBezTo>
                <a:cubicBezTo>
                  <a:pt x="619202" y="6361634"/>
                  <a:pt x="618154" y="6356071"/>
                  <a:pt x="618154" y="6348373"/>
                </a:cubicBezTo>
                <a:cubicBezTo>
                  <a:pt x="618154" y="6340553"/>
                  <a:pt x="619887" y="6334577"/>
                  <a:pt x="623354" y="6330446"/>
                </a:cubicBezTo>
                <a:cubicBezTo>
                  <a:pt x="626820" y="6326314"/>
                  <a:pt x="630932" y="6324248"/>
                  <a:pt x="635688" y="6324248"/>
                </a:cubicBezTo>
                <a:close/>
                <a:moveTo>
                  <a:pt x="808324" y="6316751"/>
                </a:moveTo>
                <a:lnTo>
                  <a:pt x="808324" y="6380961"/>
                </a:lnTo>
                <a:lnTo>
                  <a:pt x="819207" y="6380961"/>
                </a:lnTo>
                <a:lnTo>
                  <a:pt x="819207" y="6316751"/>
                </a:lnTo>
                <a:close/>
                <a:moveTo>
                  <a:pt x="674672" y="6316751"/>
                </a:moveTo>
                <a:lnTo>
                  <a:pt x="674672" y="6356535"/>
                </a:lnTo>
                <a:cubicBezTo>
                  <a:pt x="674672" y="6361170"/>
                  <a:pt x="674893" y="6364556"/>
                  <a:pt x="675337" y="6366692"/>
                </a:cubicBezTo>
                <a:cubicBezTo>
                  <a:pt x="675982" y="6369877"/>
                  <a:pt x="677100" y="6372567"/>
                  <a:pt x="678692" y="6374764"/>
                </a:cubicBezTo>
                <a:cubicBezTo>
                  <a:pt x="680284" y="6376961"/>
                  <a:pt x="682723" y="6378785"/>
                  <a:pt x="686008" y="6380236"/>
                </a:cubicBezTo>
                <a:cubicBezTo>
                  <a:pt x="689293" y="6381687"/>
                  <a:pt x="692830" y="6382412"/>
                  <a:pt x="696619" y="6382412"/>
                </a:cubicBezTo>
                <a:cubicBezTo>
                  <a:pt x="705205" y="6382412"/>
                  <a:pt x="711997" y="6378785"/>
                  <a:pt x="716995" y="6371529"/>
                </a:cubicBezTo>
                <a:lnTo>
                  <a:pt x="716995" y="6380961"/>
                </a:lnTo>
                <a:lnTo>
                  <a:pt x="726729" y="6380961"/>
                </a:lnTo>
                <a:lnTo>
                  <a:pt x="726729" y="6316751"/>
                </a:lnTo>
                <a:lnTo>
                  <a:pt x="715846" y="6316751"/>
                </a:lnTo>
                <a:lnTo>
                  <a:pt x="715846" y="6351154"/>
                </a:lnTo>
                <a:cubicBezTo>
                  <a:pt x="715846" y="6356636"/>
                  <a:pt x="715251" y="6360818"/>
                  <a:pt x="714062" y="6363700"/>
                </a:cubicBezTo>
                <a:cubicBezTo>
                  <a:pt x="712873" y="6366582"/>
                  <a:pt x="710848" y="6368859"/>
                  <a:pt x="707986" y="6370532"/>
                </a:cubicBezTo>
                <a:cubicBezTo>
                  <a:pt x="705124" y="6372204"/>
                  <a:pt x="702061" y="6373041"/>
                  <a:pt x="698796" y="6373041"/>
                </a:cubicBezTo>
                <a:cubicBezTo>
                  <a:pt x="695531" y="6373041"/>
                  <a:pt x="692790" y="6372225"/>
                  <a:pt x="690573" y="6370592"/>
                </a:cubicBezTo>
                <a:cubicBezTo>
                  <a:pt x="688356" y="6368960"/>
                  <a:pt x="686905" y="6366713"/>
                  <a:pt x="686220" y="6363851"/>
                </a:cubicBezTo>
                <a:cubicBezTo>
                  <a:pt x="685776" y="6361876"/>
                  <a:pt x="685555" y="6358046"/>
                  <a:pt x="685555" y="6352363"/>
                </a:cubicBezTo>
                <a:lnTo>
                  <a:pt x="685555" y="6316751"/>
                </a:lnTo>
                <a:close/>
                <a:moveTo>
                  <a:pt x="2210094" y="6315300"/>
                </a:moveTo>
                <a:cubicBezTo>
                  <a:pt x="2201186" y="6315300"/>
                  <a:pt x="2194374" y="6318827"/>
                  <a:pt x="2189659" y="6325881"/>
                </a:cubicBezTo>
                <a:lnTo>
                  <a:pt x="2189659" y="6316751"/>
                </a:lnTo>
                <a:lnTo>
                  <a:pt x="2179864" y="6316751"/>
                </a:lnTo>
                <a:lnTo>
                  <a:pt x="2179864" y="6380961"/>
                </a:lnTo>
                <a:lnTo>
                  <a:pt x="2190747" y="6380961"/>
                </a:lnTo>
                <a:lnTo>
                  <a:pt x="2190747" y="6345894"/>
                </a:lnTo>
                <a:cubicBezTo>
                  <a:pt x="2190747" y="6337671"/>
                  <a:pt x="2192430" y="6332088"/>
                  <a:pt x="2195795" y="6329146"/>
                </a:cubicBezTo>
                <a:cubicBezTo>
                  <a:pt x="2199161" y="6326203"/>
                  <a:pt x="2203161" y="6324732"/>
                  <a:pt x="2207797" y="6324732"/>
                </a:cubicBezTo>
                <a:cubicBezTo>
                  <a:pt x="2210699" y="6324732"/>
                  <a:pt x="2213228" y="6325387"/>
                  <a:pt x="2215385" y="6326697"/>
                </a:cubicBezTo>
                <a:cubicBezTo>
                  <a:pt x="2217541" y="6328007"/>
                  <a:pt x="2219043" y="6329761"/>
                  <a:pt x="2219889" y="6331957"/>
                </a:cubicBezTo>
                <a:cubicBezTo>
                  <a:pt x="2220735" y="6334154"/>
                  <a:pt x="2221159" y="6337469"/>
                  <a:pt x="2221159" y="6341903"/>
                </a:cubicBezTo>
                <a:lnTo>
                  <a:pt x="2221159" y="6380961"/>
                </a:lnTo>
                <a:lnTo>
                  <a:pt x="2232042" y="6380961"/>
                </a:lnTo>
                <a:lnTo>
                  <a:pt x="2232042" y="6341480"/>
                </a:lnTo>
                <a:cubicBezTo>
                  <a:pt x="2232042" y="6336441"/>
                  <a:pt x="2231840" y="6332915"/>
                  <a:pt x="2231437" y="6330899"/>
                </a:cubicBezTo>
                <a:cubicBezTo>
                  <a:pt x="2230792" y="6327796"/>
                  <a:pt x="2229664" y="6325115"/>
                  <a:pt x="2228052" y="6322858"/>
                </a:cubicBezTo>
                <a:cubicBezTo>
                  <a:pt x="2226439" y="6320601"/>
                  <a:pt x="2224011" y="6318777"/>
                  <a:pt x="2220766" y="6317386"/>
                </a:cubicBezTo>
                <a:cubicBezTo>
                  <a:pt x="2217521" y="6315995"/>
                  <a:pt x="2213964" y="6315300"/>
                  <a:pt x="2210094" y="6315300"/>
                </a:cubicBezTo>
                <a:close/>
                <a:moveTo>
                  <a:pt x="2140336" y="6315300"/>
                </a:moveTo>
                <a:cubicBezTo>
                  <a:pt x="2134814" y="6315300"/>
                  <a:pt x="2129957" y="6316056"/>
                  <a:pt x="2125765" y="6317567"/>
                </a:cubicBezTo>
                <a:cubicBezTo>
                  <a:pt x="2121573" y="6319079"/>
                  <a:pt x="2118368" y="6321235"/>
                  <a:pt x="2116151" y="6324037"/>
                </a:cubicBezTo>
                <a:cubicBezTo>
                  <a:pt x="2113934" y="6326838"/>
                  <a:pt x="2112342" y="6330516"/>
                  <a:pt x="2111375" y="6335071"/>
                </a:cubicBezTo>
                <a:lnTo>
                  <a:pt x="2122016" y="6336522"/>
                </a:lnTo>
                <a:cubicBezTo>
                  <a:pt x="2123185" y="6331967"/>
                  <a:pt x="2124989" y="6328793"/>
                  <a:pt x="2127427" y="6326999"/>
                </a:cubicBezTo>
                <a:cubicBezTo>
                  <a:pt x="2129866" y="6325206"/>
                  <a:pt x="2133645" y="6324309"/>
                  <a:pt x="2138764" y="6324309"/>
                </a:cubicBezTo>
                <a:cubicBezTo>
                  <a:pt x="2144246" y="6324309"/>
                  <a:pt x="2148377" y="6325538"/>
                  <a:pt x="2151159" y="6327997"/>
                </a:cubicBezTo>
                <a:cubicBezTo>
                  <a:pt x="2153214" y="6329811"/>
                  <a:pt x="2154242" y="6332935"/>
                  <a:pt x="2154242" y="6337369"/>
                </a:cubicBezTo>
                <a:cubicBezTo>
                  <a:pt x="2154242" y="6337772"/>
                  <a:pt x="2154222" y="6338719"/>
                  <a:pt x="2154182" y="6340210"/>
                </a:cubicBezTo>
                <a:cubicBezTo>
                  <a:pt x="2150030" y="6341661"/>
                  <a:pt x="2143560" y="6342911"/>
                  <a:pt x="2134773" y="6343959"/>
                </a:cubicBezTo>
                <a:cubicBezTo>
                  <a:pt x="2130460" y="6344483"/>
                  <a:pt x="2127236" y="6345027"/>
                  <a:pt x="2125100" y="6345591"/>
                </a:cubicBezTo>
                <a:cubicBezTo>
                  <a:pt x="2122197" y="6346397"/>
                  <a:pt x="2119587" y="6347587"/>
                  <a:pt x="2117270" y="6349159"/>
                </a:cubicBezTo>
                <a:cubicBezTo>
                  <a:pt x="2114952" y="6350731"/>
                  <a:pt x="2113078" y="6352816"/>
                  <a:pt x="2111647" y="6355416"/>
                </a:cubicBezTo>
                <a:cubicBezTo>
                  <a:pt x="2110216" y="6358016"/>
                  <a:pt x="2109500" y="6360888"/>
                  <a:pt x="2109500" y="6364032"/>
                </a:cubicBezTo>
                <a:cubicBezTo>
                  <a:pt x="2109500" y="6369393"/>
                  <a:pt x="2111395" y="6373797"/>
                  <a:pt x="2115184" y="6377243"/>
                </a:cubicBezTo>
                <a:cubicBezTo>
                  <a:pt x="2118973" y="6380689"/>
                  <a:pt x="2124394" y="6382412"/>
                  <a:pt x="2131448" y="6382412"/>
                </a:cubicBezTo>
                <a:cubicBezTo>
                  <a:pt x="2135721" y="6382412"/>
                  <a:pt x="2139721" y="6381707"/>
                  <a:pt x="2143450" y="6380296"/>
                </a:cubicBezTo>
                <a:cubicBezTo>
                  <a:pt x="2147178" y="6378885"/>
                  <a:pt x="2151058" y="6376467"/>
                  <a:pt x="2155089" y="6373041"/>
                </a:cubicBezTo>
                <a:cubicBezTo>
                  <a:pt x="2155411" y="6376064"/>
                  <a:pt x="2156136" y="6378704"/>
                  <a:pt x="2157265" y="6380961"/>
                </a:cubicBezTo>
                <a:lnTo>
                  <a:pt x="2168632" y="6380961"/>
                </a:lnTo>
                <a:cubicBezTo>
                  <a:pt x="2167261" y="6378502"/>
                  <a:pt x="2166344" y="6375933"/>
                  <a:pt x="2165881" y="6373252"/>
                </a:cubicBezTo>
                <a:cubicBezTo>
                  <a:pt x="2165417" y="6370572"/>
                  <a:pt x="2165185" y="6364173"/>
                  <a:pt x="2165185" y="6354056"/>
                </a:cubicBezTo>
                <a:lnTo>
                  <a:pt x="2165185" y="6339545"/>
                </a:lnTo>
                <a:cubicBezTo>
                  <a:pt x="2165185" y="6334708"/>
                  <a:pt x="2165004" y="6331363"/>
                  <a:pt x="2164641" y="6329509"/>
                </a:cubicBezTo>
                <a:cubicBezTo>
                  <a:pt x="2163996" y="6326526"/>
                  <a:pt x="2162868" y="6324057"/>
                  <a:pt x="2161255" y="6322102"/>
                </a:cubicBezTo>
                <a:cubicBezTo>
                  <a:pt x="2159643" y="6320147"/>
                  <a:pt x="2157124" y="6318525"/>
                  <a:pt x="2153698" y="6317235"/>
                </a:cubicBezTo>
                <a:cubicBezTo>
                  <a:pt x="2150272" y="6315945"/>
                  <a:pt x="2145818" y="6315300"/>
                  <a:pt x="2140336" y="6315300"/>
                </a:cubicBezTo>
                <a:close/>
                <a:moveTo>
                  <a:pt x="2076744" y="6315300"/>
                </a:moveTo>
                <a:cubicBezTo>
                  <a:pt x="2067836" y="6315300"/>
                  <a:pt x="2061024" y="6318827"/>
                  <a:pt x="2056309" y="6325881"/>
                </a:cubicBezTo>
                <a:lnTo>
                  <a:pt x="2056309" y="6316751"/>
                </a:lnTo>
                <a:lnTo>
                  <a:pt x="2046514" y="6316751"/>
                </a:lnTo>
                <a:lnTo>
                  <a:pt x="2046514" y="6380961"/>
                </a:lnTo>
                <a:lnTo>
                  <a:pt x="2057397" y="6380961"/>
                </a:lnTo>
                <a:lnTo>
                  <a:pt x="2057397" y="6345894"/>
                </a:lnTo>
                <a:cubicBezTo>
                  <a:pt x="2057397" y="6337671"/>
                  <a:pt x="2059079" y="6332088"/>
                  <a:pt x="2062445" y="6329146"/>
                </a:cubicBezTo>
                <a:cubicBezTo>
                  <a:pt x="2065811" y="6326203"/>
                  <a:pt x="2069811" y="6324732"/>
                  <a:pt x="2074447" y="6324732"/>
                </a:cubicBezTo>
                <a:cubicBezTo>
                  <a:pt x="2077349" y="6324732"/>
                  <a:pt x="2079878" y="6325387"/>
                  <a:pt x="2082035" y="6326697"/>
                </a:cubicBezTo>
                <a:cubicBezTo>
                  <a:pt x="2084191" y="6328007"/>
                  <a:pt x="2085692" y="6329761"/>
                  <a:pt x="2086539" y="6331957"/>
                </a:cubicBezTo>
                <a:cubicBezTo>
                  <a:pt x="2087385" y="6334154"/>
                  <a:pt x="2087809" y="6337469"/>
                  <a:pt x="2087809" y="6341903"/>
                </a:cubicBezTo>
                <a:lnTo>
                  <a:pt x="2087809" y="6380961"/>
                </a:lnTo>
                <a:lnTo>
                  <a:pt x="2098692" y="6380961"/>
                </a:lnTo>
                <a:lnTo>
                  <a:pt x="2098692" y="6341480"/>
                </a:lnTo>
                <a:cubicBezTo>
                  <a:pt x="2098692" y="6336441"/>
                  <a:pt x="2098490" y="6332915"/>
                  <a:pt x="2098087" y="6330899"/>
                </a:cubicBezTo>
                <a:cubicBezTo>
                  <a:pt x="2097442" y="6327796"/>
                  <a:pt x="2096314" y="6325115"/>
                  <a:pt x="2094702" y="6322858"/>
                </a:cubicBezTo>
                <a:cubicBezTo>
                  <a:pt x="2093089" y="6320601"/>
                  <a:pt x="2090661" y="6318777"/>
                  <a:pt x="2087416" y="6317386"/>
                </a:cubicBezTo>
                <a:cubicBezTo>
                  <a:pt x="2084171" y="6315995"/>
                  <a:pt x="2080614" y="6315300"/>
                  <a:pt x="2076744" y="6315300"/>
                </a:cubicBezTo>
                <a:close/>
                <a:moveTo>
                  <a:pt x="2010069" y="6315300"/>
                </a:moveTo>
                <a:cubicBezTo>
                  <a:pt x="2001161" y="6315300"/>
                  <a:pt x="1994349" y="6318827"/>
                  <a:pt x="1989633" y="6325881"/>
                </a:cubicBezTo>
                <a:lnTo>
                  <a:pt x="1989633" y="6316751"/>
                </a:lnTo>
                <a:lnTo>
                  <a:pt x="1979839" y="6316751"/>
                </a:lnTo>
                <a:lnTo>
                  <a:pt x="1979839" y="6380961"/>
                </a:lnTo>
                <a:lnTo>
                  <a:pt x="1990722" y="6380961"/>
                </a:lnTo>
                <a:lnTo>
                  <a:pt x="1990722" y="6345894"/>
                </a:lnTo>
                <a:cubicBezTo>
                  <a:pt x="1990722" y="6337671"/>
                  <a:pt x="1992405" y="6332088"/>
                  <a:pt x="1995770" y="6329146"/>
                </a:cubicBezTo>
                <a:cubicBezTo>
                  <a:pt x="1999136" y="6326203"/>
                  <a:pt x="2003136" y="6324732"/>
                  <a:pt x="2007772" y="6324732"/>
                </a:cubicBezTo>
                <a:cubicBezTo>
                  <a:pt x="2010674" y="6324732"/>
                  <a:pt x="2013203" y="6325387"/>
                  <a:pt x="2015360" y="6326697"/>
                </a:cubicBezTo>
                <a:cubicBezTo>
                  <a:pt x="2017516" y="6328007"/>
                  <a:pt x="2019018" y="6329761"/>
                  <a:pt x="2019864" y="6331957"/>
                </a:cubicBezTo>
                <a:cubicBezTo>
                  <a:pt x="2020710" y="6334154"/>
                  <a:pt x="2021134" y="6337469"/>
                  <a:pt x="2021134" y="6341903"/>
                </a:cubicBezTo>
                <a:lnTo>
                  <a:pt x="2021134" y="6380961"/>
                </a:lnTo>
                <a:lnTo>
                  <a:pt x="2032017" y="6380961"/>
                </a:lnTo>
                <a:lnTo>
                  <a:pt x="2032017" y="6341480"/>
                </a:lnTo>
                <a:cubicBezTo>
                  <a:pt x="2032017" y="6336441"/>
                  <a:pt x="2031815" y="6332915"/>
                  <a:pt x="2031412" y="6330899"/>
                </a:cubicBezTo>
                <a:cubicBezTo>
                  <a:pt x="2030767" y="6327796"/>
                  <a:pt x="2029639" y="6325115"/>
                  <a:pt x="2028026" y="6322858"/>
                </a:cubicBezTo>
                <a:cubicBezTo>
                  <a:pt x="2026414" y="6320601"/>
                  <a:pt x="2023985" y="6318777"/>
                  <a:pt x="2020741" y="6317386"/>
                </a:cubicBezTo>
                <a:cubicBezTo>
                  <a:pt x="2017496" y="6315995"/>
                  <a:pt x="2013939" y="6315300"/>
                  <a:pt x="2010069" y="6315300"/>
                </a:cubicBezTo>
                <a:close/>
                <a:moveTo>
                  <a:pt x="1939525" y="6315300"/>
                </a:moveTo>
                <a:cubicBezTo>
                  <a:pt x="1930657" y="6315300"/>
                  <a:pt x="1923442" y="6318283"/>
                  <a:pt x="1917880" y="6324248"/>
                </a:cubicBezTo>
                <a:cubicBezTo>
                  <a:pt x="1912317" y="6330214"/>
                  <a:pt x="1909536" y="6338598"/>
                  <a:pt x="1909536" y="6349400"/>
                </a:cubicBezTo>
                <a:cubicBezTo>
                  <a:pt x="1909536" y="6359840"/>
                  <a:pt x="1912287" y="6367952"/>
                  <a:pt x="1917789" y="6373736"/>
                </a:cubicBezTo>
                <a:cubicBezTo>
                  <a:pt x="1923291" y="6379520"/>
                  <a:pt x="1930738" y="6382412"/>
                  <a:pt x="1940129" y="6382412"/>
                </a:cubicBezTo>
                <a:cubicBezTo>
                  <a:pt x="1947586" y="6382412"/>
                  <a:pt x="1953713" y="6380598"/>
                  <a:pt x="1958510" y="6376971"/>
                </a:cubicBezTo>
                <a:cubicBezTo>
                  <a:pt x="1963306" y="6373343"/>
                  <a:pt x="1966591" y="6368244"/>
                  <a:pt x="1968365" y="6361674"/>
                </a:cubicBezTo>
                <a:lnTo>
                  <a:pt x="1957119" y="6360283"/>
                </a:lnTo>
                <a:cubicBezTo>
                  <a:pt x="1955466" y="6364879"/>
                  <a:pt x="1953229" y="6368224"/>
                  <a:pt x="1950408" y="6370320"/>
                </a:cubicBezTo>
                <a:cubicBezTo>
                  <a:pt x="1947586" y="6372416"/>
                  <a:pt x="1944180" y="6373464"/>
                  <a:pt x="1940190" y="6373464"/>
                </a:cubicBezTo>
                <a:cubicBezTo>
                  <a:pt x="1934829" y="6373464"/>
                  <a:pt x="1930355" y="6371590"/>
                  <a:pt x="1926767" y="6367841"/>
                </a:cubicBezTo>
                <a:cubicBezTo>
                  <a:pt x="1923180" y="6364093"/>
                  <a:pt x="1921185" y="6358691"/>
                  <a:pt x="1920782" y="6351637"/>
                </a:cubicBezTo>
                <a:lnTo>
                  <a:pt x="1968667" y="6351637"/>
                </a:lnTo>
                <a:cubicBezTo>
                  <a:pt x="1968707" y="6350348"/>
                  <a:pt x="1968728" y="6349380"/>
                  <a:pt x="1968728" y="6348735"/>
                </a:cubicBezTo>
                <a:cubicBezTo>
                  <a:pt x="1968728" y="6338134"/>
                  <a:pt x="1966007" y="6329912"/>
                  <a:pt x="1960565" y="6324067"/>
                </a:cubicBezTo>
                <a:cubicBezTo>
                  <a:pt x="1955124" y="6318222"/>
                  <a:pt x="1948110" y="6315300"/>
                  <a:pt x="1939525" y="6315300"/>
                </a:cubicBezTo>
                <a:close/>
                <a:moveTo>
                  <a:pt x="1805752" y="6315300"/>
                </a:moveTo>
                <a:cubicBezTo>
                  <a:pt x="1800230" y="6315300"/>
                  <a:pt x="1795120" y="6316600"/>
                  <a:pt x="1790425" y="6319200"/>
                </a:cubicBezTo>
                <a:cubicBezTo>
                  <a:pt x="1785729" y="6321800"/>
                  <a:pt x="1782232" y="6325700"/>
                  <a:pt x="1779935" y="6330899"/>
                </a:cubicBezTo>
                <a:cubicBezTo>
                  <a:pt x="1777637" y="6336099"/>
                  <a:pt x="1776488" y="6342165"/>
                  <a:pt x="1776488" y="6349098"/>
                </a:cubicBezTo>
                <a:cubicBezTo>
                  <a:pt x="1776488" y="6359820"/>
                  <a:pt x="1779159" y="6368053"/>
                  <a:pt x="1784499" y="6373797"/>
                </a:cubicBezTo>
                <a:cubicBezTo>
                  <a:pt x="1789840" y="6379540"/>
                  <a:pt x="1796904" y="6382412"/>
                  <a:pt x="1805691" y="6382412"/>
                </a:cubicBezTo>
                <a:cubicBezTo>
                  <a:pt x="1812705" y="6382412"/>
                  <a:pt x="1818620" y="6380326"/>
                  <a:pt x="1823437" y="6376155"/>
                </a:cubicBezTo>
                <a:cubicBezTo>
                  <a:pt x="1828253" y="6371983"/>
                  <a:pt x="1831246" y="6366209"/>
                  <a:pt x="1832415" y="6358832"/>
                </a:cubicBezTo>
                <a:lnTo>
                  <a:pt x="1821714" y="6357442"/>
                </a:lnTo>
                <a:cubicBezTo>
                  <a:pt x="1820948" y="6362883"/>
                  <a:pt x="1819134" y="6366914"/>
                  <a:pt x="1816272" y="6369534"/>
                </a:cubicBezTo>
                <a:cubicBezTo>
                  <a:pt x="1813410" y="6372154"/>
                  <a:pt x="1809843" y="6373464"/>
                  <a:pt x="1805570" y="6373464"/>
                </a:cubicBezTo>
                <a:cubicBezTo>
                  <a:pt x="1800250" y="6373464"/>
                  <a:pt x="1795937" y="6371509"/>
                  <a:pt x="1792632" y="6367599"/>
                </a:cubicBezTo>
                <a:cubicBezTo>
                  <a:pt x="1789326" y="6363689"/>
                  <a:pt x="1787674" y="6357422"/>
                  <a:pt x="1787674" y="6348796"/>
                </a:cubicBezTo>
                <a:cubicBezTo>
                  <a:pt x="1787674" y="6340291"/>
                  <a:pt x="1789387" y="6334073"/>
                  <a:pt x="1792813" y="6330143"/>
                </a:cubicBezTo>
                <a:cubicBezTo>
                  <a:pt x="1796239" y="6326213"/>
                  <a:pt x="1800693" y="6324248"/>
                  <a:pt x="1806175" y="6324248"/>
                </a:cubicBezTo>
                <a:cubicBezTo>
                  <a:pt x="1809803" y="6324248"/>
                  <a:pt x="1812896" y="6325337"/>
                  <a:pt x="1815456" y="6327513"/>
                </a:cubicBezTo>
                <a:cubicBezTo>
                  <a:pt x="1818015" y="6329690"/>
                  <a:pt x="1819799" y="6332935"/>
                  <a:pt x="1820806" y="6337248"/>
                </a:cubicBezTo>
                <a:lnTo>
                  <a:pt x="1831387" y="6335615"/>
                </a:lnTo>
                <a:cubicBezTo>
                  <a:pt x="1830138" y="6329126"/>
                  <a:pt x="1827296" y="6324117"/>
                  <a:pt x="1822862" y="6320591"/>
                </a:cubicBezTo>
                <a:cubicBezTo>
                  <a:pt x="1818428" y="6317064"/>
                  <a:pt x="1812725" y="6315300"/>
                  <a:pt x="1805752" y="6315300"/>
                </a:cubicBezTo>
                <a:close/>
                <a:moveTo>
                  <a:pt x="1515165" y="6315300"/>
                </a:moveTo>
                <a:cubicBezTo>
                  <a:pt x="1511819" y="6315300"/>
                  <a:pt x="1508685" y="6315733"/>
                  <a:pt x="1505763" y="6316600"/>
                </a:cubicBezTo>
                <a:cubicBezTo>
                  <a:pt x="1502840" y="6317467"/>
                  <a:pt x="1500533" y="6318525"/>
                  <a:pt x="1498840" y="6319774"/>
                </a:cubicBezTo>
                <a:cubicBezTo>
                  <a:pt x="1496583" y="6321387"/>
                  <a:pt x="1494799" y="6323412"/>
                  <a:pt x="1493489" y="6325851"/>
                </a:cubicBezTo>
                <a:cubicBezTo>
                  <a:pt x="1492179" y="6328289"/>
                  <a:pt x="1491524" y="6330939"/>
                  <a:pt x="1491524" y="6333801"/>
                </a:cubicBezTo>
                <a:cubicBezTo>
                  <a:pt x="1491524" y="6336945"/>
                  <a:pt x="1492320" y="6339817"/>
                  <a:pt x="1493913" y="6342417"/>
                </a:cubicBezTo>
                <a:cubicBezTo>
                  <a:pt x="1495505" y="6345017"/>
                  <a:pt x="1497843" y="6347052"/>
                  <a:pt x="1500926" y="6348524"/>
                </a:cubicBezTo>
                <a:cubicBezTo>
                  <a:pt x="1504009" y="6349995"/>
                  <a:pt x="1509542" y="6351738"/>
                  <a:pt x="1517523" y="6353754"/>
                </a:cubicBezTo>
                <a:cubicBezTo>
                  <a:pt x="1523448" y="6355245"/>
                  <a:pt x="1527156" y="6356474"/>
                  <a:pt x="1528648" y="6357442"/>
                </a:cubicBezTo>
                <a:cubicBezTo>
                  <a:pt x="1530784" y="6358853"/>
                  <a:pt x="1531852" y="6360787"/>
                  <a:pt x="1531852" y="6363246"/>
                </a:cubicBezTo>
                <a:cubicBezTo>
                  <a:pt x="1531852" y="6365987"/>
                  <a:pt x="1530643" y="6368375"/>
                  <a:pt x="1528224" y="6370411"/>
                </a:cubicBezTo>
                <a:cubicBezTo>
                  <a:pt x="1525806" y="6372446"/>
                  <a:pt x="1522097" y="6373464"/>
                  <a:pt x="1517100" y="6373464"/>
                </a:cubicBezTo>
                <a:cubicBezTo>
                  <a:pt x="1512141" y="6373464"/>
                  <a:pt x="1508282" y="6372315"/>
                  <a:pt x="1505521" y="6370018"/>
                </a:cubicBezTo>
                <a:cubicBezTo>
                  <a:pt x="1502760" y="6367720"/>
                  <a:pt x="1501077" y="6364415"/>
                  <a:pt x="1500472" y="6360102"/>
                </a:cubicBezTo>
                <a:lnTo>
                  <a:pt x="1489710" y="6361795"/>
                </a:lnTo>
                <a:cubicBezTo>
                  <a:pt x="1490920" y="6368607"/>
                  <a:pt x="1493711" y="6373746"/>
                  <a:pt x="1498084" y="6377213"/>
                </a:cubicBezTo>
                <a:cubicBezTo>
                  <a:pt x="1502458" y="6380679"/>
                  <a:pt x="1508816" y="6382412"/>
                  <a:pt x="1517160" y="6382412"/>
                </a:cubicBezTo>
                <a:cubicBezTo>
                  <a:pt x="1522198" y="6382412"/>
                  <a:pt x="1526713" y="6381536"/>
                  <a:pt x="1530703" y="6379782"/>
                </a:cubicBezTo>
                <a:cubicBezTo>
                  <a:pt x="1534694" y="6378029"/>
                  <a:pt x="1537747" y="6375550"/>
                  <a:pt x="1539863" y="6372345"/>
                </a:cubicBezTo>
                <a:cubicBezTo>
                  <a:pt x="1541979" y="6369141"/>
                  <a:pt x="1543037" y="6365725"/>
                  <a:pt x="1543037" y="6362097"/>
                </a:cubicBezTo>
                <a:cubicBezTo>
                  <a:pt x="1543037" y="6358389"/>
                  <a:pt x="1542171" y="6355285"/>
                  <a:pt x="1540437" y="6352786"/>
                </a:cubicBezTo>
                <a:cubicBezTo>
                  <a:pt x="1538704" y="6350287"/>
                  <a:pt x="1536316" y="6348383"/>
                  <a:pt x="1533273" y="6347073"/>
                </a:cubicBezTo>
                <a:cubicBezTo>
                  <a:pt x="1530230" y="6345763"/>
                  <a:pt x="1524859" y="6344080"/>
                  <a:pt x="1517160" y="6342024"/>
                </a:cubicBezTo>
                <a:cubicBezTo>
                  <a:pt x="1511839" y="6340573"/>
                  <a:pt x="1508635" y="6339646"/>
                  <a:pt x="1507547" y="6339243"/>
                </a:cubicBezTo>
                <a:cubicBezTo>
                  <a:pt x="1505652" y="6338477"/>
                  <a:pt x="1504261" y="6337510"/>
                  <a:pt x="1503375" y="6336341"/>
                </a:cubicBezTo>
                <a:cubicBezTo>
                  <a:pt x="1502488" y="6335212"/>
                  <a:pt x="1502044" y="6333942"/>
                  <a:pt x="1502044" y="6332532"/>
                </a:cubicBezTo>
                <a:cubicBezTo>
                  <a:pt x="1502044" y="6330315"/>
                  <a:pt x="1503113" y="6328380"/>
                  <a:pt x="1505249" y="6326727"/>
                </a:cubicBezTo>
                <a:cubicBezTo>
                  <a:pt x="1507385" y="6325075"/>
                  <a:pt x="1510953" y="6324248"/>
                  <a:pt x="1515951" y="6324248"/>
                </a:cubicBezTo>
                <a:cubicBezTo>
                  <a:pt x="1520183" y="6324248"/>
                  <a:pt x="1523458" y="6325176"/>
                  <a:pt x="1525776" y="6327030"/>
                </a:cubicBezTo>
                <a:cubicBezTo>
                  <a:pt x="1528093" y="6328884"/>
                  <a:pt x="1529494" y="6331463"/>
                  <a:pt x="1529978" y="6334769"/>
                </a:cubicBezTo>
                <a:lnTo>
                  <a:pt x="1540619" y="6333318"/>
                </a:lnTo>
                <a:cubicBezTo>
                  <a:pt x="1539934" y="6329166"/>
                  <a:pt x="1538684" y="6325851"/>
                  <a:pt x="1536870" y="6323372"/>
                </a:cubicBezTo>
                <a:cubicBezTo>
                  <a:pt x="1535056" y="6320893"/>
                  <a:pt x="1532245" y="6318928"/>
                  <a:pt x="1528436" y="6317477"/>
                </a:cubicBezTo>
                <a:cubicBezTo>
                  <a:pt x="1524627" y="6316026"/>
                  <a:pt x="1520203" y="6315300"/>
                  <a:pt x="1515165" y="6315300"/>
                </a:cubicBezTo>
                <a:close/>
                <a:moveTo>
                  <a:pt x="1479544" y="6315300"/>
                </a:moveTo>
                <a:cubicBezTo>
                  <a:pt x="1477004" y="6315300"/>
                  <a:pt x="1474676" y="6316026"/>
                  <a:pt x="1472560" y="6317477"/>
                </a:cubicBezTo>
                <a:cubicBezTo>
                  <a:pt x="1470444" y="6318928"/>
                  <a:pt x="1468136" y="6321931"/>
                  <a:pt x="1465638" y="6326486"/>
                </a:cubicBezTo>
                <a:lnTo>
                  <a:pt x="1465638" y="6316751"/>
                </a:lnTo>
                <a:lnTo>
                  <a:pt x="1455843" y="6316751"/>
                </a:lnTo>
                <a:lnTo>
                  <a:pt x="1455843" y="6380961"/>
                </a:lnTo>
                <a:lnTo>
                  <a:pt x="1466726" y="6380961"/>
                </a:lnTo>
                <a:lnTo>
                  <a:pt x="1466726" y="6347345"/>
                </a:lnTo>
                <a:cubicBezTo>
                  <a:pt x="1466726" y="6342750"/>
                  <a:pt x="1467330" y="6338517"/>
                  <a:pt x="1468540" y="6334648"/>
                </a:cubicBezTo>
                <a:cubicBezTo>
                  <a:pt x="1469346" y="6332108"/>
                  <a:pt x="1470696" y="6330123"/>
                  <a:pt x="1472590" y="6328692"/>
                </a:cubicBezTo>
                <a:cubicBezTo>
                  <a:pt x="1474485" y="6327261"/>
                  <a:pt x="1476621" y="6326546"/>
                  <a:pt x="1479000" y="6326546"/>
                </a:cubicBezTo>
                <a:cubicBezTo>
                  <a:pt x="1481660" y="6326546"/>
                  <a:pt x="1484320" y="6327332"/>
                  <a:pt x="1486980" y="6328904"/>
                </a:cubicBezTo>
                <a:lnTo>
                  <a:pt x="1490729" y="6318807"/>
                </a:lnTo>
                <a:cubicBezTo>
                  <a:pt x="1486940" y="6316469"/>
                  <a:pt x="1483212" y="6315300"/>
                  <a:pt x="1479544" y="6315300"/>
                </a:cubicBezTo>
                <a:close/>
                <a:moveTo>
                  <a:pt x="1416436" y="6315300"/>
                </a:moveTo>
                <a:cubicBezTo>
                  <a:pt x="1410914" y="6315300"/>
                  <a:pt x="1406057" y="6316056"/>
                  <a:pt x="1401865" y="6317567"/>
                </a:cubicBezTo>
                <a:cubicBezTo>
                  <a:pt x="1397673" y="6319079"/>
                  <a:pt x="1394468" y="6321235"/>
                  <a:pt x="1392251" y="6324037"/>
                </a:cubicBezTo>
                <a:cubicBezTo>
                  <a:pt x="1390034" y="6326838"/>
                  <a:pt x="1388442" y="6330516"/>
                  <a:pt x="1387475" y="6335071"/>
                </a:cubicBezTo>
                <a:lnTo>
                  <a:pt x="1398116" y="6336522"/>
                </a:lnTo>
                <a:cubicBezTo>
                  <a:pt x="1399285" y="6331967"/>
                  <a:pt x="1401089" y="6328793"/>
                  <a:pt x="1403527" y="6326999"/>
                </a:cubicBezTo>
                <a:cubicBezTo>
                  <a:pt x="1405966" y="6325206"/>
                  <a:pt x="1409745" y="6324309"/>
                  <a:pt x="1414864" y="6324309"/>
                </a:cubicBezTo>
                <a:cubicBezTo>
                  <a:pt x="1420345" y="6324309"/>
                  <a:pt x="1424477" y="6325538"/>
                  <a:pt x="1427258" y="6327997"/>
                </a:cubicBezTo>
                <a:cubicBezTo>
                  <a:pt x="1429314" y="6329811"/>
                  <a:pt x="1430342" y="6332935"/>
                  <a:pt x="1430342" y="6337369"/>
                </a:cubicBezTo>
                <a:cubicBezTo>
                  <a:pt x="1430342" y="6337772"/>
                  <a:pt x="1430322" y="6338719"/>
                  <a:pt x="1430281" y="6340210"/>
                </a:cubicBezTo>
                <a:cubicBezTo>
                  <a:pt x="1426130" y="6341661"/>
                  <a:pt x="1419660" y="6342911"/>
                  <a:pt x="1410873" y="6343959"/>
                </a:cubicBezTo>
                <a:cubicBezTo>
                  <a:pt x="1406561" y="6344483"/>
                  <a:pt x="1403336" y="6345027"/>
                  <a:pt x="1401199" y="6345591"/>
                </a:cubicBezTo>
                <a:cubicBezTo>
                  <a:pt x="1398297" y="6346397"/>
                  <a:pt x="1395687" y="6347587"/>
                  <a:pt x="1393370" y="6349159"/>
                </a:cubicBezTo>
                <a:cubicBezTo>
                  <a:pt x="1391052" y="6350731"/>
                  <a:pt x="1389178" y="6352816"/>
                  <a:pt x="1387747" y="6355416"/>
                </a:cubicBezTo>
                <a:cubicBezTo>
                  <a:pt x="1386316" y="6358016"/>
                  <a:pt x="1385600" y="6360888"/>
                  <a:pt x="1385600" y="6364032"/>
                </a:cubicBezTo>
                <a:cubicBezTo>
                  <a:pt x="1385600" y="6369393"/>
                  <a:pt x="1387495" y="6373797"/>
                  <a:pt x="1391284" y="6377243"/>
                </a:cubicBezTo>
                <a:cubicBezTo>
                  <a:pt x="1395073" y="6380689"/>
                  <a:pt x="1400494" y="6382412"/>
                  <a:pt x="1407548" y="6382412"/>
                </a:cubicBezTo>
                <a:cubicBezTo>
                  <a:pt x="1411821" y="6382412"/>
                  <a:pt x="1415821" y="6381707"/>
                  <a:pt x="1419550" y="6380296"/>
                </a:cubicBezTo>
                <a:cubicBezTo>
                  <a:pt x="1423278" y="6378885"/>
                  <a:pt x="1427158" y="6376467"/>
                  <a:pt x="1431188" y="6373041"/>
                </a:cubicBezTo>
                <a:cubicBezTo>
                  <a:pt x="1431511" y="6376064"/>
                  <a:pt x="1432236" y="6378704"/>
                  <a:pt x="1433365" y="6380961"/>
                </a:cubicBezTo>
                <a:lnTo>
                  <a:pt x="1444732" y="6380961"/>
                </a:lnTo>
                <a:cubicBezTo>
                  <a:pt x="1443361" y="6378502"/>
                  <a:pt x="1442444" y="6375933"/>
                  <a:pt x="1441981" y="6373252"/>
                </a:cubicBezTo>
                <a:cubicBezTo>
                  <a:pt x="1441517" y="6370572"/>
                  <a:pt x="1441285" y="6364173"/>
                  <a:pt x="1441285" y="6354056"/>
                </a:cubicBezTo>
                <a:lnTo>
                  <a:pt x="1441285" y="6339545"/>
                </a:lnTo>
                <a:cubicBezTo>
                  <a:pt x="1441285" y="6334708"/>
                  <a:pt x="1441104" y="6331363"/>
                  <a:pt x="1440741" y="6329509"/>
                </a:cubicBezTo>
                <a:cubicBezTo>
                  <a:pt x="1440096" y="6326526"/>
                  <a:pt x="1438968" y="6324057"/>
                  <a:pt x="1437355" y="6322102"/>
                </a:cubicBezTo>
                <a:cubicBezTo>
                  <a:pt x="1435743" y="6320147"/>
                  <a:pt x="1433224" y="6318525"/>
                  <a:pt x="1429798" y="6317235"/>
                </a:cubicBezTo>
                <a:cubicBezTo>
                  <a:pt x="1426372" y="6315945"/>
                  <a:pt x="1421917" y="6315300"/>
                  <a:pt x="1416436" y="6315300"/>
                </a:cubicBezTo>
                <a:close/>
                <a:moveTo>
                  <a:pt x="1167698" y="6315300"/>
                </a:moveTo>
                <a:cubicBezTo>
                  <a:pt x="1159757" y="6315300"/>
                  <a:pt x="1153026" y="6317678"/>
                  <a:pt x="1147503" y="6322435"/>
                </a:cubicBezTo>
                <a:cubicBezTo>
                  <a:pt x="1140893" y="6328158"/>
                  <a:pt x="1137588" y="6336965"/>
                  <a:pt x="1137588" y="6348856"/>
                </a:cubicBezTo>
                <a:cubicBezTo>
                  <a:pt x="1137588" y="6359699"/>
                  <a:pt x="1140359" y="6368002"/>
                  <a:pt x="1145901" y="6373766"/>
                </a:cubicBezTo>
                <a:cubicBezTo>
                  <a:pt x="1151443" y="6379530"/>
                  <a:pt x="1158709" y="6382412"/>
                  <a:pt x="1167698" y="6382412"/>
                </a:cubicBezTo>
                <a:cubicBezTo>
                  <a:pt x="1173300" y="6382412"/>
                  <a:pt x="1178470" y="6381102"/>
                  <a:pt x="1183206" y="6378482"/>
                </a:cubicBezTo>
                <a:cubicBezTo>
                  <a:pt x="1187942" y="6375862"/>
                  <a:pt x="1191550" y="6372184"/>
                  <a:pt x="1194028" y="6367448"/>
                </a:cubicBezTo>
                <a:cubicBezTo>
                  <a:pt x="1196507" y="6362712"/>
                  <a:pt x="1197747" y="6356212"/>
                  <a:pt x="1197747" y="6347949"/>
                </a:cubicBezTo>
                <a:cubicBezTo>
                  <a:pt x="1197747" y="6337751"/>
                  <a:pt x="1194945" y="6329761"/>
                  <a:pt x="1189343" y="6323976"/>
                </a:cubicBezTo>
                <a:cubicBezTo>
                  <a:pt x="1183740" y="6318192"/>
                  <a:pt x="1176525" y="6315300"/>
                  <a:pt x="1167698" y="6315300"/>
                </a:cubicBezTo>
                <a:close/>
                <a:moveTo>
                  <a:pt x="1057965" y="6315300"/>
                </a:moveTo>
                <a:cubicBezTo>
                  <a:pt x="1054619" y="6315300"/>
                  <a:pt x="1051485" y="6315733"/>
                  <a:pt x="1048563" y="6316600"/>
                </a:cubicBezTo>
                <a:cubicBezTo>
                  <a:pt x="1045641" y="6317467"/>
                  <a:pt x="1043333" y="6318525"/>
                  <a:pt x="1041640" y="6319774"/>
                </a:cubicBezTo>
                <a:cubicBezTo>
                  <a:pt x="1039383" y="6321387"/>
                  <a:pt x="1037599" y="6323412"/>
                  <a:pt x="1036289" y="6325851"/>
                </a:cubicBezTo>
                <a:cubicBezTo>
                  <a:pt x="1034979" y="6328289"/>
                  <a:pt x="1034324" y="6330939"/>
                  <a:pt x="1034324" y="6333801"/>
                </a:cubicBezTo>
                <a:cubicBezTo>
                  <a:pt x="1034324" y="6336945"/>
                  <a:pt x="1035120" y="6339817"/>
                  <a:pt x="1036712" y="6342417"/>
                </a:cubicBezTo>
                <a:cubicBezTo>
                  <a:pt x="1038304" y="6345017"/>
                  <a:pt x="1040642" y="6347052"/>
                  <a:pt x="1043726" y="6348524"/>
                </a:cubicBezTo>
                <a:cubicBezTo>
                  <a:pt x="1046809" y="6349995"/>
                  <a:pt x="1052342" y="6351738"/>
                  <a:pt x="1060323" y="6353754"/>
                </a:cubicBezTo>
                <a:cubicBezTo>
                  <a:pt x="1066248" y="6355245"/>
                  <a:pt x="1069956" y="6356474"/>
                  <a:pt x="1071447" y="6357442"/>
                </a:cubicBezTo>
                <a:cubicBezTo>
                  <a:pt x="1073584" y="6358853"/>
                  <a:pt x="1074652" y="6360787"/>
                  <a:pt x="1074652" y="6363246"/>
                </a:cubicBezTo>
                <a:cubicBezTo>
                  <a:pt x="1074652" y="6365987"/>
                  <a:pt x="1073443" y="6368375"/>
                  <a:pt x="1071024" y="6370411"/>
                </a:cubicBezTo>
                <a:cubicBezTo>
                  <a:pt x="1068606" y="6372446"/>
                  <a:pt x="1064898" y="6373464"/>
                  <a:pt x="1059899" y="6373464"/>
                </a:cubicBezTo>
                <a:cubicBezTo>
                  <a:pt x="1054942" y="6373464"/>
                  <a:pt x="1051082" y="6372315"/>
                  <a:pt x="1048321" y="6370018"/>
                </a:cubicBezTo>
                <a:cubicBezTo>
                  <a:pt x="1045560" y="6367720"/>
                  <a:pt x="1043877" y="6364415"/>
                  <a:pt x="1043272" y="6360102"/>
                </a:cubicBezTo>
                <a:lnTo>
                  <a:pt x="1032510" y="6361795"/>
                </a:lnTo>
                <a:cubicBezTo>
                  <a:pt x="1033720" y="6368607"/>
                  <a:pt x="1036511" y="6373746"/>
                  <a:pt x="1040884" y="6377213"/>
                </a:cubicBezTo>
                <a:cubicBezTo>
                  <a:pt x="1045258" y="6380679"/>
                  <a:pt x="1051616" y="6382412"/>
                  <a:pt x="1059960" y="6382412"/>
                </a:cubicBezTo>
                <a:cubicBezTo>
                  <a:pt x="1064998" y="6382412"/>
                  <a:pt x="1069513" y="6381536"/>
                  <a:pt x="1073503" y="6379782"/>
                </a:cubicBezTo>
                <a:cubicBezTo>
                  <a:pt x="1077494" y="6378029"/>
                  <a:pt x="1080547" y="6375550"/>
                  <a:pt x="1082663" y="6372345"/>
                </a:cubicBezTo>
                <a:cubicBezTo>
                  <a:pt x="1084779" y="6369141"/>
                  <a:pt x="1085837" y="6365725"/>
                  <a:pt x="1085837" y="6362097"/>
                </a:cubicBezTo>
                <a:cubicBezTo>
                  <a:pt x="1085837" y="6358389"/>
                  <a:pt x="1084971" y="6355285"/>
                  <a:pt x="1083237" y="6352786"/>
                </a:cubicBezTo>
                <a:cubicBezTo>
                  <a:pt x="1081504" y="6350287"/>
                  <a:pt x="1079116" y="6348383"/>
                  <a:pt x="1076073" y="6347073"/>
                </a:cubicBezTo>
                <a:cubicBezTo>
                  <a:pt x="1073030" y="6345763"/>
                  <a:pt x="1067659" y="6344080"/>
                  <a:pt x="1059960" y="6342024"/>
                </a:cubicBezTo>
                <a:cubicBezTo>
                  <a:pt x="1054639" y="6340573"/>
                  <a:pt x="1051435" y="6339646"/>
                  <a:pt x="1050346" y="6339243"/>
                </a:cubicBezTo>
                <a:cubicBezTo>
                  <a:pt x="1048452" y="6338477"/>
                  <a:pt x="1047061" y="6337510"/>
                  <a:pt x="1046175" y="6336341"/>
                </a:cubicBezTo>
                <a:cubicBezTo>
                  <a:pt x="1045288" y="6335212"/>
                  <a:pt x="1044844" y="6333942"/>
                  <a:pt x="1044844" y="6332532"/>
                </a:cubicBezTo>
                <a:cubicBezTo>
                  <a:pt x="1044844" y="6330315"/>
                  <a:pt x="1045913" y="6328380"/>
                  <a:pt x="1048049" y="6326727"/>
                </a:cubicBezTo>
                <a:cubicBezTo>
                  <a:pt x="1050185" y="6325075"/>
                  <a:pt x="1053753" y="6324248"/>
                  <a:pt x="1058751" y="6324248"/>
                </a:cubicBezTo>
                <a:cubicBezTo>
                  <a:pt x="1062983" y="6324248"/>
                  <a:pt x="1066258" y="6325176"/>
                  <a:pt x="1068576" y="6327030"/>
                </a:cubicBezTo>
                <a:cubicBezTo>
                  <a:pt x="1070893" y="6328884"/>
                  <a:pt x="1072294" y="6331463"/>
                  <a:pt x="1072778" y="6334769"/>
                </a:cubicBezTo>
                <a:lnTo>
                  <a:pt x="1083419" y="6333318"/>
                </a:lnTo>
                <a:cubicBezTo>
                  <a:pt x="1082734" y="6329166"/>
                  <a:pt x="1081484" y="6325851"/>
                  <a:pt x="1079670" y="6323372"/>
                </a:cubicBezTo>
                <a:cubicBezTo>
                  <a:pt x="1077856" y="6320893"/>
                  <a:pt x="1075045" y="6318928"/>
                  <a:pt x="1071236" y="6317477"/>
                </a:cubicBezTo>
                <a:cubicBezTo>
                  <a:pt x="1067427" y="6316026"/>
                  <a:pt x="1063003" y="6315300"/>
                  <a:pt x="1057965" y="6315300"/>
                </a:cubicBezTo>
                <a:close/>
                <a:moveTo>
                  <a:pt x="991290" y="6315300"/>
                </a:moveTo>
                <a:cubicBezTo>
                  <a:pt x="987944" y="6315300"/>
                  <a:pt x="984810" y="6315733"/>
                  <a:pt x="981888" y="6316600"/>
                </a:cubicBezTo>
                <a:cubicBezTo>
                  <a:pt x="978965" y="6317467"/>
                  <a:pt x="976658" y="6318525"/>
                  <a:pt x="974965" y="6319774"/>
                </a:cubicBezTo>
                <a:cubicBezTo>
                  <a:pt x="972708" y="6321387"/>
                  <a:pt x="970924" y="6323412"/>
                  <a:pt x="969614" y="6325851"/>
                </a:cubicBezTo>
                <a:cubicBezTo>
                  <a:pt x="968304" y="6328289"/>
                  <a:pt x="967649" y="6330939"/>
                  <a:pt x="967649" y="6333801"/>
                </a:cubicBezTo>
                <a:cubicBezTo>
                  <a:pt x="967649" y="6336945"/>
                  <a:pt x="968445" y="6339817"/>
                  <a:pt x="970037" y="6342417"/>
                </a:cubicBezTo>
                <a:cubicBezTo>
                  <a:pt x="971630" y="6345017"/>
                  <a:pt x="973967" y="6347052"/>
                  <a:pt x="977051" y="6348524"/>
                </a:cubicBezTo>
                <a:cubicBezTo>
                  <a:pt x="980134" y="6349995"/>
                  <a:pt x="985667" y="6351738"/>
                  <a:pt x="993648" y="6353754"/>
                </a:cubicBezTo>
                <a:cubicBezTo>
                  <a:pt x="999573" y="6355245"/>
                  <a:pt x="1003281" y="6356474"/>
                  <a:pt x="1004772" y="6357442"/>
                </a:cubicBezTo>
                <a:cubicBezTo>
                  <a:pt x="1006909" y="6358853"/>
                  <a:pt x="1007977" y="6360787"/>
                  <a:pt x="1007977" y="6363246"/>
                </a:cubicBezTo>
                <a:cubicBezTo>
                  <a:pt x="1007977" y="6365987"/>
                  <a:pt x="1006768" y="6368375"/>
                  <a:pt x="1004349" y="6370411"/>
                </a:cubicBezTo>
                <a:cubicBezTo>
                  <a:pt x="1001931" y="6372446"/>
                  <a:pt x="998222" y="6373464"/>
                  <a:pt x="993224" y="6373464"/>
                </a:cubicBezTo>
                <a:cubicBezTo>
                  <a:pt x="988266" y="6373464"/>
                  <a:pt x="984407" y="6372315"/>
                  <a:pt x="981646" y="6370018"/>
                </a:cubicBezTo>
                <a:cubicBezTo>
                  <a:pt x="978885" y="6367720"/>
                  <a:pt x="977202" y="6364415"/>
                  <a:pt x="976598" y="6360102"/>
                </a:cubicBezTo>
                <a:lnTo>
                  <a:pt x="965835" y="6361795"/>
                </a:lnTo>
                <a:cubicBezTo>
                  <a:pt x="967044" y="6368607"/>
                  <a:pt x="969836" y="6373746"/>
                  <a:pt x="974209" y="6377213"/>
                </a:cubicBezTo>
                <a:cubicBezTo>
                  <a:pt x="978583" y="6380679"/>
                  <a:pt x="984941" y="6382412"/>
                  <a:pt x="993285" y="6382412"/>
                </a:cubicBezTo>
                <a:cubicBezTo>
                  <a:pt x="998323" y="6382412"/>
                  <a:pt x="1002838" y="6381536"/>
                  <a:pt x="1006828" y="6379782"/>
                </a:cubicBezTo>
                <a:cubicBezTo>
                  <a:pt x="1010819" y="6378029"/>
                  <a:pt x="1013872" y="6375550"/>
                  <a:pt x="1015988" y="6372345"/>
                </a:cubicBezTo>
                <a:cubicBezTo>
                  <a:pt x="1018104" y="6369141"/>
                  <a:pt x="1019162" y="6365725"/>
                  <a:pt x="1019162" y="6362097"/>
                </a:cubicBezTo>
                <a:cubicBezTo>
                  <a:pt x="1019162" y="6358389"/>
                  <a:pt x="1018296" y="6355285"/>
                  <a:pt x="1016562" y="6352786"/>
                </a:cubicBezTo>
                <a:cubicBezTo>
                  <a:pt x="1014829" y="6350287"/>
                  <a:pt x="1012441" y="6348383"/>
                  <a:pt x="1009398" y="6347073"/>
                </a:cubicBezTo>
                <a:cubicBezTo>
                  <a:pt x="1006354" y="6345763"/>
                  <a:pt x="1000984" y="6344080"/>
                  <a:pt x="993285" y="6342024"/>
                </a:cubicBezTo>
                <a:cubicBezTo>
                  <a:pt x="987964" y="6340573"/>
                  <a:pt x="984760" y="6339646"/>
                  <a:pt x="983671" y="6339243"/>
                </a:cubicBezTo>
                <a:cubicBezTo>
                  <a:pt x="981777" y="6338477"/>
                  <a:pt x="980386" y="6337510"/>
                  <a:pt x="979500" y="6336341"/>
                </a:cubicBezTo>
                <a:cubicBezTo>
                  <a:pt x="978613" y="6335212"/>
                  <a:pt x="978170" y="6333942"/>
                  <a:pt x="978170" y="6332532"/>
                </a:cubicBezTo>
                <a:cubicBezTo>
                  <a:pt x="978170" y="6330315"/>
                  <a:pt x="979238" y="6328380"/>
                  <a:pt x="981374" y="6326727"/>
                </a:cubicBezTo>
                <a:cubicBezTo>
                  <a:pt x="983510" y="6325075"/>
                  <a:pt x="987077" y="6324248"/>
                  <a:pt x="992076" y="6324248"/>
                </a:cubicBezTo>
                <a:cubicBezTo>
                  <a:pt x="996308" y="6324248"/>
                  <a:pt x="999583" y="6325176"/>
                  <a:pt x="1001900" y="6327030"/>
                </a:cubicBezTo>
                <a:cubicBezTo>
                  <a:pt x="1004218" y="6328884"/>
                  <a:pt x="1005619" y="6331463"/>
                  <a:pt x="1006103" y="6334769"/>
                </a:cubicBezTo>
                <a:lnTo>
                  <a:pt x="1016744" y="6333318"/>
                </a:lnTo>
                <a:cubicBezTo>
                  <a:pt x="1016059" y="6329166"/>
                  <a:pt x="1014809" y="6325851"/>
                  <a:pt x="1012995" y="6323372"/>
                </a:cubicBezTo>
                <a:cubicBezTo>
                  <a:pt x="1011181" y="6320893"/>
                  <a:pt x="1008370" y="6318928"/>
                  <a:pt x="1004561" y="6317477"/>
                </a:cubicBezTo>
                <a:cubicBezTo>
                  <a:pt x="1000752" y="6316026"/>
                  <a:pt x="996328" y="6315300"/>
                  <a:pt x="991290" y="6315300"/>
                </a:cubicBezTo>
                <a:close/>
                <a:moveTo>
                  <a:pt x="929875" y="6315300"/>
                </a:moveTo>
                <a:cubicBezTo>
                  <a:pt x="921007" y="6315300"/>
                  <a:pt x="913792" y="6318283"/>
                  <a:pt x="908229" y="6324248"/>
                </a:cubicBezTo>
                <a:cubicBezTo>
                  <a:pt x="902667" y="6330214"/>
                  <a:pt x="899886" y="6338598"/>
                  <a:pt x="899886" y="6349400"/>
                </a:cubicBezTo>
                <a:cubicBezTo>
                  <a:pt x="899886" y="6359840"/>
                  <a:pt x="902637" y="6367952"/>
                  <a:pt x="908139" y="6373736"/>
                </a:cubicBezTo>
                <a:cubicBezTo>
                  <a:pt x="913641" y="6379520"/>
                  <a:pt x="921088" y="6382412"/>
                  <a:pt x="930479" y="6382412"/>
                </a:cubicBezTo>
                <a:cubicBezTo>
                  <a:pt x="937936" y="6382412"/>
                  <a:pt x="944063" y="6380598"/>
                  <a:pt x="948860" y="6376971"/>
                </a:cubicBezTo>
                <a:cubicBezTo>
                  <a:pt x="953656" y="6373343"/>
                  <a:pt x="956941" y="6368244"/>
                  <a:pt x="958715" y="6361674"/>
                </a:cubicBezTo>
                <a:lnTo>
                  <a:pt x="947469" y="6360283"/>
                </a:lnTo>
                <a:cubicBezTo>
                  <a:pt x="945816" y="6364879"/>
                  <a:pt x="943579" y="6368224"/>
                  <a:pt x="940758" y="6370320"/>
                </a:cubicBezTo>
                <a:cubicBezTo>
                  <a:pt x="937936" y="6372416"/>
                  <a:pt x="934530" y="6373464"/>
                  <a:pt x="930540" y="6373464"/>
                </a:cubicBezTo>
                <a:cubicBezTo>
                  <a:pt x="925179" y="6373464"/>
                  <a:pt x="920705" y="6371590"/>
                  <a:pt x="917117" y="6367841"/>
                </a:cubicBezTo>
                <a:cubicBezTo>
                  <a:pt x="913530" y="6364093"/>
                  <a:pt x="911535" y="6358691"/>
                  <a:pt x="911132" y="6351637"/>
                </a:cubicBezTo>
                <a:lnTo>
                  <a:pt x="959017" y="6351637"/>
                </a:lnTo>
                <a:cubicBezTo>
                  <a:pt x="959057" y="6350348"/>
                  <a:pt x="959078" y="6349380"/>
                  <a:pt x="959078" y="6348735"/>
                </a:cubicBezTo>
                <a:cubicBezTo>
                  <a:pt x="959078" y="6338134"/>
                  <a:pt x="956357" y="6329912"/>
                  <a:pt x="950915" y="6324067"/>
                </a:cubicBezTo>
                <a:cubicBezTo>
                  <a:pt x="945474" y="6318222"/>
                  <a:pt x="938460" y="6315300"/>
                  <a:pt x="929875" y="6315300"/>
                </a:cubicBezTo>
                <a:close/>
                <a:moveTo>
                  <a:pt x="867069" y="6315300"/>
                </a:moveTo>
                <a:cubicBezTo>
                  <a:pt x="858161" y="6315300"/>
                  <a:pt x="851349" y="6318827"/>
                  <a:pt x="846633" y="6325881"/>
                </a:cubicBezTo>
                <a:lnTo>
                  <a:pt x="846633" y="6316751"/>
                </a:lnTo>
                <a:lnTo>
                  <a:pt x="836839" y="6316751"/>
                </a:lnTo>
                <a:lnTo>
                  <a:pt x="836839" y="6380961"/>
                </a:lnTo>
                <a:lnTo>
                  <a:pt x="847722" y="6380961"/>
                </a:lnTo>
                <a:lnTo>
                  <a:pt x="847722" y="6345894"/>
                </a:lnTo>
                <a:cubicBezTo>
                  <a:pt x="847722" y="6337671"/>
                  <a:pt x="849405" y="6332088"/>
                  <a:pt x="852770" y="6329146"/>
                </a:cubicBezTo>
                <a:cubicBezTo>
                  <a:pt x="856136" y="6326203"/>
                  <a:pt x="860136" y="6324732"/>
                  <a:pt x="864772" y="6324732"/>
                </a:cubicBezTo>
                <a:cubicBezTo>
                  <a:pt x="867674" y="6324732"/>
                  <a:pt x="870203" y="6325387"/>
                  <a:pt x="872360" y="6326697"/>
                </a:cubicBezTo>
                <a:cubicBezTo>
                  <a:pt x="874516" y="6328007"/>
                  <a:pt x="876018" y="6329761"/>
                  <a:pt x="876864" y="6331957"/>
                </a:cubicBezTo>
                <a:cubicBezTo>
                  <a:pt x="877710" y="6334154"/>
                  <a:pt x="878134" y="6337469"/>
                  <a:pt x="878134" y="6341903"/>
                </a:cubicBezTo>
                <a:lnTo>
                  <a:pt x="878134" y="6380961"/>
                </a:lnTo>
                <a:lnTo>
                  <a:pt x="889017" y="6380961"/>
                </a:lnTo>
                <a:lnTo>
                  <a:pt x="889017" y="6341480"/>
                </a:lnTo>
                <a:cubicBezTo>
                  <a:pt x="889017" y="6336441"/>
                  <a:pt x="888815" y="6332915"/>
                  <a:pt x="888412" y="6330899"/>
                </a:cubicBezTo>
                <a:cubicBezTo>
                  <a:pt x="887767" y="6327796"/>
                  <a:pt x="886639" y="6325115"/>
                  <a:pt x="885026" y="6322858"/>
                </a:cubicBezTo>
                <a:cubicBezTo>
                  <a:pt x="883414" y="6320601"/>
                  <a:pt x="880985" y="6318777"/>
                  <a:pt x="877741" y="6317386"/>
                </a:cubicBezTo>
                <a:cubicBezTo>
                  <a:pt x="874496" y="6315995"/>
                  <a:pt x="870939" y="6315300"/>
                  <a:pt x="867069" y="6315300"/>
                </a:cubicBezTo>
                <a:close/>
                <a:moveTo>
                  <a:pt x="762690" y="6315300"/>
                </a:moveTo>
                <a:cubicBezTo>
                  <a:pt x="759344" y="6315300"/>
                  <a:pt x="756210" y="6315733"/>
                  <a:pt x="753288" y="6316600"/>
                </a:cubicBezTo>
                <a:cubicBezTo>
                  <a:pt x="750366" y="6317467"/>
                  <a:pt x="748058" y="6318525"/>
                  <a:pt x="746365" y="6319774"/>
                </a:cubicBezTo>
                <a:cubicBezTo>
                  <a:pt x="744108" y="6321387"/>
                  <a:pt x="742324" y="6323412"/>
                  <a:pt x="741014" y="6325851"/>
                </a:cubicBezTo>
                <a:cubicBezTo>
                  <a:pt x="739704" y="6328289"/>
                  <a:pt x="739049" y="6330939"/>
                  <a:pt x="739049" y="6333801"/>
                </a:cubicBezTo>
                <a:cubicBezTo>
                  <a:pt x="739049" y="6336945"/>
                  <a:pt x="739845" y="6339817"/>
                  <a:pt x="741437" y="6342417"/>
                </a:cubicBezTo>
                <a:cubicBezTo>
                  <a:pt x="743030" y="6345017"/>
                  <a:pt x="745367" y="6347052"/>
                  <a:pt x="748451" y="6348524"/>
                </a:cubicBezTo>
                <a:cubicBezTo>
                  <a:pt x="751534" y="6349995"/>
                  <a:pt x="757067" y="6351738"/>
                  <a:pt x="765048" y="6353754"/>
                </a:cubicBezTo>
                <a:cubicBezTo>
                  <a:pt x="770973" y="6355245"/>
                  <a:pt x="774681" y="6356474"/>
                  <a:pt x="776172" y="6357442"/>
                </a:cubicBezTo>
                <a:cubicBezTo>
                  <a:pt x="778309" y="6358853"/>
                  <a:pt x="779377" y="6360787"/>
                  <a:pt x="779377" y="6363246"/>
                </a:cubicBezTo>
                <a:cubicBezTo>
                  <a:pt x="779377" y="6365987"/>
                  <a:pt x="778168" y="6368375"/>
                  <a:pt x="775749" y="6370411"/>
                </a:cubicBezTo>
                <a:cubicBezTo>
                  <a:pt x="773331" y="6372446"/>
                  <a:pt x="769623" y="6373464"/>
                  <a:pt x="764624" y="6373464"/>
                </a:cubicBezTo>
                <a:cubicBezTo>
                  <a:pt x="759666" y="6373464"/>
                  <a:pt x="755807" y="6372315"/>
                  <a:pt x="753046" y="6370018"/>
                </a:cubicBezTo>
                <a:cubicBezTo>
                  <a:pt x="750285" y="6367720"/>
                  <a:pt x="748602" y="6364415"/>
                  <a:pt x="747997" y="6360102"/>
                </a:cubicBezTo>
                <a:lnTo>
                  <a:pt x="737235" y="6361795"/>
                </a:lnTo>
                <a:cubicBezTo>
                  <a:pt x="738445" y="6368607"/>
                  <a:pt x="741236" y="6373746"/>
                  <a:pt x="745609" y="6377213"/>
                </a:cubicBezTo>
                <a:cubicBezTo>
                  <a:pt x="749983" y="6380679"/>
                  <a:pt x="756341" y="6382412"/>
                  <a:pt x="764685" y="6382412"/>
                </a:cubicBezTo>
                <a:cubicBezTo>
                  <a:pt x="769723" y="6382412"/>
                  <a:pt x="774238" y="6381536"/>
                  <a:pt x="778228" y="6379782"/>
                </a:cubicBezTo>
                <a:cubicBezTo>
                  <a:pt x="782219" y="6378029"/>
                  <a:pt x="785272" y="6375550"/>
                  <a:pt x="787388" y="6372345"/>
                </a:cubicBezTo>
                <a:cubicBezTo>
                  <a:pt x="789504" y="6369141"/>
                  <a:pt x="790562" y="6365725"/>
                  <a:pt x="790562" y="6362097"/>
                </a:cubicBezTo>
                <a:cubicBezTo>
                  <a:pt x="790562" y="6358389"/>
                  <a:pt x="789696" y="6355285"/>
                  <a:pt x="787962" y="6352786"/>
                </a:cubicBezTo>
                <a:cubicBezTo>
                  <a:pt x="786229" y="6350287"/>
                  <a:pt x="783841" y="6348383"/>
                  <a:pt x="780798" y="6347073"/>
                </a:cubicBezTo>
                <a:cubicBezTo>
                  <a:pt x="777754" y="6345763"/>
                  <a:pt x="772383" y="6344080"/>
                  <a:pt x="764685" y="6342024"/>
                </a:cubicBezTo>
                <a:cubicBezTo>
                  <a:pt x="759364" y="6340573"/>
                  <a:pt x="756160" y="6339646"/>
                  <a:pt x="755071" y="6339243"/>
                </a:cubicBezTo>
                <a:cubicBezTo>
                  <a:pt x="753177" y="6338477"/>
                  <a:pt x="751786" y="6337510"/>
                  <a:pt x="750900" y="6336341"/>
                </a:cubicBezTo>
                <a:cubicBezTo>
                  <a:pt x="750013" y="6335212"/>
                  <a:pt x="749569" y="6333942"/>
                  <a:pt x="749569" y="6332532"/>
                </a:cubicBezTo>
                <a:cubicBezTo>
                  <a:pt x="749569" y="6330315"/>
                  <a:pt x="750638" y="6328380"/>
                  <a:pt x="752774" y="6326727"/>
                </a:cubicBezTo>
                <a:cubicBezTo>
                  <a:pt x="754910" y="6325075"/>
                  <a:pt x="758477" y="6324248"/>
                  <a:pt x="763476" y="6324248"/>
                </a:cubicBezTo>
                <a:cubicBezTo>
                  <a:pt x="767708" y="6324248"/>
                  <a:pt x="770983" y="6325176"/>
                  <a:pt x="773301" y="6327030"/>
                </a:cubicBezTo>
                <a:cubicBezTo>
                  <a:pt x="775618" y="6328884"/>
                  <a:pt x="777019" y="6331463"/>
                  <a:pt x="777503" y="6334769"/>
                </a:cubicBezTo>
                <a:lnTo>
                  <a:pt x="788144" y="6333318"/>
                </a:lnTo>
                <a:cubicBezTo>
                  <a:pt x="787459" y="6329166"/>
                  <a:pt x="786209" y="6325851"/>
                  <a:pt x="784395" y="6323372"/>
                </a:cubicBezTo>
                <a:cubicBezTo>
                  <a:pt x="782581" y="6320893"/>
                  <a:pt x="779770" y="6318928"/>
                  <a:pt x="775961" y="6317477"/>
                </a:cubicBezTo>
                <a:cubicBezTo>
                  <a:pt x="772152" y="6316026"/>
                  <a:pt x="767728" y="6315300"/>
                  <a:pt x="762690" y="6315300"/>
                </a:cubicBezTo>
                <a:close/>
                <a:moveTo>
                  <a:pt x="525681" y="6301636"/>
                </a:moveTo>
                <a:cubicBezTo>
                  <a:pt x="527051" y="6306432"/>
                  <a:pt x="529147" y="6312559"/>
                  <a:pt x="531969" y="6320016"/>
                </a:cubicBezTo>
                <a:lnTo>
                  <a:pt x="541219" y="6344563"/>
                </a:lnTo>
                <a:lnTo>
                  <a:pt x="511170" y="6344563"/>
                </a:lnTo>
                <a:lnTo>
                  <a:pt x="520904" y="6318565"/>
                </a:lnTo>
                <a:cubicBezTo>
                  <a:pt x="522960" y="6312962"/>
                  <a:pt x="524552" y="6307319"/>
                  <a:pt x="525681" y="6301636"/>
                </a:cubicBezTo>
                <a:close/>
                <a:moveTo>
                  <a:pt x="1847396" y="6292325"/>
                </a:moveTo>
                <a:lnTo>
                  <a:pt x="1847396" y="6380961"/>
                </a:lnTo>
                <a:lnTo>
                  <a:pt x="1902778" y="6380961"/>
                </a:lnTo>
                <a:lnTo>
                  <a:pt x="1902778" y="6370501"/>
                </a:lnTo>
                <a:lnTo>
                  <a:pt x="1859125" y="6370501"/>
                </a:lnTo>
                <a:lnTo>
                  <a:pt x="1859125" y="6292325"/>
                </a:lnTo>
                <a:close/>
                <a:moveTo>
                  <a:pt x="1676067" y="6292325"/>
                </a:moveTo>
                <a:lnTo>
                  <a:pt x="1676067" y="6380961"/>
                </a:lnTo>
                <a:lnTo>
                  <a:pt x="1687373" y="6380961"/>
                </a:lnTo>
                <a:lnTo>
                  <a:pt x="1687373" y="6305505"/>
                </a:lnTo>
                <a:lnTo>
                  <a:pt x="1713008" y="6380961"/>
                </a:lnTo>
                <a:lnTo>
                  <a:pt x="1723589" y="6380961"/>
                </a:lnTo>
                <a:lnTo>
                  <a:pt x="1749346" y="6306775"/>
                </a:lnTo>
                <a:lnTo>
                  <a:pt x="1749346" y="6380961"/>
                </a:lnTo>
                <a:lnTo>
                  <a:pt x="1760652" y="6380961"/>
                </a:lnTo>
                <a:lnTo>
                  <a:pt x="1760652" y="6292325"/>
                </a:lnTo>
                <a:lnTo>
                  <a:pt x="1744872" y="6292325"/>
                </a:lnTo>
                <a:lnTo>
                  <a:pt x="1723650" y="6353995"/>
                </a:lnTo>
                <a:cubicBezTo>
                  <a:pt x="1721513" y="6360243"/>
                  <a:pt x="1719941" y="6364979"/>
                  <a:pt x="1718933" y="6368204"/>
                </a:cubicBezTo>
                <a:cubicBezTo>
                  <a:pt x="1718047" y="6365302"/>
                  <a:pt x="1716636" y="6360928"/>
                  <a:pt x="1714701" y="6355084"/>
                </a:cubicBezTo>
                <a:lnTo>
                  <a:pt x="1693721" y="6292325"/>
                </a:lnTo>
                <a:close/>
                <a:moveTo>
                  <a:pt x="1560739" y="6292325"/>
                </a:moveTo>
                <a:lnTo>
                  <a:pt x="1560739" y="6380961"/>
                </a:lnTo>
                <a:lnTo>
                  <a:pt x="1571622" y="6380961"/>
                </a:lnTo>
                <a:lnTo>
                  <a:pt x="1571622" y="6345833"/>
                </a:lnTo>
                <a:cubicBezTo>
                  <a:pt x="1571622" y="6340795"/>
                  <a:pt x="1572226" y="6336845"/>
                  <a:pt x="1573435" y="6333983"/>
                </a:cubicBezTo>
                <a:cubicBezTo>
                  <a:pt x="1574645" y="6331121"/>
                  <a:pt x="1576670" y="6328854"/>
                  <a:pt x="1579512" y="6327181"/>
                </a:cubicBezTo>
                <a:cubicBezTo>
                  <a:pt x="1582354" y="6325508"/>
                  <a:pt x="1585387" y="6324672"/>
                  <a:pt x="1588611" y="6324672"/>
                </a:cubicBezTo>
                <a:cubicBezTo>
                  <a:pt x="1592924" y="6324672"/>
                  <a:pt x="1596260" y="6325911"/>
                  <a:pt x="1598618" y="6328390"/>
                </a:cubicBezTo>
                <a:cubicBezTo>
                  <a:pt x="1600976" y="6330869"/>
                  <a:pt x="1602155" y="6334829"/>
                  <a:pt x="1602155" y="6340271"/>
                </a:cubicBezTo>
                <a:lnTo>
                  <a:pt x="1602155" y="6380961"/>
                </a:lnTo>
                <a:lnTo>
                  <a:pt x="1613038" y="6380961"/>
                </a:lnTo>
                <a:lnTo>
                  <a:pt x="1613038" y="6340271"/>
                </a:lnTo>
                <a:cubicBezTo>
                  <a:pt x="1613038" y="6333983"/>
                  <a:pt x="1612282" y="6329186"/>
                  <a:pt x="1610771" y="6325881"/>
                </a:cubicBezTo>
                <a:cubicBezTo>
                  <a:pt x="1609259" y="6322576"/>
                  <a:pt x="1606750" y="6319986"/>
                  <a:pt x="1603243" y="6318112"/>
                </a:cubicBezTo>
                <a:cubicBezTo>
                  <a:pt x="1599736" y="6316237"/>
                  <a:pt x="1595605" y="6315300"/>
                  <a:pt x="1590848" y="6315300"/>
                </a:cubicBezTo>
                <a:cubicBezTo>
                  <a:pt x="1583109" y="6315300"/>
                  <a:pt x="1576700" y="6318243"/>
                  <a:pt x="1571622" y="6324128"/>
                </a:cubicBezTo>
                <a:lnTo>
                  <a:pt x="1571622" y="6292325"/>
                </a:lnTo>
                <a:close/>
                <a:moveTo>
                  <a:pt x="1285542" y="6292325"/>
                </a:moveTo>
                <a:lnTo>
                  <a:pt x="1285542" y="6380961"/>
                </a:lnTo>
                <a:lnTo>
                  <a:pt x="1296848" y="6380961"/>
                </a:lnTo>
                <a:lnTo>
                  <a:pt x="1296848" y="6305505"/>
                </a:lnTo>
                <a:lnTo>
                  <a:pt x="1322484" y="6380961"/>
                </a:lnTo>
                <a:lnTo>
                  <a:pt x="1333064" y="6380961"/>
                </a:lnTo>
                <a:lnTo>
                  <a:pt x="1358821" y="6306775"/>
                </a:lnTo>
                <a:lnTo>
                  <a:pt x="1358821" y="6380961"/>
                </a:lnTo>
                <a:lnTo>
                  <a:pt x="1370127" y="6380961"/>
                </a:lnTo>
                <a:lnTo>
                  <a:pt x="1370127" y="6292325"/>
                </a:lnTo>
                <a:lnTo>
                  <a:pt x="1354347" y="6292325"/>
                </a:lnTo>
                <a:lnTo>
                  <a:pt x="1333125" y="6353995"/>
                </a:lnTo>
                <a:cubicBezTo>
                  <a:pt x="1330988" y="6360243"/>
                  <a:pt x="1329416" y="6364979"/>
                  <a:pt x="1328409" y="6368204"/>
                </a:cubicBezTo>
                <a:cubicBezTo>
                  <a:pt x="1327522" y="6365302"/>
                  <a:pt x="1326111" y="6360928"/>
                  <a:pt x="1324176" y="6355084"/>
                </a:cubicBezTo>
                <a:lnTo>
                  <a:pt x="1303196" y="6292325"/>
                </a:lnTo>
                <a:close/>
                <a:moveTo>
                  <a:pt x="808324" y="6292325"/>
                </a:moveTo>
                <a:lnTo>
                  <a:pt x="808324" y="6304840"/>
                </a:lnTo>
                <a:lnTo>
                  <a:pt x="819207" y="6304840"/>
                </a:lnTo>
                <a:lnTo>
                  <a:pt x="819207" y="6292325"/>
                </a:lnTo>
                <a:close/>
                <a:moveTo>
                  <a:pt x="608178" y="6292325"/>
                </a:moveTo>
                <a:lnTo>
                  <a:pt x="608178" y="6380961"/>
                </a:lnTo>
                <a:lnTo>
                  <a:pt x="618275" y="6380961"/>
                </a:lnTo>
                <a:lnTo>
                  <a:pt x="618275" y="6372920"/>
                </a:lnTo>
                <a:cubicBezTo>
                  <a:pt x="622588" y="6379248"/>
                  <a:pt x="628533" y="6382412"/>
                  <a:pt x="636111" y="6382412"/>
                </a:cubicBezTo>
                <a:cubicBezTo>
                  <a:pt x="643729" y="6382412"/>
                  <a:pt x="650259" y="6379409"/>
                  <a:pt x="655701" y="6373404"/>
                </a:cubicBezTo>
                <a:cubicBezTo>
                  <a:pt x="661142" y="6367398"/>
                  <a:pt x="663863" y="6358893"/>
                  <a:pt x="663863" y="6347889"/>
                </a:cubicBezTo>
                <a:cubicBezTo>
                  <a:pt x="663863" y="6343253"/>
                  <a:pt x="663218" y="6338900"/>
                  <a:pt x="661928" y="6334829"/>
                </a:cubicBezTo>
                <a:cubicBezTo>
                  <a:pt x="660638" y="6330758"/>
                  <a:pt x="658855" y="6327282"/>
                  <a:pt x="656577" y="6324400"/>
                </a:cubicBezTo>
                <a:cubicBezTo>
                  <a:pt x="654300" y="6321518"/>
                  <a:pt x="651398" y="6319281"/>
                  <a:pt x="647871" y="6317688"/>
                </a:cubicBezTo>
                <a:cubicBezTo>
                  <a:pt x="644344" y="6316096"/>
                  <a:pt x="640606" y="6315300"/>
                  <a:pt x="636655" y="6315300"/>
                </a:cubicBezTo>
                <a:cubicBezTo>
                  <a:pt x="629521" y="6315300"/>
                  <a:pt x="623656" y="6318182"/>
                  <a:pt x="619061" y="6323946"/>
                </a:cubicBezTo>
                <a:lnTo>
                  <a:pt x="619061" y="6292325"/>
                </a:lnTo>
                <a:close/>
                <a:moveTo>
                  <a:pt x="519635" y="6292325"/>
                </a:moveTo>
                <a:lnTo>
                  <a:pt x="485595" y="6380961"/>
                </a:lnTo>
                <a:lnTo>
                  <a:pt x="498050" y="6380961"/>
                </a:lnTo>
                <a:lnTo>
                  <a:pt x="507784" y="6354116"/>
                </a:lnTo>
                <a:lnTo>
                  <a:pt x="544847" y="6354116"/>
                </a:lnTo>
                <a:lnTo>
                  <a:pt x="555186" y="6380961"/>
                </a:lnTo>
                <a:lnTo>
                  <a:pt x="568548" y="6380961"/>
                </a:lnTo>
                <a:lnTo>
                  <a:pt x="532271" y="6292325"/>
                </a:lnTo>
                <a:close/>
                <a:moveTo>
                  <a:pt x="1228689" y="6290813"/>
                </a:moveTo>
                <a:cubicBezTo>
                  <a:pt x="1223933" y="6290813"/>
                  <a:pt x="1220235" y="6291690"/>
                  <a:pt x="1217594" y="6293443"/>
                </a:cubicBezTo>
                <a:cubicBezTo>
                  <a:pt x="1214954" y="6295197"/>
                  <a:pt x="1213110" y="6297484"/>
                  <a:pt x="1212062" y="6300306"/>
                </a:cubicBezTo>
                <a:cubicBezTo>
                  <a:pt x="1211296" y="6302402"/>
                  <a:pt x="1210914" y="6305606"/>
                  <a:pt x="1210914" y="6309919"/>
                </a:cubicBezTo>
                <a:lnTo>
                  <a:pt x="1210914" y="6316751"/>
                </a:lnTo>
                <a:lnTo>
                  <a:pt x="1201300" y="6316751"/>
                </a:lnTo>
                <a:lnTo>
                  <a:pt x="1201300" y="6325216"/>
                </a:lnTo>
                <a:lnTo>
                  <a:pt x="1210914" y="6325216"/>
                </a:lnTo>
                <a:lnTo>
                  <a:pt x="1210914" y="6380961"/>
                </a:lnTo>
                <a:lnTo>
                  <a:pt x="1221736" y="6380961"/>
                </a:lnTo>
                <a:lnTo>
                  <a:pt x="1221736" y="6325216"/>
                </a:lnTo>
                <a:lnTo>
                  <a:pt x="1234252" y="6325216"/>
                </a:lnTo>
                <a:lnTo>
                  <a:pt x="1234252" y="6316751"/>
                </a:lnTo>
                <a:lnTo>
                  <a:pt x="1221736" y="6316751"/>
                </a:lnTo>
                <a:lnTo>
                  <a:pt x="1221736" y="6310826"/>
                </a:lnTo>
                <a:cubicBezTo>
                  <a:pt x="1221736" y="6306956"/>
                  <a:pt x="1222421" y="6304316"/>
                  <a:pt x="1223792" y="6302906"/>
                </a:cubicBezTo>
                <a:cubicBezTo>
                  <a:pt x="1225162" y="6301495"/>
                  <a:pt x="1227500" y="6300789"/>
                  <a:pt x="1230805" y="6300789"/>
                </a:cubicBezTo>
                <a:cubicBezTo>
                  <a:pt x="1232820" y="6300789"/>
                  <a:pt x="1234957" y="6300991"/>
                  <a:pt x="1237214" y="6301394"/>
                </a:cubicBezTo>
                <a:lnTo>
                  <a:pt x="1238847" y="6291902"/>
                </a:lnTo>
                <a:cubicBezTo>
                  <a:pt x="1235138" y="6291176"/>
                  <a:pt x="1231753" y="6290813"/>
                  <a:pt x="1228689" y="6290813"/>
                </a:cubicBezTo>
                <a:close/>
                <a:moveTo>
                  <a:pt x="7175501" y="1"/>
                </a:moveTo>
                <a:lnTo>
                  <a:pt x="12191999" y="1"/>
                </a:lnTo>
                <a:lnTo>
                  <a:pt x="12191999" y="6858001"/>
                </a:lnTo>
                <a:lnTo>
                  <a:pt x="1" y="6858001"/>
                </a:lnTo>
                <a:lnTo>
                  <a:pt x="1" y="5752619"/>
                </a:lnTo>
                <a:lnTo>
                  <a:pt x="7175501" y="5752619"/>
                </a:lnTo>
                <a:close/>
                <a:moveTo>
                  <a:pt x="0" y="0"/>
                </a:moveTo>
                <a:lnTo>
                  <a:pt x="7175501" y="0"/>
                </a:lnTo>
                <a:lnTo>
                  <a:pt x="7175501" y="1"/>
                </a:lnTo>
                <a:lnTo>
                  <a:pt x="1" y="1"/>
                </a:lnTo>
                <a:lnTo>
                  <a:pt x="1" y="5752619"/>
                </a:lnTo>
                <a:lnTo>
                  <a:pt x="0" y="5752619"/>
                </a:lnTo>
                <a:close/>
              </a:path>
            </a:pathLst>
          </a:custGeom>
          <a:solidFill>
            <a:srgbClr val="F0F0F0"/>
          </a:solidFill>
        </p:spPr>
        <p:txBody>
          <a:bodyPr wrap="square">
            <a:no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1200">
                <a:solidFill>
                  <a:srgbClr val="FF0000"/>
                </a:solidFill>
              </a:defRPr>
            </a:lvl1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t>Click on picture icon to insert picture. Reset layout.</a:t>
            </a:r>
          </a:p>
        </p:txBody>
      </p:sp>
      <p:sp>
        <p:nvSpPr>
          <p:cNvPr id="12"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609725"/>
            <a:ext cx="6485763" cy="1600200"/>
          </a:xfrm>
        </p:spPr>
        <p:txBody>
          <a:bodyPr vert="horz" anchor="b" anchorCtr="0"/>
          <a:lstStyle>
            <a:lvl1pPr>
              <a:lnSpc>
                <a:spcPct val="90000"/>
              </a:lnSpc>
              <a:defRPr lang="en-US" sz="4800" b="1" i="0" kern="1200" cap="none" baseline="0" dirty="0">
                <a:solidFill>
                  <a:schemeClr val="tx2"/>
                </a:solidFill>
                <a:latin typeface="Arial" panose="020B0604020202020204" pitchFamily="34" charset="0"/>
                <a:ea typeface="+mj-ea"/>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405820"/>
            <a:ext cx="6447769"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9" name="Text Placeholder 3">
            <a:extLst>
              <a:ext uri="{FF2B5EF4-FFF2-40B4-BE49-F238E27FC236}">
                <a16:creationId xmlns:a16="http://schemas.microsoft.com/office/drawing/2014/main" id="{408D7265-22AD-444D-9DAE-694197297FA6}"/>
              </a:ext>
            </a:extLst>
          </p:cNvPr>
          <p:cNvSpPr>
            <a:spLocks noGrp="1"/>
          </p:cNvSpPr>
          <p:nvPr>
            <p:ph type="body" sz="half" idx="2" hasCustomPrompt="1"/>
          </p:nvPr>
        </p:nvSpPr>
        <p:spPr>
          <a:xfrm>
            <a:off x="485775" y="4429126"/>
            <a:ext cx="64484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2"/>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pic>
        <p:nvPicPr>
          <p:cNvPr id="11" name="Graphic 12">
            <a:extLst>
              <a:ext uri="{FF2B5EF4-FFF2-40B4-BE49-F238E27FC236}">
                <a16:creationId xmlns:a16="http://schemas.microsoft.com/office/drawing/2014/main" id="{CB3E854A-C626-6940-8EB7-1215314D076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86803" y="341762"/>
            <a:ext cx="1623974" cy="338328"/>
          </a:xfrm>
          <a:prstGeom prst="rect">
            <a:avLst/>
          </a:prstGeom>
        </p:spPr>
      </p:pic>
      <p:pic>
        <p:nvPicPr>
          <p:cNvPr id="29" name="Picture 28"/>
          <p:cNvPicPr>
            <a:picLocks noChangeAspect="1"/>
          </p:cNvPicPr>
          <p:nvPr userDrawn="1"/>
        </p:nvPicPr>
        <p:blipFill>
          <a:blip r:embed="rId7"/>
          <a:stretch>
            <a:fillRect/>
          </a:stretch>
        </p:blipFill>
        <p:spPr>
          <a:xfrm>
            <a:off x="486803" y="1174876"/>
            <a:ext cx="3548512" cy="438912"/>
          </a:xfrm>
          <a:prstGeom prst="rect">
            <a:avLst/>
          </a:prstGeom>
        </p:spPr>
      </p:pic>
    </p:spTree>
    <p:extLst>
      <p:ext uri="{BB962C8B-B14F-4D97-AF65-F5344CB8AC3E}">
        <p14:creationId xmlns:p14="http://schemas.microsoft.com/office/powerpoint/2010/main" val="326361183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p:cSld name="Title slide A">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5793"/>
            <a:ext cx="9365488" cy="1602882"/>
          </a:xfrm>
        </p:spPr>
        <p:txBody>
          <a:bodyPr vert="horz"/>
          <a:lstStyle>
            <a:lvl1pPr>
              <a:lnSpc>
                <a:spcPct val="90000"/>
              </a:lnSpc>
              <a:defRPr sz="6000" b="1" i="0" cap="none" baseline="0">
                <a:latin typeface="Arial" panose="020B0604020202020204" pitchFamily="34" charset="0"/>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60887"/>
            <a:ext cx="9310624"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pic>
        <p:nvPicPr>
          <p:cNvPr id="12" name="Graphic 11">
            <a:extLst>
              <a:ext uri="{FF2B5EF4-FFF2-40B4-BE49-F238E27FC236}">
                <a16:creationId xmlns:a16="http://schemas.microsoft.com/office/drawing/2014/main" id="{4BDA5969-2C42-8648-93E3-BF7B87CBB66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EB52CC60-D837-D647-A567-2B63058DBF94}"/>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sp>
        <p:nvSpPr>
          <p:cNvPr id="14" name="Rectangle 13">
            <a:extLst>
              <a:ext uri="{FF2B5EF4-FFF2-40B4-BE49-F238E27FC236}">
                <a16:creationId xmlns:a16="http://schemas.microsoft.com/office/drawing/2014/main" id="{8A000828-AFAC-3B45-BED9-82169A449934}"/>
              </a:ext>
            </a:extLst>
          </p:cNvPr>
          <p:cNvSpPr/>
          <p:nvPr/>
        </p:nvSpPr>
        <p:spPr>
          <a:xfrm>
            <a:off x="485775" y="6257135"/>
            <a:ext cx="1785745" cy="153888"/>
          </a:xfrm>
          <a:prstGeom prst="rect">
            <a:avLst/>
          </a:prstGeom>
        </p:spPr>
        <p:txBody>
          <a:bodyPr wrap="none" lIns="0" tIns="0" rIns="0" bIns="0">
            <a:spAutoFit/>
          </a:bodyPr>
          <a:lstStyle/>
          <a:p>
            <a:r>
              <a:rPr lang="en-US" sz="1000" dirty="0">
                <a:effectLst/>
                <a:latin typeface="Arial" panose="020B0604020202020204" pitchFamily="34" charset="0"/>
              </a:rPr>
              <a:t>A business of Marsh McLennan</a:t>
            </a:r>
            <a:endParaRPr lang="en-US" sz="1000" dirty="0"/>
          </a:p>
        </p:txBody>
      </p:sp>
      <p:pic>
        <p:nvPicPr>
          <p:cNvPr id="9" name="Picture 8"/>
          <p:cNvPicPr>
            <a:picLocks noChangeAspect="1"/>
          </p:cNvPicPr>
          <p:nvPr userDrawn="1"/>
        </p:nvPicPr>
        <p:blipFill>
          <a:blip r:embed="rId7"/>
          <a:stretch>
            <a:fillRect/>
          </a:stretch>
        </p:blipFill>
        <p:spPr>
          <a:xfrm>
            <a:off x="486803" y="1174876"/>
            <a:ext cx="3548512" cy="438912"/>
          </a:xfrm>
          <a:prstGeom prst="rect">
            <a:avLst/>
          </a:prstGeom>
        </p:spPr>
      </p:pic>
    </p:spTree>
    <p:extLst>
      <p:ext uri="{BB962C8B-B14F-4D97-AF65-F5344CB8AC3E}">
        <p14:creationId xmlns:p14="http://schemas.microsoft.com/office/powerpoint/2010/main" val="1308130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p:cSld name="Title slide B: blue">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sz="6000" b="1" i="0" cap="none" baseline="0">
                <a:solidFill>
                  <a:schemeClr val="bg1"/>
                </a:solidFill>
                <a:latin typeface="Arial" panose="020B0604020202020204" pitchFamily="34" charset="0"/>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a:p>
            <a:endParaRPr lang="en-US" dirty="0"/>
          </a:p>
        </p:txBody>
      </p:sp>
      <p:pic>
        <p:nvPicPr>
          <p:cNvPr id="10" name="Graphic 9">
            <a:extLst>
              <a:ext uri="{FF2B5EF4-FFF2-40B4-BE49-F238E27FC236}">
                <a16:creationId xmlns:a16="http://schemas.microsoft.com/office/drawing/2014/main" id="{DEE86180-B41F-7848-B765-50E102B103F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21CF6247-A2E8-674A-8D8D-44D4EAEBC5F3}"/>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sp>
        <p:nvSpPr>
          <p:cNvPr id="12" name="Text Placeholder 3">
            <a:extLst>
              <a:ext uri="{FF2B5EF4-FFF2-40B4-BE49-F238E27FC236}">
                <a16:creationId xmlns:a16="http://schemas.microsoft.com/office/drawing/2014/main" id="{57A2FE8B-9C7D-A345-BB2B-099F6C5E5640}"/>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D5790EA8-AA62-F64A-8A53-EECC7CCE7712}"/>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pic>
        <p:nvPicPr>
          <p:cNvPr id="9" name="Picture 8"/>
          <p:cNvPicPr>
            <a:picLocks noChangeAspect="1"/>
          </p:cNvPicPr>
          <p:nvPr userDrawn="1"/>
        </p:nvPicPr>
        <p:blipFill>
          <a:blip r:embed="rId7"/>
          <a:stretch>
            <a:fillRect/>
          </a:stretch>
        </p:blipFill>
        <p:spPr>
          <a:xfrm>
            <a:off x="486803" y="1174876"/>
            <a:ext cx="3548512" cy="438912"/>
          </a:xfrm>
          <a:prstGeom prst="rect">
            <a:avLst/>
          </a:prstGeom>
        </p:spPr>
      </p:pic>
    </p:spTree>
    <p:extLst>
      <p:ext uri="{BB962C8B-B14F-4D97-AF65-F5344CB8AC3E}">
        <p14:creationId xmlns:p14="http://schemas.microsoft.com/office/powerpoint/2010/main" val="414607587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Title slide B: gradi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lang="en-US" sz="6000" b="1" i="0" kern="1200" cap="none" baseline="0" dirty="0">
                <a:solidFill>
                  <a:schemeClr val="bg1"/>
                </a:solidFill>
                <a:latin typeface="+mn-lt"/>
                <a:ea typeface="+mj-ea"/>
                <a:cs typeface="Arial Narrow"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pic>
        <p:nvPicPr>
          <p:cNvPr id="11" name="Graphic 10">
            <a:extLst>
              <a:ext uri="{FF2B5EF4-FFF2-40B4-BE49-F238E27FC236}">
                <a16:creationId xmlns:a16="http://schemas.microsoft.com/office/drawing/2014/main" id="{FDA1005D-C174-6644-AA58-EB820552A19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36A2096B-1D09-3D42-BA78-B882F2057281}"/>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sp>
        <p:nvSpPr>
          <p:cNvPr id="12" name="Text Placeholder 3">
            <a:extLst>
              <a:ext uri="{FF2B5EF4-FFF2-40B4-BE49-F238E27FC236}">
                <a16:creationId xmlns:a16="http://schemas.microsoft.com/office/drawing/2014/main" id="{376AD702-0276-0141-A183-937FB3505BA2}"/>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F0B5321B-5321-A64E-90E9-3AC4B69C0ADD}"/>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pic>
        <p:nvPicPr>
          <p:cNvPr id="58" name="Picture 57"/>
          <p:cNvPicPr>
            <a:picLocks noChangeAspect="1"/>
          </p:cNvPicPr>
          <p:nvPr userDrawn="1"/>
        </p:nvPicPr>
        <p:blipFill>
          <a:blip r:embed="rId8"/>
          <a:stretch>
            <a:fillRect/>
          </a:stretch>
        </p:blipFill>
        <p:spPr>
          <a:xfrm>
            <a:off x="486803" y="1174876"/>
            <a:ext cx="3548512" cy="438912"/>
          </a:xfrm>
          <a:prstGeom prst="rect">
            <a:avLst/>
          </a:prstGeom>
        </p:spPr>
      </p:pic>
    </p:spTree>
    <p:extLst>
      <p:ext uri="{BB962C8B-B14F-4D97-AF65-F5344CB8AC3E}">
        <p14:creationId xmlns:p14="http://schemas.microsoft.com/office/powerpoint/2010/main" val="193531988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Title slide C">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08843" y="2347270"/>
            <a:ext cx="9433657" cy="1519880"/>
          </a:xfrm>
        </p:spPr>
        <p:txBody>
          <a:bodyPr vert="horz"/>
          <a:lstStyle>
            <a:lvl1pPr>
              <a:lnSpc>
                <a:spcPct val="80000"/>
              </a:lnSpc>
              <a:defRPr sz="12000" b="1" i="0" cap="none" baseline="0">
                <a:solidFill>
                  <a:schemeClr val="tx2"/>
                </a:solidFill>
                <a:latin typeface="Arial" panose="020B0604020202020204" pitchFamily="34" charset="0"/>
                <a:cs typeface="Arial" panose="020B0604020202020204" pitchFamily="34" charset="0"/>
              </a:defRPr>
            </a:lvl1pPr>
          </a:lstStyle>
          <a:p>
            <a:r>
              <a:rPr lang="en-US" dirty="0"/>
              <a:t>Heading 1</a:t>
            </a:r>
          </a:p>
        </p:txBody>
      </p:sp>
      <p:sp>
        <p:nvSpPr>
          <p:cNvPr id="3" name="Subtitle 2"/>
          <p:cNvSpPr>
            <a:spLocks noGrp="1"/>
          </p:cNvSpPr>
          <p:nvPr>
            <p:ph type="subTitle" idx="1" hasCustomPrompt="1"/>
          </p:nvPr>
        </p:nvSpPr>
        <p:spPr>
          <a:xfrm>
            <a:off x="465995" y="1784598"/>
            <a:ext cx="9313005" cy="381732"/>
          </a:xfrm>
        </p:spPr>
        <p:txBody>
          <a:bodyPr anchor="b"/>
          <a:lstStyle>
            <a:lvl1pPr marL="0" indent="0" algn="l">
              <a:buNone/>
              <a:defRPr sz="2400" b="1">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ing 2</a:t>
            </a:r>
          </a:p>
        </p:txBody>
      </p:sp>
      <p:sp>
        <p:nvSpPr>
          <p:cNvPr id="8" name="Picture Placeholder 5">
            <a:extLst>
              <a:ext uri="{FF2B5EF4-FFF2-40B4-BE49-F238E27FC236}">
                <a16:creationId xmlns:a16="http://schemas.microsoft.com/office/drawing/2014/main" id="{F83B2B48-1865-EF4B-9973-D5EE72C1B4A1}"/>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pic>
        <p:nvPicPr>
          <p:cNvPr id="13" name="Graphic 12">
            <a:extLst>
              <a:ext uri="{FF2B5EF4-FFF2-40B4-BE49-F238E27FC236}">
                <a16:creationId xmlns:a16="http://schemas.microsoft.com/office/drawing/2014/main" id="{CB3E854A-C626-6940-8EB7-1215314D076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6803" y="341762"/>
            <a:ext cx="1623974" cy="338328"/>
          </a:xfrm>
          <a:prstGeom prst="rect">
            <a:avLst/>
          </a:prstGeom>
        </p:spPr>
      </p:pic>
      <p:sp>
        <p:nvSpPr>
          <p:cNvPr id="11" name="Text Placeholder 3">
            <a:extLst>
              <a:ext uri="{FF2B5EF4-FFF2-40B4-BE49-F238E27FC236}">
                <a16:creationId xmlns:a16="http://schemas.microsoft.com/office/drawing/2014/main" id="{7DCD9D50-BDCD-8D45-9767-5C243626118C}"/>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2" name="Rectangle 11">
            <a:extLst>
              <a:ext uri="{FF2B5EF4-FFF2-40B4-BE49-F238E27FC236}">
                <a16:creationId xmlns:a16="http://schemas.microsoft.com/office/drawing/2014/main" id="{2F37011C-C36F-8D4D-96C4-15011C56AD67}"/>
              </a:ext>
            </a:extLst>
          </p:cNvPr>
          <p:cNvSpPr/>
          <p:nvPr/>
        </p:nvSpPr>
        <p:spPr>
          <a:xfrm>
            <a:off x="485775" y="6257135"/>
            <a:ext cx="1785745" cy="153888"/>
          </a:xfrm>
          <a:prstGeom prst="rect">
            <a:avLst/>
          </a:prstGeom>
        </p:spPr>
        <p:txBody>
          <a:bodyPr wrap="none" lIns="0" tIns="0" rIns="0" bIns="0">
            <a:spAutoFit/>
          </a:bodyPr>
          <a:lstStyle/>
          <a:p>
            <a:r>
              <a:rPr lang="en-US" sz="1000" dirty="0">
                <a:effectLst/>
                <a:latin typeface="Arial" panose="020B0604020202020204" pitchFamily="34" charset="0"/>
              </a:rPr>
              <a:t>A business of Marsh McLennan</a:t>
            </a:r>
            <a:endParaRPr lang="en-US" sz="1000" dirty="0"/>
          </a:p>
        </p:txBody>
      </p:sp>
      <p:pic>
        <p:nvPicPr>
          <p:cNvPr id="10" name="Picture 9"/>
          <p:cNvPicPr>
            <a:picLocks noChangeAspect="1"/>
          </p:cNvPicPr>
          <p:nvPr userDrawn="1"/>
        </p:nvPicPr>
        <p:blipFill>
          <a:blip r:embed="rId7"/>
          <a:stretch>
            <a:fillRect/>
          </a:stretch>
        </p:blipFill>
        <p:spPr>
          <a:xfrm>
            <a:off x="486803" y="1174876"/>
            <a:ext cx="3548512" cy="438912"/>
          </a:xfrm>
          <a:prstGeom prst="rect">
            <a:avLst/>
          </a:prstGeom>
        </p:spPr>
      </p:pic>
    </p:spTree>
    <p:extLst>
      <p:ext uri="{BB962C8B-B14F-4D97-AF65-F5344CB8AC3E}">
        <p14:creationId xmlns:p14="http://schemas.microsoft.com/office/powerpoint/2010/main" val="120340795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Title slide C: blue">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09829" y="2350190"/>
            <a:ext cx="9429496" cy="1516960"/>
          </a:xfrm>
        </p:spPr>
        <p:txBody>
          <a:bodyPr vert="horz" lIns="0" tIns="0" rIns="0" bIns="0" rtlCol="0" anchor="t">
            <a:noAutofit/>
          </a:bodyPr>
          <a:lstStyle>
            <a:lvl1pPr>
              <a:defRPr lang="en-US" sz="12000" i="0" cap="none" baseline="0" dirty="0">
                <a:solidFill>
                  <a:schemeClr val="bg1"/>
                </a:solidFill>
                <a:latin typeface="Arial" panose="020B0604020202020204" pitchFamily="34" charset="0"/>
                <a:cs typeface="Arial" panose="020B0604020202020204" pitchFamily="34" charset="0"/>
              </a:defRPr>
            </a:lvl1pPr>
          </a:lstStyle>
          <a:p>
            <a:pPr lvl="0"/>
            <a:r>
              <a:rPr lang="en-US" dirty="0"/>
              <a:t>Heading 1</a:t>
            </a:r>
          </a:p>
        </p:txBody>
      </p:sp>
      <p:sp>
        <p:nvSpPr>
          <p:cNvPr id="3" name="Subtitle 2"/>
          <p:cNvSpPr>
            <a:spLocks noGrp="1"/>
          </p:cNvSpPr>
          <p:nvPr>
            <p:ph type="subTitle" idx="1" hasCustomPrompt="1"/>
          </p:nvPr>
        </p:nvSpPr>
        <p:spPr>
          <a:xfrm>
            <a:off x="465201" y="1783080"/>
            <a:ext cx="9310624" cy="384048"/>
          </a:xfrm>
        </p:spPr>
        <p:txBody>
          <a:bodyPr anchor="b"/>
          <a:lstStyle>
            <a:lvl1pPr marL="0" indent="0" algn="l">
              <a:buNone/>
              <a:defRPr sz="24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ing 2</a:t>
            </a:r>
          </a:p>
        </p:txBody>
      </p:sp>
      <p:sp>
        <p:nvSpPr>
          <p:cNvPr id="8" name="Picture Placeholder 5">
            <a:extLst>
              <a:ext uri="{FF2B5EF4-FFF2-40B4-BE49-F238E27FC236}">
                <a16:creationId xmlns:a16="http://schemas.microsoft.com/office/drawing/2014/main" id="{2443E10E-D359-3B49-9FDB-877AADFF144B}"/>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pic>
        <p:nvPicPr>
          <p:cNvPr id="13" name="Graphic 12">
            <a:extLst>
              <a:ext uri="{FF2B5EF4-FFF2-40B4-BE49-F238E27FC236}">
                <a16:creationId xmlns:a16="http://schemas.microsoft.com/office/drawing/2014/main" id="{D426043B-0359-FC46-BCF1-DAFF274E75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6803" y="341762"/>
            <a:ext cx="1623974" cy="338328"/>
          </a:xfrm>
          <a:prstGeom prst="rect">
            <a:avLst/>
          </a:prstGeom>
        </p:spPr>
      </p:pic>
      <p:sp>
        <p:nvSpPr>
          <p:cNvPr id="11" name="Text Placeholder 3">
            <a:extLst>
              <a:ext uri="{FF2B5EF4-FFF2-40B4-BE49-F238E27FC236}">
                <a16:creationId xmlns:a16="http://schemas.microsoft.com/office/drawing/2014/main" id="{07BC8A92-AD16-9240-917F-017431DBB319}"/>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2" name="Rectangle 11">
            <a:extLst>
              <a:ext uri="{FF2B5EF4-FFF2-40B4-BE49-F238E27FC236}">
                <a16:creationId xmlns:a16="http://schemas.microsoft.com/office/drawing/2014/main" id="{F751746A-3C5A-ED4C-8A74-566F52CC4087}"/>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pic>
        <p:nvPicPr>
          <p:cNvPr id="9" name="Picture 8"/>
          <p:cNvPicPr>
            <a:picLocks noChangeAspect="1"/>
          </p:cNvPicPr>
          <p:nvPr userDrawn="1"/>
        </p:nvPicPr>
        <p:blipFill>
          <a:blip r:embed="rId7"/>
          <a:stretch>
            <a:fillRect/>
          </a:stretch>
        </p:blipFill>
        <p:spPr>
          <a:xfrm>
            <a:off x="486803" y="1174876"/>
            <a:ext cx="3548512" cy="438912"/>
          </a:xfrm>
          <a:prstGeom prst="rect">
            <a:avLst/>
          </a:prstGeom>
        </p:spPr>
      </p:pic>
    </p:spTree>
    <p:extLst>
      <p:ext uri="{BB962C8B-B14F-4D97-AF65-F5344CB8AC3E}">
        <p14:creationId xmlns:p14="http://schemas.microsoft.com/office/powerpoint/2010/main" val="374453225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slide C: gradi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09829" y="2350190"/>
            <a:ext cx="9429496" cy="1516960"/>
          </a:xfrm>
        </p:spPr>
        <p:txBody>
          <a:bodyPr vert="horz" lIns="0" tIns="0" rIns="0" bIns="0" rtlCol="0" anchor="t">
            <a:noAutofit/>
          </a:bodyPr>
          <a:lstStyle>
            <a:lvl1pPr>
              <a:defRPr lang="en-US" sz="12000" i="0" cap="none" baseline="0" dirty="0">
                <a:solidFill>
                  <a:schemeClr val="bg1"/>
                </a:solidFill>
                <a:latin typeface="Arial" panose="020B0604020202020204" pitchFamily="34" charset="0"/>
                <a:cs typeface="Arial" panose="020B0604020202020204" pitchFamily="34" charset="0"/>
              </a:defRPr>
            </a:lvl1pPr>
          </a:lstStyle>
          <a:p>
            <a:pPr lvl="0"/>
            <a:r>
              <a:rPr lang="en-US" dirty="0"/>
              <a:t>Heading 1</a:t>
            </a:r>
          </a:p>
        </p:txBody>
      </p:sp>
      <p:sp>
        <p:nvSpPr>
          <p:cNvPr id="3" name="Subtitle 2"/>
          <p:cNvSpPr>
            <a:spLocks noGrp="1"/>
          </p:cNvSpPr>
          <p:nvPr>
            <p:ph type="subTitle" idx="1" hasCustomPrompt="1"/>
          </p:nvPr>
        </p:nvSpPr>
        <p:spPr>
          <a:xfrm>
            <a:off x="465201" y="1783080"/>
            <a:ext cx="9310624" cy="384048"/>
          </a:xfrm>
        </p:spPr>
        <p:txBody>
          <a:bodyPr anchor="b"/>
          <a:lstStyle>
            <a:lvl1pPr marL="0" indent="0" algn="l">
              <a:buNone/>
              <a:defRPr sz="24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ing 2</a:t>
            </a:r>
          </a:p>
        </p:txBody>
      </p:sp>
      <p:sp>
        <p:nvSpPr>
          <p:cNvPr id="8" name="Picture Placeholder 5">
            <a:extLst>
              <a:ext uri="{FF2B5EF4-FFF2-40B4-BE49-F238E27FC236}">
                <a16:creationId xmlns:a16="http://schemas.microsoft.com/office/drawing/2014/main" id="{F55BF0EB-E95B-664F-A15D-0229B8770981}"/>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pic>
        <p:nvPicPr>
          <p:cNvPr id="13" name="Graphic 12">
            <a:extLst>
              <a:ext uri="{FF2B5EF4-FFF2-40B4-BE49-F238E27FC236}">
                <a16:creationId xmlns:a16="http://schemas.microsoft.com/office/drawing/2014/main" id="{1BA474F9-B22C-C040-A8F5-54032CC0E97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6803" y="341762"/>
            <a:ext cx="1623974" cy="338328"/>
          </a:xfrm>
          <a:prstGeom prst="rect">
            <a:avLst/>
          </a:prstGeom>
        </p:spPr>
      </p:pic>
      <p:sp>
        <p:nvSpPr>
          <p:cNvPr id="14" name="Text Placeholder 3">
            <a:extLst>
              <a:ext uri="{FF2B5EF4-FFF2-40B4-BE49-F238E27FC236}">
                <a16:creationId xmlns:a16="http://schemas.microsoft.com/office/drawing/2014/main" id="{BE2A3662-8B11-554F-91F3-6F854BB72FA3}"/>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5" name="Rectangle 14">
            <a:extLst>
              <a:ext uri="{FF2B5EF4-FFF2-40B4-BE49-F238E27FC236}">
                <a16:creationId xmlns:a16="http://schemas.microsoft.com/office/drawing/2014/main" id="{147B2DAB-CB78-D146-B818-52855D95EA0D}"/>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pic>
        <p:nvPicPr>
          <p:cNvPr id="9" name="Picture 8"/>
          <p:cNvPicPr>
            <a:picLocks noChangeAspect="1"/>
          </p:cNvPicPr>
          <p:nvPr userDrawn="1"/>
        </p:nvPicPr>
        <p:blipFill>
          <a:blip r:embed="rId8"/>
          <a:stretch>
            <a:fillRect/>
          </a:stretch>
        </p:blipFill>
        <p:spPr>
          <a:xfrm>
            <a:off x="486803" y="1174876"/>
            <a:ext cx="3548512" cy="438912"/>
          </a:xfrm>
          <a:prstGeom prst="rect">
            <a:avLst/>
          </a:prstGeom>
        </p:spPr>
      </p:pic>
    </p:spTree>
    <p:extLst>
      <p:ext uri="{BB962C8B-B14F-4D97-AF65-F5344CB8AC3E}">
        <p14:creationId xmlns:p14="http://schemas.microsoft.com/office/powerpoint/2010/main" val="10067754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COVERS JOINT BUSINES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52E706-1FE4-5448-BF88-BDD1A5847DF0}"/>
              </a:ext>
            </a:extLst>
          </p:cNvPr>
          <p:cNvSpPr txBox="1"/>
          <p:nvPr/>
        </p:nvSpPr>
        <p:spPr>
          <a:xfrm>
            <a:off x="374977" y="1582341"/>
            <a:ext cx="10345781" cy="369331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Covers for a</a:t>
            </a:r>
          </a:p>
          <a:p>
            <a:pPr algn="l"/>
            <a:r>
              <a:rPr lang="en-US" sz="12000" b="1" i="0" dirty="0">
                <a:solidFill>
                  <a:schemeClr val="bg1"/>
                </a:solidFill>
                <a:latin typeface="Arial" panose="020B0604020202020204" pitchFamily="34" charset="0"/>
                <a:cs typeface="Arial" panose="020B0604020202020204" pitchFamily="34" charset="0"/>
              </a:rPr>
              <a:t>joint business</a:t>
            </a:r>
          </a:p>
        </p:txBody>
      </p:sp>
    </p:spTree>
    <p:extLst>
      <p:ext uri="{BB962C8B-B14F-4D97-AF65-F5344CB8AC3E}">
        <p14:creationId xmlns:p14="http://schemas.microsoft.com/office/powerpoint/2010/main" val="370216496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Title slide A: stripe/log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5793"/>
            <a:ext cx="9365488" cy="1602882"/>
          </a:xfrm>
        </p:spPr>
        <p:txBody>
          <a:bodyPr vert="horz"/>
          <a:lstStyle>
            <a:lvl1pPr>
              <a:lnSpc>
                <a:spcPct val="90000"/>
              </a:lnSpc>
              <a:defRPr sz="6000" b="1" i="0" cap="none" baseline="0">
                <a:latin typeface="Arial" panose="020B0604020202020204" pitchFamily="34" charset="0"/>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60887"/>
            <a:ext cx="9310624"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8" name="Picture Placeholder 5">
            <a:extLst>
              <a:ext uri="{FF2B5EF4-FFF2-40B4-BE49-F238E27FC236}">
                <a16:creationId xmlns:a16="http://schemas.microsoft.com/office/drawing/2014/main" id="{6AA4DE2D-F68B-BB43-AF2C-40B2A7B333AD}"/>
              </a:ext>
            </a:extLst>
          </p:cNvPr>
          <p:cNvSpPr>
            <a:spLocks noGrp="1" noChangeAspect="1"/>
          </p:cNvSpPr>
          <p:nvPr>
            <p:ph type="pic" sz="quarter" idx="12" hasCustomPrompt="1"/>
          </p:nvPr>
        </p:nvSpPr>
        <p:spPr>
          <a:xfrm>
            <a:off x="2202227" y="341143"/>
            <a:ext cx="2863215" cy="342900"/>
          </a:xfrm>
          <a:noFill/>
        </p:spPr>
        <p:txBody>
          <a:bodyPr anchor="t" anchorCtr="0"/>
          <a:lstStyle>
            <a:lvl1pPr algn="l">
              <a:spcBef>
                <a:spcPts val="0"/>
              </a:spcBef>
              <a:spcAft>
                <a:spcPts val="0"/>
              </a:spcAft>
              <a:defRPr sz="1000" baseline="0">
                <a:solidFill>
                  <a:srgbClr val="FF0000"/>
                </a:solidFill>
              </a:defRPr>
            </a:lvl1pPr>
          </a:lstStyle>
          <a:p>
            <a:r>
              <a:rPr lang="en-US" dirty="0"/>
              <a:t>Placeholder for collaborator (MMC business) logo. </a:t>
            </a:r>
            <a:br>
              <a:rPr lang="en-US" dirty="0"/>
            </a:br>
            <a:r>
              <a:rPr lang="en-US" dirty="0"/>
              <a:t>Delete box if not used.</a:t>
            </a:r>
          </a:p>
        </p:txBody>
      </p:sp>
      <p:pic>
        <p:nvPicPr>
          <p:cNvPr id="11" name="Graphic 10">
            <a:extLst>
              <a:ext uri="{FF2B5EF4-FFF2-40B4-BE49-F238E27FC236}">
                <a16:creationId xmlns:a16="http://schemas.microsoft.com/office/drawing/2014/main" id="{4D8D969B-1ECE-2C44-8889-FF09503BD87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6803" y="341762"/>
            <a:ext cx="1623974" cy="338328"/>
          </a:xfrm>
          <a:prstGeom prst="rect">
            <a:avLst/>
          </a:prstGeom>
        </p:spPr>
      </p:pic>
      <p:sp>
        <p:nvSpPr>
          <p:cNvPr id="12" name="Picture Placeholder 5">
            <a:extLst>
              <a:ext uri="{FF2B5EF4-FFF2-40B4-BE49-F238E27FC236}">
                <a16:creationId xmlns:a16="http://schemas.microsoft.com/office/drawing/2014/main" id="{080A16FD-0635-534B-8EF0-AC82A24FE50A}"/>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sp>
        <p:nvSpPr>
          <p:cNvPr id="13" name="Text Placeholder 3">
            <a:extLst>
              <a:ext uri="{FF2B5EF4-FFF2-40B4-BE49-F238E27FC236}">
                <a16:creationId xmlns:a16="http://schemas.microsoft.com/office/drawing/2014/main" id="{7731C4F9-CCD2-1349-A6C5-1F63598D3F2C}"/>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779E8AEE-4750-3448-90BB-1CA12B7B33ED}"/>
              </a:ext>
            </a:extLst>
          </p:cNvPr>
          <p:cNvSpPr/>
          <p:nvPr/>
        </p:nvSpPr>
        <p:spPr>
          <a:xfrm>
            <a:off x="485775" y="6257135"/>
            <a:ext cx="1814599" cy="153888"/>
          </a:xfrm>
          <a:prstGeom prst="rect">
            <a:avLst/>
          </a:prstGeom>
        </p:spPr>
        <p:txBody>
          <a:bodyPr wrap="none" lIns="0" tIns="0" rIns="0" bIns="0">
            <a:spAutoFit/>
          </a:bodyPr>
          <a:lstStyle/>
          <a:p>
            <a:r>
              <a:rPr lang="en-US" sz="1000" dirty="0">
                <a:solidFill>
                  <a:schemeClr val="tx1"/>
                </a:solidFill>
                <a:effectLst/>
                <a:latin typeface="Arial" panose="020B0604020202020204" pitchFamily="34" charset="0"/>
              </a:rPr>
              <a:t>Businesses of Marsh McLennan</a:t>
            </a:r>
            <a:endParaRPr lang="en-US" sz="1000" dirty="0">
              <a:solidFill>
                <a:schemeClr val="tx1"/>
              </a:solidFill>
            </a:endParaRPr>
          </a:p>
        </p:txBody>
      </p:sp>
    </p:spTree>
    <p:extLst>
      <p:ext uri="{BB962C8B-B14F-4D97-AF65-F5344CB8AC3E}">
        <p14:creationId xmlns:p14="http://schemas.microsoft.com/office/powerpoint/2010/main" val="38734795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x">
  <p:cSld name="Content + 2up">
    <p:bg>
      <p:bgPr>
        <a:solidFill>
          <a:srgbClr val="FFFFFF"/>
        </a:solidFill>
        <a:effectLst/>
      </p:bgPr>
    </p:bg>
    <p:spTree>
      <p:nvGrpSpPr>
        <p:cNvPr id="1" name=""/>
        <p:cNvGrpSpPr/>
        <p:nvPr/>
      </p:nvGrpSpPr>
      <p:grpSpPr>
        <a:xfrm>
          <a:off x="0" y="0"/>
          <a:ext cx="0" cy="0"/>
          <a:chOff x="0" y="0"/>
          <a:chExt cx="0" cy="0"/>
        </a:xfrm>
      </p:grpSpPr>
      <p:pic>
        <p:nvPicPr>
          <p:cNvPr id="194"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195" name="Shape 195"/>
          <p:cNvSpPr>
            <a:spLocks noGrp="1"/>
          </p:cNvSpPr>
          <p:nvPr>
            <p:ph type="pic" sz="half" idx="13"/>
          </p:nvPr>
        </p:nvSpPr>
        <p:spPr>
          <a:xfrm>
            <a:off x="4305300" y="358775"/>
            <a:ext cx="7762875" cy="3009900"/>
          </a:xfrm>
          <a:prstGeom prst="rect">
            <a:avLst/>
          </a:prstGeom>
        </p:spPr>
        <p:txBody>
          <a:bodyPr lIns="91439" tIns="45719" rIns="91439" bIns="45719"/>
          <a:lstStyle/>
          <a:p>
            <a:endParaRPr/>
          </a:p>
        </p:txBody>
      </p:sp>
      <p:sp>
        <p:nvSpPr>
          <p:cNvPr id="196" name="Shape 196"/>
          <p:cNvSpPr>
            <a:spLocks noGrp="1"/>
          </p:cNvSpPr>
          <p:nvPr>
            <p:ph type="pic" sz="half" idx="14"/>
          </p:nvPr>
        </p:nvSpPr>
        <p:spPr>
          <a:xfrm>
            <a:off x="4305300" y="3493742"/>
            <a:ext cx="7762875" cy="2881659"/>
          </a:xfrm>
          <a:prstGeom prst="rect">
            <a:avLst/>
          </a:prstGeom>
        </p:spPr>
        <p:txBody>
          <a:bodyPr lIns="91439" tIns="45719" rIns="91439" bIns="45719"/>
          <a:lstStyle/>
          <a:p>
            <a:endParaRPr/>
          </a:p>
        </p:txBody>
      </p:sp>
      <p:sp>
        <p:nvSpPr>
          <p:cNvPr id="197" name="Shape 197"/>
          <p:cNvSpPr>
            <a:spLocks noGrp="1"/>
          </p:cNvSpPr>
          <p:nvPr>
            <p:ph type="title"/>
          </p:nvPr>
        </p:nvSpPr>
        <p:spPr>
          <a:xfrm>
            <a:off x="457201" y="355600"/>
            <a:ext cx="3606801" cy="752475"/>
          </a:xfrm>
          <a:prstGeom prst="rect">
            <a:avLst/>
          </a:prstGeom>
        </p:spPr>
        <p:txBody>
          <a:bodyPr>
            <a:normAutofit/>
          </a:bodyPr>
          <a:lstStyle/>
          <a:p>
            <a:r>
              <a:t>Texto del título</a:t>
            </a:r>
          </a:p>
        </p:txBody>
      </p:sp>
      <p:sp>
        <p:nvSpPr>
          <p:cNvPr id="198" name="Shape 198"/>
          <p:cNvSpPr>
            <a:spLocks noGrp="1"/>
          </p:cNvSpPr>
          <p:nvPr>
            <p:ph type="body" sz="quarter" idx="1"/>
          </p:nvPr>
        </p:nvSpPr>
        <p:spPr>
          <a:xfrm>
            <a:off x="485776" y="1609725"/>
            <a:ext cx="3578224" cy="4508500"/>
          </a:xfrm>
          <a:prstGeom prst="rect">
            <a:avLst/>
          </a:prstGeom>
        </p:spPr>
        <p:txBody>
          <a:bodyPr>
            <a:normAutofit/>
          </a:bodyPr>
          <a:lstStyle/>
          <a:p>
            <a:r>
              <a:t>Nivel de texto 1</a:t>
            </a:r>
          </a:p>
          <a:p>
            <a:pPr lvl="1"/>
            <a:r>
              <a:t>Nivel de texto 2</a:t>
            </a:r>
          </a:p>
          <a:p>
            <a:pPr lvl="2"/>
            <a:r>
              <a:t>Nivel de texto 3</a:t>
            </a:r>
          </a:p>
          <a:p>
            <a:pPr lvl="3"/>
            <a:r>
              <a:t>Nivel de texto 4</a:t>
            </a:r>
          </a:p>
          <a:p>
            <a:pPr lvl="4"/>
            <a:r>
              <a:t>Nivel de texto 5</a:t>
            </a:r>
          </a:p>
        </p:txBody>
      </p:sp>
      <p:sp>
        <p:nvSpPr>
          <p:cNvPr id="199" name="Shape 199"/>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cSld>
  <p:clrMapOvr>
    <a:masterClrMapping/>
  </p:clrMapOvr>
  <p:transition spd="med"/>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Title slide A: blue - stripe/logo">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sz="6000" b="1" i="0" cap="none" baseline="0">
                <a:solidFill>
                  <a:schemeClr val="bg1"/>
                </a:solidFill>
                <a:latin typeface="Arial" panose="020B0604020202020204" pitchFamily="34" charset="0"/>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a:p>
            <a:endParaRPr lang="en-US" dirty="0"/>
          </a:p>
        </p:txBody>
      </p:sp>
      <p:sp>
        <p:nvSpPr>
          <p:cNvPr id="10" name="Picture Placeholder 5">
            <a:extLst>
              <a:ext uri="{FF2B5EF4-FFF2-40B4-BE49-F238E27FC236}">
                <a16:creationId xmlns:a16="http://schemas.microsoft.com/office/drawing/2014/main" id="{CD55AD5D-7D50-4F42-A265-20F46833B070}"/>
              </a:ext>
            </a:extLst>
          </p:cNvPr>
          <p:cNvSpPr>
            <a:spLocks noGrp="1" noChangeAspect="1"/>
          </p:cNvSpPr>
          <p:nvPr>
            <p:ph type="pic" sz="quarter" idx="12" hasCustomPrompt="1"/>
          </p:nvPr>
        </p:nvSpPr>
        <p:spPr>
          <a:xfrm>
            <a:off x="2202227" y="341143"/>
            <a:ext cx="2863215" cy="342900"/>
          </a:xfrm>
          <a:noFill/>
        </p:spPr>
        <p:txBody>
          <a:bodyPr anchor="t" anchorCtr="0"/>
          <a:lstStyle>
            <a:lvl1pPr algn="l">
              <a:spcBef>
                <a:spcPts val="0"/>
              </a:spcBef>
              <a:spcAft>
                <a:spcPts val="0"/>
              </a:spcAft>
              <a:defRPr sz="1000">
                <a:solidFill>
                  <a:srgbClr val="FF0000"/>
                </a:solidFill>
              </a:defRPr>
            </a:lvl1pPr>
          </a:lstStyle>
          <a:p>
            <a:r>
              <a:rPr lang="en-US" dirty="0"/>
              <a:t>Placeholder for collaborator (MMC business) logo. </a:t>
            </a:r>
            <a:br>
              <a:rPr lang="en-US" dirty="0"/>
            </a:br>
            <a:r>
              <a:rPr lang="en-US" dirty="0"/>
              <a:t>Delete box if not used.</a:t>
            </a:r>
          </a:p>
        </p:txBody>
      </p:sp>
      <p:pic>
        <p:nvPicPr>
          <p:cNvPr id="11" name="Graphic 10">
            <a:extLst>
              <a:ext uri="{FF2B5EF4-FFF2-40B4-BE49-F238E27FC236}">
                <a16:creationId xmlns:a16="http://schemas.microsoft.com/office/drawing/2014/main" id="{8592E6A1-8C6D-B446-81B7-94340E3547D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047A2875-C8A1-A446-8F58-D4B2DE1E532B}"/>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sp>
        <p:nvSpPr>
          <p:cNvPr id="14" name="Text Placeholder 3">
            <a:extLst>
              <a:ext uri="{FF2B5EF4-FFF2-40B4-BE49-F238E27FC236}">
                <a16:creationId xmlns:a16="http://schemas.microsoft.com/office/drawing/2014/main" id="{2E6207F1-15CB-6546-A549-DF244E46D6F3}"/>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5" name="Rectangle 14">
            <a:extLst>
              <a:ext uri="{FF2B5EF4-FFF2-40B4-BE49-F238E27FC236}">
                <a16:creationId xmlns:a16="http://schemas.microsoft.com/office/drawing/2014/main" id="{35F05B11-D474-A04D-8E61-5AEFD7224969}"/>
              </a:ext>
            </a:extLst>
          </p:cNvPr>
          <p:cNvSpPr/>
          <p:nvPr/>
        </p:nvSpPr>
        <p:spPr>
          <a:xfrm>
            <a:off x="485775" y="6257135"/>
            <a:ext cx="1814599"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Businesses of Marsh McLennan</a:t>
            </a:r>
            <a:endParaRPr lang="en-US" sz="1000" dirty="0">
              <a:solidFill>
                <a:schemeClr val="bg1"/>
              </a:solidFill>
            </a:endParaRPr>
          </a:p>
        </p:txBody>
      </p:sp>
    </p:spTree>
    <p:extLst>
      <p:ext uri="{BB962C8B-B14F-4D97-AF65-F5344CB8AC3E}">
        <p14:creationId xmlns:p14="http://schemas.microsoft.com/office/powerpoint/2010/main" val="198635734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AGENDA + CONTENT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5064E14D-7EB8-984D-B09A-CDFF8DFEAAB9}"/>
              </a:ext>
            </a:extLst>
          </p:cNvPr>
          <p:cNvSpPr txBox="1"/>
          <p:nvPr/>
        </p:nvSpPr>
        <p:spPr>
          <a:xfrm>
            <a:off x="374977" y="1582341"/>
            <a:ext cx="7824258" cy="369331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Agendas +</a:t>
            </a:r>
          </a:p>
          <a:p>
            <a:pPr algn="l"/>
            <a:r>
              <a:rPr lang="en-US" sz="12000" b="1" i="0" dirty="0">
                <a:solidFill>
                  <a:schemeClr val="bg1"/>
                </a:solidFill>
                <a:latin typeface="Arial" panose="020B0604020202020204" pitchFamily="34" charset="0"/>
                <a:cs typeface="Arial" panose="020B0604020202020204" pitchFamily="34" charset="0"/>
              </a:rPr>
              <a:t>Contents</a:t>
            </a:r>
          </a:p>
        </p:txBody>
      </p:sp>
    </p:spTree>
    <p:extLst>
      <p:ext uri="{BB962C8B-B14F-4D97-AF65-F5344CB8AC3E}">
        <p14:creationId xmlns:p14="http://schemas.microsoft.com/office/powerpoint/2010/main" val="305416787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1950"/>
            <a:ext cx="5495925" cy="5759450"/>
          </a:xfrm>
        </p:spPr>
        <p:txBody>
          <a:bodyPr/>
          <a:lstStyle>
            <a:lvl1pPr marL="233363" indent="-233363">
              <a:lnSpc>
                <a:spcPct val="90000"/>
              </a:lnSpc>
              <a:spcBef>
                <a:spcPts val="600"/>
              </a:spcBef>
              <a:buFont typeface="+mj-lt"/>
              <a:buAutoNum type="arabicPeriod"/>
              <a:tabLst/>
              <a:defRPr/>
            </a:lvl1pPr>
            <a:lvl2pPr marL="461963" indent="-230188">
              <a:buFont typeface="Arial" panose="020B0604020202020204" pitchFamily="34" charset="0"/>
              <a:buChar char="•"/>
              <a:defRPr baseline="0"/>
            </a:lvl2pPr>
            <a:lvl3pPr marL="685800" indent="-228600">
              <a:defRPr baseline="0"/>
            </a:lvl3pPr>
            <a:lvl4pPr marL="914400" indent="-228600">
              <a:defRPr baseline="0"/>
            </a:lvl4pPr>
            <a:lvl5pPr marL="1143000" indent="-228600">
              <a:defRPr baseline="0"/>
            </a:lvl5pPr>
            <a:lvl6pPr marL="1371600" indent="-227013">
              <a:defRPr baseline="0"/>
            </a:lvl6pPr>
            <a:lvl7pPr marL="1600200" indent="-228600">
              <a:defRPr baseline="0"/>
            </a:lvl7pPr>
            <a:lvl8pPr marL="1828800" indent="-227013">
              <a:defRPr/>
            </a:lvl8pPr>
            <a:lvl9pPr marL="1828800" indent="0">
              <a:buFont typeface="Arial" panose="020B0604020202020204" pitchFamily="34" charset="0"/>
              <a:buNone/>
              <a:defRPr baseline="0"/>
            </a:lvl9pPr>
          </a:lstStyle>
          <a:p>
            <a:pPr lvl="0"/>
            <a:r>
              <a:rPr lang="en-US" dirty="0"/>
              <a:t>Click to add topic</a:t>
            </a:r>
          </a:p>
        </p:txBody>
      </p:sp>
      <p:sp>
        <p:nvSpPr>
          <p:cNvPr id="7"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85775" y="4901386"/>
            <a:ext cx="11223626" cy="1846659"/>
          </a:xfrm>
        </p:spPr>
        <p:txBody>
          <a:bodyPr vert="horz" wrap="square">
            <a:spAutoFit/>
          </a:bodyPr>
          <a:lstStyle>
            <a:lvl1pPr algn="r">
              <a:lnSpc>
                <a:spcPct val="100000"/>
              </a:lnSpc>
              <a:defRPr sz="12000"/>
            </a:lvl1pPr>
          </a:lstStyle>
          <a:p>
            <a:r>
              <a:rPr lang="en-US" dirty="0"/>
              <a:t>Add title</a:t>
            </a:r>
          </a:p>
        </p:txBody>
      </p:sp>
    </p:spTree>
    <p:extLst>
      <p:ext uri="{BB962C8B-B14F-4D97-AF65-F5344CB8AC3E}">
        <p14:creationId xmlns:p14="http://schemas.microsoft.com/office/powerpoint/2010/main" val="364930121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Agenda: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1950"/>
            <a:ext cx="5495925" cy="5759450"/>
          </a:xfrm>
        </p:spPr>
        <p:txBody>
          <a:bodyPr/>
          <a:lstStyle>
            <a:lvl1pPr marL="233363" indent="-233363">
              <a:lnSpc>
                <a:spcPct val="90000"/>
              </a:lnSpc>
              <a:spcBef>
                <a:spcPts val="600"/>
              </a:spcBef>
              <a:buFont typeface="+mj-lt"/>
              <a:buAutoNum type="arabicPeriod"/>
              <a:tabLst/>
              <a:defRPr>
                <a:solidFill>
                  <a:schemeClr val="bg1"/>
                </a:solidFill>
              </a:defRPr>
            </a:lvl1pPr>
            <a:lvl2pPr marL="512763" indent="-285750">
              <a:buFont typeface="Arial" panose="020B0604020202020204" pitchFamily="34" charset="0"/>
              <a:buChar char="•"/>
              <a:defRPr>
                <a:solidFill>
                  <a:schemeClr val="bg1"/>
                </a:solidFill>
              </a:defRPr>
            </a:lvl2pPr>
            <a:lvl3pPr marL="685800" indent="-228600">
              <a:defRPr>
                <a:solidFill>
                  <a:schemeClr val="bg1"/>
                </a:solidFill>
              </a:defRPr>
            </a:lvl3pPr>
            <a:lvl4pPr marL="914400" indent="-228600">
              <a:defRPr>
                <a:solidFill>
                  <a:schemeClr val="bg1"/>
                </a:solidFill>
              </a:defRPr>
            </a:lvl4pPr>
            <a:lvl5pPr marL="1143000" indent="-228600">
              <a:defRPr baseline="0">
                <a:solidFill>
                  <a:schemeClr val="bg1"/>
                </a:solidFill>
              </a:defRPr>
            </a:lvl5pPr>
            <a:lvl6pPr marL="1371600" indent="-227013">
              <a:defRPr baseline="0">
                <a:solidFill>
                  <a:schemeClr val="bg1"/>
                </a:solidFill>
              </a:defRPr>
            </a:lvl6pPr>
            <a:lvl7pPr marL="1600200" indent="-228600">
              <a:defRPr baseline="0">
                <a:solidFill>
                  <a:schemeClr val="bg1"/>
                </a:solidFill>
              </a:defRPr>
            </a:lvl7pPr>
            <a:lvl8pPr marL="1828800" indent="-227013">
              <a:defRPr baseline="0">
                <a:solidFill>
                  <a:schemeClr val="bg1"/>
                </a:solidFill>
              </a:defRPr>
            </a:lvl8pPr>
            <a:lvl9pPr marL="2057400" indent="-219075">
              <a:defRPr baseline="0">
                <a:solidFill>
                  <a:schemeClr val="bg1"/>
                </a:solidFill>
              </a:defRPr>
            </a:lvl9pPr>
          </a:lstStyle>
          <a:p>
            <a:pPr lvl="0"/>
            <a:r>
              <a:rPr lang="en-US" dirty="0"/>
              <a:t>Click to add topic</a:t>
            </a:r>
          </a:p>
        </p:txBody>
      </p:sp>
      <p:sp>
        <p:nvSpPr>
          <p:cNvPr id="7"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85775" y="4901386"/>
            <a:ext cx="11223626" cy="1846659"/>
          </a:xfrm>
        </p:spPr>
        <p:txBody>
          <a:bodyPr vert="horz" wrap="square">
            <a:spAutoFit/>
          </a:bodyPr>
          <a:lstStyle>
            <a:lvl1pPr algn="r">
              <a:lnSpc>
                <a:spcPct val="100000"/>
              </a:lnSpc>
              <a:defRPr sz="12000">
                <a:solidFill>
                  <a:schemeClr val="bg1"/>
                </a:solidFill>
              </a:defRPr>
            </a:lvl1pPr>
          </a:lstStyle>
          <a:p>
            <a:r>
              <a:rPr lang="en-US" dirty="0"/>
              <a:t>Add title</a:t>
            </a:r>
          </a:p>
        </p:txBody>
      </p:sp>
    </p:spTree>
    <p:extLst>
      <p:ext uri="{BB962C8B-B14F-4D97-AF65-F5344CB8AC3E}">
        <p14:creationId xmlns:p14="http://schemas.microsoft.com/office/powerpoint/2010/main" val="256840439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DIVID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5064E14D-7EB8-984D-B09A-CDFF8DFEAAB9}"/>
              </a:ext>
            </a:extLst>
          </p:cNvPr>
          <p:cNvSpPr txBox="1"/>
          <p:nvPr/>
        </p:nvSpPr>
        <p:spPr>
          <a:xfrm>
            <a:off x="374977" y="2505671"/>
            <a:ext cx="6073779" cy="184665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Dividers</a:t>
            </a:r>
          </a:p>
        </p:txBody>
      </p:sp>
    </p:spTree>
    <p:extLst>
      <p:ext uri="{BB962C8B-B14F-4D97-AF65-F5344CB8AC3E}">
        <p14:creationId xmlns:p14="http://schemas.microsoft.com/office/powerpoint/2010/main" val="294219791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1"/>
          <p:cNvSpPr>
            <a:spLocks noGrp="1"/>
          </p:cNvSpPr>
          <p:nvPr>
            <p:ph type="title" hasCustomPrompt="1"/>
          </p:nvPr>
        </p:nvSpPr>
        <p:spPr>
          <a:xfrm>
            <a:off x="482600" y="265694"/>
            <a:ext cx="8356600" cy="5855705"/>
          </a:xfrm>
        </p:spPr>
        <p:txBody>
          <a:bodyPr/>
          <a:lstStyle>
            <a:lvl1pPr>
              <a:lnSpc>
                <a:spcPct val="90000"/>
              </a:lnSpc>
              <a:defRPr sz="5400"/>
            </a:lvl1pPr>
          </a:lstStyle>
          <a:p>
            <a:pPr lvl="0"/>
            <a:r>
              <a:rPr lang="en-US" dirty="0"/>
              <a:t>This slide is for </a:t>
            </a:r>
            <a:br>
              <a:rPr lang="en-US" dirty="0"/>
            </a:br>
            <a:r>
              <a:rPr lang="en-US" dirty="0"/>
              <a:t>divider, statement </a:t>
            </a:r>
            <a:br>
              <a:rPr lang="en-US" dirty="0"/>
            </a:br>
            <a:r>
              <a:rPr lang="en-US" dirty="0"/>
              <a:t>or takeaway.</a:t>
            </a:r>
          </a:p>
        </p:txBody>
      </p:sp>
    </p:spTree>
    <p:extLst>
      <p:ext uri="{BB962C8B-B14F-4D97-AF65-F5344CB8AC3E}">
        <p14:creationId xmlns:p14="http://schemas.microsoft.com/office/powerpoint/2010/main" val="282093991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1"/>
          <p:cNvSpPr>
            <a:spLocks noGrp="1"/>
          </p:cNvSpPr>
          <p:nvPr>
            <p:ph type="title" hasCustomPrompt="1"/>
          </p:nvPr>
        </p:nvSpPr>
        <p:spPr>
          <a:xfrm>
            <a:off x="482600" y="265694"/>
            <a:ext cx="8356600" cy="5855705"/>
          </a:xfrm>
        </p:spPr>
        <p:txBody>
          <a:bodyPr/>
          <a:lstStyle>
            <a:lvl1pPr>
              <a:lnSpc>
                <a:spcPct val="90000"/>
              </a:lnSpc>
              <a:defRPr sz="5400">
                <a:solidFill>
                  <a:schemeClr val="bg1"/>
                </a:solidFill>
              </a:defRPr>
            </a:lvl1pPr>
          </a:lstStyle>
          <a:p>
            <a:pPr lvl="0"/>
            <a:r>
              <a:rPr lang="en-US" dirty="0"/>
              <a:t>This slide is for </a:t>
            </a:r>
            <a:br>
              <a:rPr lang="en-US" dirty="0"/>
            </a:br>
            <a:r>
              <a:rPr lang="en-US" dirty="0"/>
              <a:t>divider, statement </a:t>
            </a:r>
            <a:br>
              <a:rPr lang="en-US" dirty="0"/>
            </a:br>
            <a:r>
              <a:rPr lang="en-US" dirty="0"/>
              <a:t>or takeaway.</a:t>
            </a:r>
          </a:p>
        </p:txBody>
      </p:sp>
    </p:spTree>
    <p:extLst>
      <p:ext uri="{BB962C8B-B14F-4D97-AF65-F5344CB8AC3E}">
        <p14:creationId xmlns:p14="http://schemas.microsoft.com/office/powerpoint/2010/main" val="298198543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ivider: gradient teal">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Title 1"/>
          <p:cNvSpPr>
            <a:spLocks noGrp="1"/>
          </p:cNvSpPr>
          <p:nvPr>
            <p:ph type="title" hasCustomPrompt="1"/>
          </p:nvPr>
        </p:nvSpPr>
        <p:spPr>
          <a:xfrm>
            <a:off x="482600" y="265694"/>
            <a:ext cx="8356600" cy="5855705"/>
          </a:xfrm>
        </p:spPr>
        <p:txBody>
          <a:bodyPr/>
          <a:lstStyle>
            <a:lvl1pPr>
              <a:lnSpc>
                <a:spcPct val="90000"/>
              </a:lnSpc>
              <a:defRPr sz="5400">
                <a:solidFill>
                  <a:schemeClr val="bg1"/>
                </a:solidFill>
              </a:defRPr>
            </a:lvl1pPr>
          </a:lstStyle>
          <a:p>
            <a:pPr lvl="0"/>
            <a:r>
              <a:rPr lang="en-US" dirty="0"/>
              <a:t>This slide is for </a:t>
            </a:r>
            <a:br>
              <a:rPr lang="en-US" dirty="0"/>
            </a:br>
            <a:r>
              <a:rPr lang="en-US" dirty="0"/>
              <a:t>divider, statement </a:t>
            </a:r>
            <a:br>
              <a:rPr lang="en-US" dirty="0"/>
            </a:br>
            <a:r>
              <a:rPr lang="en-US" dirty="0"/>
              <a:t>or takeaway.</a:t>
            </a:r>
          </a:p>
        </p:txBody>
      </p:sp>
    </p:spTree>
    <p:extLst>
      <p:ext uri="{BB962C8B-B14F-4D97-AF65-F5344CB8AC3E}">
        <p14:creationId xmlns:p14="http://schemas.microsoft.com/office/powerpoint/2010/main" val="348048045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p:cSld name="BIOS + PRESENT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54EA0D7-47B3-5149-B51A-CABC5742FBE7}"/>
              </a:ext>
            </a:extLst>
          </p:cNvPr>
          <p:cNvSpPr txBox="1"/>
          <p:nvPr/>
        </p:nvSpPr>
        <p:spPr>
          <a:xfrm>
            <a:off x="374977" y="1582341"/>
            <a:ext cx="7870744" cy="369331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Bios</a:t>
            </a:r>
            <a:r>
              <a:rPr lang="en-US" sz="12000" b="1" i="0" baseline="0" dirty="0">
                <a:solidFill>
                  <a:schemeClr val="bg1"/>
                </a:solidFill>
                <a:latin typeface="Arial" panose="020B0604020202020204" pitchFamily="34" charset="0"/>
                <a:cs typeface="Arial" panose="020B0604020202020204" pitchFamily="34" charset="0"/>
              </a:rPr>
              <a:t> + </a:t>
            </a:r>
          </a:p>
          <a:p>
            <a:pPr algn="l"/>
            <a:r>
              <a:rPr lang="en-US" sz="12000" b="1" i="0" baseline="0" dirty="0">
                <a:solidFill>
                  <a:schemeClr val="bg1"/>
                </a:solidFill>
                <a:latin typeface="Arial" panose="020B0604020202020204" pitchFamily="34" charset="0"/>
                <a:cs typeface="Arial" panose="020B0604020202020204" pitchFamily="34" charset="0"/>
              </a:rPr>
              <a:t>presenter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535690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1 Squar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3578224" cy="3578224"/>
          </a:xfrm>
          <a:prstGeom prst="rect">
            <a:avLst/>
          </a:prstGeom>
          <a:solidFill>
            <a:srgbClr val="F0F0F0"/>
          </a:solidFill>
        </p:spPr>
        <p:txBody>
          <a:bodyPr/>
          <a:lstStyle>
            <a:lvl1pPr algn="l">
              <a:defRPr sz="1200" baseline="0">
                <a:solidFill>
                  <a:srgbClr val="FF0000"/>
                </a:solidFill>
              </a:defRPr>
            </a:lvl1pPr>
          </a:lstStyle>
          <a:p>
            <a:r>
              <a:rPr lang="en-US" dirty="0"/>
              <a:t>Click icon to add picture. Use “Crop” feature on “Format” tab to resize or reposition picture once added. Reset slide layout if needed.</a:t>
            </a:r>
          </a:p>
        </p:txBody>
      </p:sp>
      <p:sp>
        <p:nvSpPr>
          <p:cNvPr id="11" name="Subtitle 2">
            <a:extLst>
              <a:ext uri="{FF2B5EF4-FFF2-40B4-BE49-F238E27FC236}">
                <a16:creationId xmlns:a16="http://schemas.microsoft.com/office/drawing/2014/main" id="{8FB48F80-0958-024B-9A43-F726B5006EF6}"/>
              </a:ext>
            </a:extLst>
          </p:cNvPr>
          <p:cNvSpPr>
            <a:spLocks noGrp="1"/>
          </p:cNvSpPr>
          <p:nvPr>
            <p:ph type="subTitle" idx="1" hasCustomPrompt="1"/>
          </p:nvPr>
        </p:nvSpPr>
        <p:spPr>
          <a:xfrm>
            <a:off x="4312994" y="1557463"/>
            <a:ext cx="7396407" cy="318476"/>
          </a:xfrm>
        </p:spPr>
        <p:txBody>
          <a:bodyPr anchor="t"/>
          <a:lstStyle>
            <a:lvl1pPr marL="0" indent="0" algn="l">
              <a:spcBef>
                <a:spcPts val="0"/>
              </a:spcBef>
              <a:spcAft>
                <a:spcPts val="0"/>
              </a:spcAft>
              <a:buNone/>
              <a:defRPr sz="18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4312994" y="2308118"/>
            <a:ext cx="7396406" cy="3813282"/>
          </a:xfrm>
        </p:spPr>
        <p:txBody>
          <a:bodyPr/>
          <a:lstStyle>
            <a:lvl1pPr>
              <a:defRPr sz="1500"/>
            </a:lvl1pPr>
            <a:lvl2pPr>
              <a:spcBef>
                <a:spcPts val="600"/>
              </a:spcBef>
              <a:defRPr sz="1500"/>
            </a:lvl2pPr>
            <a:lvl3pPr>
              <a:defRPr sz="1500"/>
            </a:lvl3pPr>
            <a:lvl4pPr>
              <a:defRPr sz="1500"/>
            </a:lvl4pPr>
            <a:lvl5pPr>
              <a:defRPr sz="1500"/>
            </a:lvl5pPr>
            <a:lvl6pPr>
              <a:defRPr/>
            </a:lvl6pPr>
            <a:lvl7pPr>
              <a:defRPr/>
            </a:lvl7pPr>
            <a:lvl8pPr>
              <a:defRPr/>
            </a:lvl8pPr>
          </a:lstStyle>
          <a:p>
            <a:pPr lvl="0"/>
            <a:r>
              <a:rPr lang="es-ES"/>
              <a:t>Editar el estilo de texto del patrón</a:t>
            </a:r>
          </a:p>
          <a:p>
            <a:pPr lvl="1"/>
            <a:r>
              <a:rPr lang="es-ES"/>
              <a:t>Segundo nivel</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4312995" y="1875118"/>
            <a:ext cx="7396406"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9" name="Title 1">
            <a:extLst>
              <a:ext uri="{FF2B5EF4-FFF2-40B4-BE49-F238E27FC236}">
                <a16:creationId xmlns:a16="http://schemas.microsoft.com/office/drawing/2014/main" id="{07528AAB-5505-3B4E-8BF6-F6444612DEDF}"/>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D0AFCE9C-2323-C542-8AB3-51D29AAD0400}"/>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0528994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x">
  <p:cSld name="Content + 3up">
    <p:bg>
      <p:bgPr>
        <a:solidFill>
          <a:srgbClr val="FFFFFF"/>
        </a:solidFill>
        <a:effectLst/>
      </p:bgPr>
    </p:bg>
    <p:spTree>
      <p:nvGrpSpPr>
        <p:cNvPr id="1" name=""/>
        <p:cNvGrpSpPr/>
        <p:nvPr/>
      </p:nvGrpSpPr>
      <p:grpSpPr>
        <a:xfrm>
          <a:off x="0" y="0"/>
          <a:ext cx="0" cy="0"/>
          <a:chOff x="0" y="0"/>
          <a:chExt cx="0" cy="0"/>
        </a:xfrm>
      </p:grpSpPr>
      <p:pic>
        <p:nvPicPr>
          <p:cNvPr id="206"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207" name="Shape 207"/>
          <p:cNvSpPr>
            <a:spLocks noGrp="1"/>
          </p:cNvSpPr>
          <p:nvPr>
            <p:ph type="pic" sz="half" idx="13"/>
          </p:nvPr>
        </p:nvSpPr>
        <p:spPr>
          <a:xfrm>
            <a:off x="4305300" y="3493742"/>
            <a:ext cx="7762875" cy="2881659"/>
          </a:xfrm>
          <a:prstGeom prst="rect">
            <a:avLst/>
          </a:prstGeom>
        </p:spPr>
        <p:txBody>
          <a:bodyPr lIns="91439" tIns="45719" rIns="91439" bIns="45719"/>
          <a:lstStyle/>
          <a:p>
            <a:endParaRPr/>
          </a:p>
        </p:txBody>
      </p:sp>
      <p:sp>
        <p:nvSpPr>
          <p:cNvPr id="208" name="Shape 208"/>
          <p:cNvSpPr>
            <a:spLocks noGrp="1"/>
          </p:cNvSpPr>
          <p:nvPr>
            <p:ph type="pic" sz="quarter" idx="14"/>
          </p:nvPr>
        </p:nvSpPr>
        <p:spPr>
          <a:xfrm>
            <a:off x="8185677" y="358775"/>
            <a:ext cx="3882499" cy="3009900"/>
          </a:xfrm>
          <a:prstGeom prst="rect">
            <a:avLst/>
          </a:prstGeom>
        </p:spPr>
        <p:txBody>
          <a:bodyPr lIns="91439" tIns="45719" rIns="91439" bIns="45719"/>
          <a:lstStyle/>
          <a:p>
            <a:endParaRPr/>
          </a:p>
        </p:txBody>
      </p:sp>
      <p:sp>
        <p:nvSpPr>
          <p:cNvPr id="209" name="Shape 209"/>
          <p:cNvSpPr>
            <a:spLocks noGrp="1"/>
          </p:cNvSpPr>
          <p:nvPr>
            <p:ph type="pic" sz="quarter" idx="15"/>
          </p:nvPr>
        </p:nvSpPr>
        <p:spPr>
          <a:xfrm>
            <a:off x="4305300" y="358775"/>
            <a:ext cx="3742665" cy="3009900"/>
          </a:xfrm>
          <a:prstGeom prst="rect">
            <a:avLst/>
          </a:prstGeom>
        </p:spPr>
        <p:txBody>
          <a:bodyPr lIns="91439" tIns="45719" rIns="91439" bIns="45719"/>
          <a:lstStyle/>
          <a:p>
            <a:endParaRPr/>
          </a:p>
        </p:txBody>
      </p:sp>
      <p:sp>
        <p:nvSpPr>
          <p:cNvPr id="210" name="Shape 210"/>
          <p:cNvSpPr>
            <a:spLocks noGrp="1"/>
          </p:cNvSpPr>
          <p:nvPr>
            <p:ph type="title"/>
          </p:nvPr>
        </p:nvSpPr>
        <p:spPr>
          <a:xfrm>
            <a:off x="457201" y="355600"/>
            <a:ext cx="3606801" cy="752475"/>
          </a:xfrm>
          <a:prstGeom prst="rect">
            <a:avLst/>
          </a:prstGeom>
        </p:spPr>
        <p:txBody>
          <a:bodyPr>
            <a:normAutofit/>
          </a:bodyPr>
          <a:lstStyle/>
          <a:p>
            <a:r>
              <a:t>Texto del título</a:t>
            </a:r>
          </a:p>
        </p:txBody>
      </p:sp>
      <p:sp>
        <p:nvSpPr>
          <p:cNvPr id="211" name="Shape 211"/>
          <p:cNvSpPr>
            <a:spLocks noGrp="1"/>
          </p:cNvSpPr>
          <p:nvPr>
            <p:ph type="body" sz="quarter" idx="1"/>
          </p:nvPr>
        </p:nvSpPr>
        <p:spPr>
          <a:xfrm>
            <a:off x="485776" y="1609725"/>
            <a:ext cx="3578224" cy="4508500"/>
          </a:xfrm>
          <a:prstGeom prst="rect">
            <a:avLst/>
          </a:prstGeom>
        </p:spPr>
        <p:txBody>
          <a:bodyPr>
            <a:normAutofit/>
          </a:bodyPr>
          <a:lstStyle/>
          <a:p>
            <a:r>
              <a:t>Nivel de texto 1</a:t>
            </a:r>
          </a:p>
          <a:p>
            <a:pPr lvl="1"/>
            <a:r>
              <a:t>Nivel de texto 2</a:t>
            </a:r>
          </a:p>
          <a:p>
            <a:pPr lvl="2"/>
            <a:r>
              <a:t>Nivel de texto 3</a:t>
            </a:r>
          </a:p>
          <a:p>
            <a:pPr lvl="3"/>
            <a:r>
              <a:t>Nivel de texto 4</a:t>
            </a:r>
          </a:p>
          <a:p>
            <a:pPr lvl="4"/>
            <a:r>
              <a:t>Nivel de texto 5</a:t>
            </a:r>
          </a:p>
        </p:txBody>
      </p:sp>
      <p:sp>
        <p:nvSpPr>
          <p:cNvPr id="212" name="Shape 212"/>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cSld>
  <p:clrMapOvr>
    <a:masterClrMapping/>
  </p:clrMapOvr>
  <p:transition spd="med"/>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2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F1E2AC-3027-3048-8FE1-F9832E4FA9E1}"/>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6" name="Text Placeholder 3">
            <a:extLst>
              <a:ext uri="{FF2B5EF4-FFF2-40B4-BE49-F238E27FC236}">
                <a16:creationId xmlns:a16="http://schemas.microsoft.com/office/drawing/2014/main" id="{478E7F30-C13D-CC4E-B648-9CE1EDF3C6B8}"/>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224" cy="1704974"/>
          </a:xfrm>
          <a:prstGeom prst="rect">
            <a:avLst/>
          </a:prstGeom>
          <a:solidFill>
            <a:srgbClr val="F0F0F0"/>
          </a:solidFill>
        </p:spPr>
        <p:txBody>
          <a:bodyPr/>
          <a:lstStyle>
            <a:lvl1pPr algn="l">
              <a:defRPr sz="1200" baseline="0">
                <a:solidFill>
                  <a:srgbClr val="FF0000"/>
                </a:solidFill>
              </a:defRPr>
            </a:lvl1pPr>
          </a:lstStyle>
          <a:p>
            <a:r>
              <a:rPr lang="en-US" dirty="0"/>
              <a:t>Click icon to add picture. Use “Crop” feature on “Format” tab to resize or reposition picture once added. Reset slide layout if needed.</a:t>
            </a:r>
          </a:p>
        </p:txBody>
      </p:sp>
      <p:sp>
        <p:nvSpPr>
          <p:cNvPr id="13"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6217381" y="1620838"/>
            <a:ext cx="1669319"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6226174" y="3548674"/>
            <a:ext cx="5495924"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485777" y="3548674"/>
            <a:ext cx="5495924"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6226176" y="4319152"/>
            <a:ext cx="5495922" cy="1802248"/>
          </a:xfrm>
        </p:spPr>
        <p:txBody>
          <a:bodyPr/>
          <a:lstStyle>
            <a:lvl1pPr>
              <a:defRPr sz="1500"/>
            </a:lvl1pPr>
            <a:lvl2pPr>
              <a:spcBef>
                <a:spcPts val="600"/>
              </a:spcBef>
              <a:defRPr sz="1500"/>
            </a:lvl2pPr>
            <a:lvl3pPr>
              <a:defRPr sz="1500"/>
            </a:lvl3pPr>
            <a:lvl4pPr>
              <a:defRPr sz="1500"/>
            </a:lvl4pPr>
            <a:lvl5pPr>
              <a:defRPr sz="1500"/>
            </a:lvl5pPr>
            <a:lvl6pPr>
              <a:defRPr/>
            </a:lvl6pPr>
          </a:lstStyle>
          <a:p>
            <a:pPr lvl="0"/>
            <a:r>
              <a:rPr lang="es-ES"/>
              <a:t>Editar el estilo de texto del patrón</a:t>
            </a:r>
          </a:p>
          <a:p>
            <a:pPr lvl="1"/>
            <a:r>
              <a:rPr lang="es-ES"/>
              <a:t>Segundo nivel</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6226174" y="3866329"/>
            <a:ext cx="5495924"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17" name="Text Placeholder 13">
            <a:extLst>
              <a:ext uri="{FF2B5EF4-FFF2-40B4-BE49-F238E27FC236}">
                <a16:creationId xmlns:a16="http://schemas.microsoft.com/office/drawing/2014/main" id="{FA11E823-0F61-B144-9A65-89A2F749C474}"/>
              </a:ext>
            </a:extLst>
          </p:cNvPr>
          <p:cNvSpPr>
            <a:spLocks noGrp="1"/>
          </p:cNvSpPr>
          <p:nvPr>
            <p:ph type="body" sz="quarter" idx="14"/>
          </p:nvPr>
        </p:nvSpPr>
        <p:spPr>
          <a:xfrm>
            <a:off x="485779" y="4319152"/>
            <a:ext cx="5495922" cy="1802248"/>
          </a:xfrm>
        </p:spPr>
        <p:txBody>
          <a:bodyPr/>
          <a:lstStyle>
            <a:lvl1pPr>
              <a:defRPr sz="1500"/>
            </a:lvl1pPr>
            <a:lvl2pPr>
              <a:spcBef>
                <a:spcPts val="600"/>
              </a:spcBef>
              <a:defRPr sz="1500"/>
            </a:lvl2pPr>
            <a:lvl3pPr>
              <a:defRPr sz="1500"/>
            </a:lvl3pPr>
            <a:lvl4pPr>
              <a:defRPr sz="1500"/>
            </a:lvl4pPr>
            <a:lvl5pPr>
              <a:defRPr sz="1500"/>
            </a:lvl5pPr>
          </a:lstStyle>
          <a:p>
            <a:pPr lvl="0"/>
            <a:r>
              <a:rPr lang="es-ES"/>
              <a:t>Editar el estilo de texto del patrón</a:t>
            </a:r>
          </a:p>
          <a:p>
            <a:pPr lvl="1"/>
            <a:r>
              <a:rPr lang="es-ES"/>
              <a:t>Segundo nivel</a:t>
            </a:r>
          </a:p>
        </p:txBody>
      </p:sp>
      <p:sp>
        <p:nvSpPr>
          <p:cNvPr id="1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485777" y="3866329"/>
            <a:ext cx="5495924"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Tree>
    <p:extLst>
      <p:ext uri="{BB962C8B-B14F-4D97-AF65-F5344CB8AC3E}">
        <p14:creationId xmlns:p14="http://schemas.microsoft.com/office/powerpoint/2010/main" val="333932381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3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224"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3"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4308478" y="1620838"/>
            <a:ext cx="1673222" cy="1704974"/>
          </a:xfrm>
          <a:prstGeom prst="rect">
            <a:avLst/>
          </a:prstGeom>
          <a:solidFill>
            <a:srgbClr val="F0F0F0"/>
          </a:solidFill>
        </p:spPr>
        <p:txBody>
          <a:bodyPr/>
          <a:lstStyle>
            <a:lvl1pPr marL="0" marR="0" indent="0" algn="l" defTabSz="457200" rtl="0" eaLnBrk="1" fontAlgn="auto" latinLnBrk="0" hangingPunct="1">
              <a:lnSpc>
                <a:spcPct val="100000"/>
              </a:lnSpc>
              <a:spcBef>
                <a:spcPts val="1200"/>
              </a:spcBef>
              <a:spcAft>
                <a:spcPts val="600"/>
              </a:spcAft>
              <a:buClrTx/>
              <a:buSzTx/>
              <a:buFont typeface="Arial"/>
              <a:buNone/>
              <a:tabLst/>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4305301" y="3548674"/>
            <a:ext cx="3581400"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485777" y="3548674"/>
            <a:ext cx="3578223"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4305303" y="4319152"/>
            <a:ext cx="3581399" cy="1802248"/>
          </a:xfrm>
        </p:spPr>
        <p:txBody>
          <a:bodyPr/>
          <a:lstStyle>
            <a:lvl1pPr>
              <a:defRPr sz="1500"/>
            </a:lvl1pPr>
            <a:lvl2pPr>
              <a:spcBef>
                <a:spcPts val="600"/>
              </a:spcBef>
              <a:defRPr sz="1500"/>
            </a:lvl2pPr>
            <a:lvl3pPr>
              <a:defRPr sz="1500"/>
            </a:lvl3pPr>
            <a:lvl4pPr>
              <a:defRPr sz="1500"/>
            </a:lvl4pPr>
            <a:lvl5pPr>
              <a:defRPr sz="1500"/>
            </a:lvl5pPr>
            <a:lvl6pPr marL="919162" indent="0">
              <a:buNone/>
              <a:defRPr/>
            </a:lvl6pPr>
          </a:lstStyle>
          <a:p>
            <a:pPr lvl="0"/>
            <a:r>
              <a:rPr lang="es-ES"/>
              <a:t>Editar el estilo de texto del patrón</a:t>
            </a:r>
          </a:p>
          <a:p>
            <a:pPr lvl="1"/>
            <a:r>
              <a:rPr lang="es-ES"/>
              <a:t>Segundo nivel</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4305301" y="3866329"/>
            <a:ext cx="3581400" cy="318476"/>
          </a:xfrm>
        </p:spPr>
        <p:txBody>
          <a:bodyPr/>
          <a:lstStyle>
            <a:lvl1pPr marL="0" indent="0">
              <a:spcBef>
                <a:spcPts val="0"/>
              </a:spcBef>
              <a:spcAft>
                <a:spcPts val="0"/>
              </a:spcAft>
              <a:buNone/>
              <a:defRPr sz="20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17" name="Text Placeholder 13">
            <a:extLst>
              <a:ext uri="{FF2B5EF4-FFF2-40B4-BE49-F238E27FC236}">
                <a16:creationId xmlns:a16="http://schemas.microsoft.com/office/drawing/2014/main" id="{FA11E823-0F61-B144-9A65-89A2F749C474}"/>
              </a:ext>
            </a:extLst>
          </p:cNvPr>
          <p:cNvSpPr>
            <a:spLocks noGrp="1"/>
          </p:cNvSpPr>
          <p:nvPr>
            <p:ph type="body" sz="quarter" idx="14"/>
          </p:nvPr>
        </p:nvSpPr>
        <p:spPr>
          <a:xfrm>
            <a:off x="485779" y="4319152"/>
            <a:ext cx="3578222" cy="1802248"/>
          </a:xfrm>
        </p:spPr>
        <p:txBody>
          <a:bodyPr/>
          <a:lstStyle>
            <a:lvl1pPr>
              <a:defRPr sz="1500"/>
            </a:lvl1pPr>
            <a:lvl2pPr>
              <a:spcBef>
                <a:spcPts val="600"/>
              </a:spcBef>
              <a:defRPr sz="1500"/>
            </a:lvl2pPr>
            <a:lvl3pPr>
              <a:defRPr sz="1500"/>
            </a:lvl3pPr>
            <a:lvl4pPr>
              <a:defRPr sz="1500"/>
            </a:lvl4pPr>
            <a:lvl5pPr>
              <a:defRPr sz="1500"/>
            </a:lvl5pPr>
            <a:lvl6pPr>
              <a:defRPr/>
            </a:lvl6pPr>
          </a:lstStyle>
          <a:p>
            <a:pPr lvl="0"/>
            <a:r>
              <a:rPr lang="es-ES"/>
              <a:t>Editar el estilo de texto del patrón</a:t>
            </a:r>
          </a:p>
          <a:p>
            <a:pPr lvl="1"/>
            <a:r>
              <a:rPr lang="es-ES"/>
              <a:t>Segundo nivel</a:t>
            </a:r>
          </a:p>
        </p:txBody>
      </p:sp>
      <p:sp>
        <p:nvSpPr>
          <p:cNvPr id="1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485777" y="3866329"/>
            <a:ext cx="3578223"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1" name="Text Placeholder 3">
            <a:extLst>
              <a:ext uri="{FF2B5EF4-FFF2-40B4-BE49-F238E27FC236}">
                <a16:creationId xmlns:a16="http://schemas.microsoft.com/office/drawing/2014/main" id="{AC0CDF27-1ADD-8342-879D-707AFEFCFEF8}"/>
              </a:ext>
            </a:extLst>
          </p:cNvPr>
          <p:cNvSpPr>
            <a:spLocks noGrp="1"/>
          </p:cNvSpPr>
          <p:nvPr>
            <p:ph type="body" sz="half" idx="18" hasCustomPrompt="1"/>
          </p:nvPr>
        </p:nvSpPr>
        <p:spPr>
          <a:xfrm>
            <a:off x="8130667" y="3548674"/>
            <a:ext cx="3578733"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2" name="Text Placeholder 13">
            <a:extLst>
              <a:ext uri="{FF2B5EF4-FFF2-40B4-BE49-F238E27FC236}">
                <a16:creationId xmlns:a16="http://schemas.microsoft.com/office/drawing/2014/main" id="{E53B07F7-1C0A-6047-A541-C601FCBCE8EF}"/>
              </a:ext>
            </a:extLst>
          </p:cNvPr>
          <p:cNvSpPr>
            <a:spLocks noGrp="1"/>
          </p:cNvSpPr>
          <p:nvPr>
            <p:ph type="body" sz="quarter" idx="19"/>
          </p:nvPr>
        </p:nvSpPr>
        <p:spPr>
          <a:xfrm>
            <a:off x="8130670" y="4319152"/>
            <a:ext cx="3578732" cy="1802248"/>
          </a:xfrm>
        </p:spPr>
        <p:txBody>
          <a:bodyPr/>
          <a:lstStyle>
            <a:lvl1pPr>
              <a:defRPr sz="1500"/>
            </a:lvl1pPr>
            <a:lvl2pPr>
              <a:spcBef>
                <a:spcPts val="600"/>
              </a:spcBef>
              <a:defRPr sz="1500"/>
            </a:lvl2pPr>
            <a:lvl3pPr>
              <a:defRPr sz="1500"/>
            </a:lvl3pPr>
            <a:lvl4pPr>
              <a:defRPr sz="1500"/>
            </a:lvl4pPr>
            <a:lvl5pPr>
              <a:defRPr sz="1500"/>
            </a:lvl5pPr>
            <a:lvl6pPr marL="919162" indent="0">
              <a:buNone/>
              <a:defRPr/>
            </a:lvl6pPr>
          </a:lstStyle>
          <a:p>
            <a:pPr lvl="0"/>
            <a:r>
              <a:rPr lang="es-ES"/>
              <a:t>Editar el estilo de texto del patrón</a:t>
            </a:r>
          </a:p>
          <a:p>
            <a:pPr lvl="1"/>
            <a:r>
              <a:rPr lang="es-ES"/>
              <a:t>Segundo nivel</a:t>
            </a:r>
          </a:p>
        </p:txBody>
      </p:sp>
      <p:sp>
        <p:nvSpPr>
          <p:cNvPr id="23" name="Text Placeholder 3">
            <a:extLst>
              <a:ext uri="{FF2B5EF4-FFF2-40B4-BE49-F238E27FC236}">
                <a16:creationId xmlns:a16="http://schemas.microsoft.com/office/drawing/2014/main" id="{94746E12-3EC2-5141-8C5F-4B4265F409C4}"/>
              </a:ext>
            </a:extLst>
          </p:cNvPr>
          <p:cNvSpPr>
            <a:spLocks noGrp="1"/>
          </p:cNvSpPr>
          <p:nvPr>
            <p:ph type="body" sz="half" idx="20" hasCustomPrompt="1"/>
          </p:nvPr>
        </p:nvSpPr>
        <p:spPr>
          <a:xfrm>
            <a:off x="8130667" y="3866329"/>
            <a:ext cx="3578733"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4" name="Picture Placeholder 9">
            <a:extLst>
              <a:ext uri="{FF2B5EF4-FFF2-40B4-BE49-F238E27FC236}">
                <a16:creationId xmlns:a16="http://schemas.microsoft.com/office/drawing/2014/main" id="{FF57ADCE-A8E0-014E-9057-FA914AC44AB6}"/>
              </a:ext>
            </a:extLst>
          </p:cNvPr>
          <p:cNvSpPr>
            <a:spLocks noGrp="1" noChangeAspect="1"/>
          </p:cNvSpPr>
          <p:nvPr>
            <p:ph type="pic" sz="quarter" idx="21" hasCustomPrompt="1"/>
          </p:nvPr>
        </p:nvSpPr>
        <p:spPr>
          <a:xfrm>
            <a:off x="8128001" y="1620838"/>
            <a:ext cx="1676399"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25" name="Title 1">
            <a:extLst>
              <a:ext uri="{FF2B5EF4-FFF2-40B4-BE49-F238E27FC236}">
                <a16:creationId xmlns:a16="http://schemas.microsoft.com/office/drawing/2014/main" id="{1A557E69-B948-EE4F-8D3C-094A819B91FC}"/>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26" name="Text Placeholder 3">
            <a:extLst>
              <a:ext uri="{FF2B5EF4-FFF2-40B4-BE49-F238E27FC236}">
                <a16:creationId xmlns:a16="http://schemas.microsoft.com/office/drawing/2014/main" id="{E15F6C54-7BEE-0A47-9C13-2AD0DEE8A17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258382989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4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224"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3"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6226173" y="1620838"/>
            <a:ext cx="1660527"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8127999" y="3800320"/>
            <a:ext cx="35814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2387599" y="3800320"/>
            <a:ext cx="35941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hasCustomPrompt="1"/>
          </p:nvPr>
        </p:nvSpPr>
        <p:spPr>
          <a:xfrm>
            <a:off x="8128001" y="4502460"/>
            <a:ext cx="35814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8127999" y="4117975"/>
            <a:ext cx="35814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17" name="Text Placeholder 13">
            <a:extLst>
              <a:ext uri="{FF2B5EF4-FFF2-40B4-BE49-F238E27FC236}">
                <a16:creationId xmlns:a16="http://schemas.microsoft.com/office/drawing/2014/main" id="{FA11E823-0F61-B144-9A65-89A2F749C474}"/>
              </a:ext>
            </a:extLst>
          </p:cNvPr>
          <p:cNvSpPr>
            <a:spLocks noGrp="1"/>
          </p:cNvSpPr>
          <p:nvPr>
            <p:ph type="body" sz="quarter" idx="14" hasCustomPrompt="1"/>
          </p:nvPr>
        </p:nvSpPr>
        <p:spPr>
          <a:xfrm>
            <a:off x="2387601" y="4502460"/>
            <a:ext cx="35941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1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2387599" y="4117975"/>
            <a:ext cx="35941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1" name="Text Placeholder 3">
            <a:extLst>
              <a:ext uri="{FF2B5EF4-FFF2-40B4-BE49-F238E27FC236}">
                <a16:creationId xmlns:a16="http://schemas.microsoft.com/office/drawing/2014/main" id="{5F7713A0-A151-AC43-ADBC-57561531851D}"/>
              </a:ext>
            </a:extLst>
          </p:cNvPr>
          <p:cNvSpPr>
            <a:spLocks noGrp="1"/>
          </p:cNvSpPr>
          <p:nvPr>
            <p:ph type="body" sz="half" idx="18" hasCustomPrompt="1"/>
          </p:nvPr>
        </p:nvSpPr>
        <p:spPr>
          <a:xfrm>
            <a:off x="8127999" y="1564115"/>
            <a:ext cx="35814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2" name="Text Placeholder 3">
            <a:extLst>
              <a:ext uri="{FF2B5EF4-FFF2-40B4-BE49-F238E27FC236}">
                <a16:creationId xmlns:a16="http://schemas.microsoft.com/office/drawing/2014/main" id="{36990999-1C86-3C4A-9E86-512FFE509F06}"/>
              </a:ext>
            </a:extLst>
          </p:cNvPr>
          <p:cNvSpPr>
            <a:spLocks noGrp="1"/>
          </p:cNvSpPr>
          <p:nvPr>
            <p:ph type="body" sz="half" idx="19" hasCustomPrompt="1"/>
          </p:nvPr>
        </p:nvSpPr>
        <p:spPr>
          <a:xfrm>
            <a:off x="2387599" y="1564115"/>
            <a:ext cx="35941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3" name="Text Placeholder 13">
            <a:extLst>
              <a:ext uri="{FF2B5EF4-FFF2-40B4-BE49-F238E27FC236}">
                <a16:creationId xmlns:a16="http://schemas.microsoft.com/office/drawing/2014/main" id="{A71029AB-D37D-2644-A741-0C081A0EFD23}"/>
              </a:ext>
            </a:extLst>
          </p:cNvPr>
          <p:cNvSpPr>
            <a:spLocks noGrp="1"/>
          </p:cNvSpPr>
          <p:nvPr>
            <p:ph type="body" sz="quarter" idx="20" hasCustomPrompt="1"/>
          </p:nvPr>
        </p:nvSpPr>
        <p:spPr>
          <a:xfrm>
            <a:off x="8128001" y="2266255"/>
            <a:ext cx="35814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24" name="Text Placeholder 3">
            <a:extLst>
              <a:ext uri="{FF2B5EF4-FFF2-40B4-BE49-F238E27FC236}">
                <a16:creationId xmlns:a16="http://schemas.microsoft.com/office/drawing/2014/main" id="{C8BA4402-6CAF-594E-89D2-451CACAEAF49}"/>
              </a:ext>
            </a:extLst>
          </p:cNvPr>
          <p:cNvSpPr>
            <a:spLocks noGrp="1"/>
          </p:cNvSpPr>
          <p:nvPr>
            <p:ph type="body" sz="half" idx="21" hasCustomPrompt="1"/>
          </p:nvPr>
        </p:nvSpPr>
        <p:spPr>
          <a:xfrm>
            <a:off x="8127999" y="1881770"/>
            <a:ext cx="35814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5" name="Text Placeholder 13">
            <a:extLst>
              <a:ext uri="{FF2B5EF4-FFF2-40B4-BE49-F238E27FC236}">
                <a16:creationId xmlns:a16="http://schemas.microsoft.com/office/drawing/2014/main" id="{265C0D49-3234-5E4D-894F-6B46C7FB1261}"/>
              </a:ext>
            </a:extLst>
          </p:cNvPr>
          <p:cNvSpPr>
            <a:spLocks noGrp="1"/>
          </p:cNvSpPr>
          <p:nvPr>
            <p:ph type="body" sz="quarter" idx="22" hasCustomPrompt="1"/>
          </p:nvPr>
        </p:nvSpPr>
        <p:spPr>
          <a:xfrm>
            <a:off x="2387601" y="2266255"/>
            <a:ext cx="35941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26" name="Text Placeholder 3">
            <a:extLst>
              <a:ext uri="{FF2B5EF4-FFF2-40B4-BE49-F238E27FC236}">
                <a16:creationId xmlns:a16="http://schemas.microsoft.com/office/drawing/2014/main" id="{0257D817-539C-DD4E-AE71-8174AB5D41C0}"/>
              </a:ext>
            </a:extLst>
          </p:cNvPr>
          <p:cNvSpPr>
            <a:spLocks noGrp="1"/>
          </p:cNvSpPr>
          <p:nvPr>
            <p:ph type="body" sz="half" idx="23" hasCustomPrompt="1"/>
          </p:nvPr>
        </p:nvSpPr>
        <p:spPr>
          <a:xfrm>
            <a:off x="2387599" y="1881770"/>
            <a:ext cx="35941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7" name="Picture Placeholder 9">
            <a:extLst>
              <a:ext uri="{FF2B5EF4-FFF2-40B4-BE49-F238E27FC236}">
                <a16:creationId xmlns:a16="http://schemas.microsoft.com/office/drawing/2014/main" id="{6BD28324-F3EB-BE41-9D0C-98C0D13B4016}"/>
              </a:ext>
            </a:extLst>
          </p:cNvPr>
          <p:cNvSpPr>
            <a:spLocks noGrp="1" noChangeAspect="1"/>
          </p:cNvSpPr>
          <p:nvPr>
            <p:ph type="pic" sz="quarter" idx="24" hasCustomPrompt="1"/>
          </p:nvPr>
        </p:nvSpPr>
        <p:spPr>
          <a:xfrm>
            <a:off x="485776" y="3879092"/>
            <a:ext cx="1673224"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28" name="Picture Placeholder 9">
            <a:extLst>
              <a:ext uri="{FF2B5EF4-FFF2-40B4-BE49-F238E27FC236}">
                <a16:creationId xmlns:a16="http://schemas.microsoft.com/office/drawing/2014/main" id="{F9D2F30B-E1C7-574E-BAC9-2FA330852737}"/>
              </a:ext>
            </a:extLst>
          </p:cNvPr>
          <p:cNvSpPr>
            <a:spLocks noGrp="1" noChangeAspect="1"/>
          </p:cNvSpPr>
          <p:nvPr>
            <p:ph type="pic" sz="quarter" idx="25" hasCustomPrompt="1"/>
          </p:nvPr>
        </p:nvSpPr>
        <p:spPr>
          <a:xfrm>
            <a:off x="6226173" y="3879092"/>
            <a:ext cx="1660527"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29" name="Title 1">
            <a:extLst>
              <a:ext uri="{FF2B5EF4-FFF2-40B4-BE49-F238E27FC236}">
                <a16:creationId xmlns:a16="http://schemas.microsoft.com/office/drawing/2014/main" id="{7AA2A475-59E8-7C47-A042-7D18D3F485F0}"/>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30" name="Text Placeholder 3">
            <a:extLst>
              <a:ext uri="{FF2B5EF4-FFF2-40B4-BE49-F238E27FC236}">
                <a16:creationId xmlns:a16="http://schemas.microsoft.com/office/drawing/2014/main" id="{89251D6D-CA0A-B446-980B-987AD095401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309753785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8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22" name="Text Placeholder 3">
            <a:extLst>
              <a:ext uri="{FF2B5EF4-FFF2-40B4-BE49-F238E27FC236}">
                <a16:creationId xmlns:a16="http://schemas.microsoft.com/office/drawing/2014/main" id="{36990999-1C86-3C4A-9E86-512FFE509F06}"/>
              </a:ext>
            </a:extLst>
          </p:cNvPr>
          <p:cNvSpPr>
            <a:spLocks noGrp="1"/>
          </p:cNvSpPr>
          <p:nvPr>
            <p:ph type="body" sz="half" idx="19" hasCustomPrompt="1"/>
          </p:nvPr>
        </p:nvSpPr>
        <p:spPr>
          <a:xfrm>
            <a:off x="48577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6" name="Text Placeholder 3">
            <a:extLst>
              <a:ext uri="{FF2B5EF4-FFF2-40B4-BE49-F238E27FC236}">
                <a16:creationId xmlns:a16="http://schemas.microsoft.com/office/drawing/2014/main" id="{0257D817-539C-DD4E-AE71-8174AB5D41C0}"/>
              </a:ext>
            </a:extLst>
          </p:cNvPr>
          <p:cNvSpPr>
            <a:spLocks noGrp="1"/>
          </p:cNvSpPr>
          <p:nvPr>
            <p:ph type="body" sz="half" idx="23" hasCustomPrompt="1"/>
          </p:nvPr>
        </p:nvSpPr>
        <p:spPr>
          <a:xfrm>
            <a:off x="48577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9" name="Title 1">
            <a:extLst>
              <a:ext uri="{FF2B5EF4-FFF2-40B4-BE49-F238E27FC236}">
                <a16:creationId xmlns:a16="http://schemas.microsoft.com/office/drawing/2014/main" id="{7AA2A475-59E8-7C47-A042-7D18D3F485F0}"/>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30" name="Text Placeholder 3">
            <a:extLst>
              <a:ext uri="{FF2B5EF4-FFF2-40B4-BE49-F238E27FC236}">
                <a16:creationId xmlns:a16="http://schemas.microsoft.com/office/drawing/2014/main" id="{89251D6D-CA0A-B446-980B-987AD095401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32"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4" hasCustomPrompt="1"/>
          </p:nvPr>
        </p:nvSpPr>
        <p:spPr>
          <a:xfrm>
            <a:off x="3361056" y="162083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33"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5" hasCustomPrompt="1"/>
          </p:nvPr>
        </p:nvSpPr>
        <p:spPr>
          <a:xfrm>
            <a:off x="6210300" y="162083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34"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6" hasCustomPrompt="1"/>
          </p:nvPr>
        </p:nvSpPr>
        <p:spPr>
          <a:xfrm>
            <a:off x="9080500" y="162083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35" name="Text Placeholder 3">
            <a:extLst>
              <a:ext uri="{FF2B5EF4-FFF2-40B4-BE49-F238E27FC236}">
                <a16:creationId xmlns:a16="http://schemas.microsoft.com/office/drawing/2014/main" id="{36990999-1C86-3C4A-9E86-512FFE509F06}"/>
              </a:ext>
            </a:extLst>
          </p:cNvPr>
          <p:cNvSpPr>
            <a:spLocks noGrp="1"/>
          </p:cNvSpPr>
          <p:nvPr>
            <p:ph type="body" sz="half" idx="27" hasCustomPrompt="1"/>
          </p:nvPr>
        </p:nvSpPr>
        <p:spPr>
          <a:xfrm>
            <a:off x="336105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36" name="Text Placeholder 3">
            <a:extLst>
              <a:ext uri="{FF2B5EF4-FFF2-40B4-BE49-F238E27FC236}">
                <a16:creationId xmlns:a16="http://schemas.microsoft.com/office/drawing/2014/main" id="{0257D817-539C-DD4E-AE71-8174AB5D41C0}"/>
              </a:ext>
            </a:extLst>
          </p:cNvPr>
          <p:cNvSpPr>
            <a:spLocks noGrp="1"/>
          </p:cNvSpPr>
          <p:nvPr>
            <p:ph type="body" sz="half" idx="28" hasCustomPrompt="1"/>
          </p:nvPr>
        </p:nvSpPr>
        <p:spPr>
          <a:xfrm>
            <a:off x="336105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37" name="Text Placeholder 3">
            <a:extLst>
              <a:ext uri="{FF2B5EF4-FFF2-40B4-BE49-F238E27FC236}">
                <a16:creationId xmlns:a16="http://schemas.microsoft.com/office/drawing/2014/main" id="{36990999-1C86-3C4A-9E86-512FFE509F06}"/>
              </a:ext>
            </a:extLst>
          </p:cNvPr>
          <p:cNvSpPr>
            <a:spLocks noGrp="1"/>
          </p:cNvSpPr>
          <p:nvPr>
            <p:ph type="body" sz="half" idx="29" hasCustomPrompt="1"/>
          </p:nvPr>
        </p:nvSpPr>
        <p:spPr>
          <a:xfrm>
            <a:off x="620585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38" name="Text Placeholder 3">
            <a:extLst>
              <a:ext uri="{FF2B5EF4-FFF2-40B4-BE49-F238E27FC236}">
                <a16:creationId xmlns:a16="http://schemas.microsoft.com/office/drawing/2014/main" id="{0257D817-539C-DD4E-AE71-8174AB5D41C0}"/>
              </a:ext>
            </a:extLst>
          </p:cNvPr>
          <p:cNvSpPr>
            <a:spLocks noGrp="1"/>
          </p:cNvSpPr>
          <p:nvPr>
            <p:ph type="body" sz="half" idx="30" hasCustomPrompt="1"/>
          </p:nvPr>
        </p:nvSpPr>
        <p:spPr>
          <a:xfrm>
            <a:off x="620585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39" name="Text Placeholder 3">
            <a:extLst>
              <a:ext uri="{FF2B5EF4-FFF2-40B4-BE49-F238E27FC236}">
                <a16:creationId xmlns:a16="http://schemas.microsoft.com/office/drawing/2014/main" id="{36990999-1C86-3C4A-9E86-512FFE509F06}"/>
              </a:ext>
            </a:extLst>
          </p:cNvPr>
          <p:cNvSpPr>
            <a:spLocks noGrp="1"/>
          </p:cNvSpPr>
          <p:nvPr>
            <p:ph type="body" sz="half" idx="31" hasCustomPrompt="1"/>
          </p:nvPr>
        </p:nvSpPr>
        <p:spPr>
          <a:xfrm>
            <a:off x="908113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40" name="Text Placeholder 3">
            <a:extLst>
              <a:ext uri="{FF2B5EF4-FFF2-40B4-BE49-F238E27FC236}">
                <a16:creationId xmlns:a16="http://schemas.microsoft.com/office/drawing/2014/main" id="{0257D817-539C-DD4E-AE71-8174AB5D41C0}"/>
              </a:ext>
            </a:extLst>
          </p:cNvPr>
          <p:cNvSpPr>
            <a:spLocks noGrp="1"/>
          </p:cNvSpPr>
          <p:nvPr>
            <p:ph type="body" sz="half" idx="32" hasCustomPrompt="1"/>
          </p:nvPr>
        </p:nvSpPr>
        <p:spPr>
          <a:xfrm>
            <a:off x="908113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41"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3" hasCustomPrompt="1"/>
          </p:nvPr>
        </p:nvSpPr>
        <p:spPr>
          <a:xfrm>
            <a:off x="485776" y="391699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42" name="Text Placeholder 3">
            <a:extLst>
              <a:ext uri="{FF2B5EF4-FFF2-40B4-BE49-F238E27FC236}">
                <a16:creationId xmlns:a16="http://schemas.microsoft.com/office/drawing/2014/main" id="{36990999-1C86-3C4A-9E86-512FFE509F06}"/>
              </a:ext>
            </a:extLst>
          </p:cNvPr>
          <p:cNvSpPr>
            <a:spLocks noGrp="1"/>
          </p:cNvSpPr>
          <p:nvPr>
            <p:ph type="body" sz="half" idx="34" hasCustomPrompt="1"/>
          </p:nvPr>
        </p:nvSpPr>
        <p:spPr>
          <a:xfrm>
            <a:off x="48577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43" name="Text Placeholder 3">
            <a:extLst>
              <a:ext uri="{FF2B5EF4-FFF2-40B4-BE49-F238E27FC236}">
                <a16:creationId xmlns:a16="http://schemas.microsoft.com/office/drawing/2014/main" id="{0257D817-539C-DD4E-AE71-8174AB5D41C0}"/>
              </a:ext>
            </a:extLst>
          </p:cNvPr>
          <p:cNvSpPr>
            <a:spLocks noGrp="1"/>
          </p:cNvSpPr>
          <p:nvPr>
            <p:ph type="body" sz="half" idx="35" hasCustomPrompt="1"/>
          </p:nvPr>
        </p:nvSpPr>
        <p:spPr>
          <a:xfrm>
            <a:off x="48577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44"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6" hasCustomPrompt="1"/>
          </p:nvPr>
        </p:nvSpPr>
        <p:spPr>
          <a:xfrm>
            <a:off x="3361056" y="391699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45"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7" hasCustomPrompt="1"/>
          </p:nvPr>
        </p:nvSpPr>
        <p:spPr>
          <a:xfrm>
            <a:off x="6210300" y="391699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46"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8" hasCustomPrompt="1"/>
          </p:nvPr>
        </p:nvSpPr>
        <p:spPr>
          <a:xfrm>
            <a:off x="9080500" y="391699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47" name="Text Placeholder 3">
            <a:extLst>
              <a:ext uri="{FF2B5EF4-FFF2-40B4-BE49-F238E27FC236}">
                <a16:creationId xmlns:a16="http://schemas.microsoft.com/office/drawing/2014/main" id="{36990999-1C86-3C4A-9E86-512FFE509F06}"/>
              </a:ext>
            </a:extLst>
          </p:cNvPr>
          <p:cNvSpPr>
            <a:spLocks noGrp="1"/>
          </p:cNvSpPr>
          <p:nvPr>
            <p:ph type="body" sz="half" idx="39" hasCustomPrompt="1"/>
          </p:nvPr>
        </p:nvSpPr>
        <p:spPr>
          <a:xfrm>
            <a:off x="336105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48" name="Text Placeholder 3">
            <a:extLst>
              <a:ext uri="{FF2B5EF4-FFF2-40B4-BE49-F238E27FC236}">
                <a16:creationId xmlns:a16="http://schemas.microsoft.com/office/drawing/2014/main" id="{0257D817-539C-DD4E-AE71-8174AB5D41C0}"/>
              </a:ext>
            </a:extLst>
          </p:cNvPr>
          <p:cNvSpPr>
            <a:spLocks noGrp="1"/>
          </p:cNvSpPr>
          <p:nvPr>
            <p:ph type="body" sz="half" idx="40" hasCustomPrompt="1"/>
          </p:nvPr>
        </p:nvSpPr>
        <p:spPr>
          <a:xfrm>
            <a:off x="336105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49" name="Text Placeholder 3">
            <a:extLst>
              <a:ext uri="{FF2B5EF4-FFF2-40B4-BE49-F238E27FC236}">
                <a16:creationId xmlns:a16="http://schemas.microsoft.com/office/drawing/2014/main" id="{36990999-1C86-3C4A-9E86-512FFE509F06}"/>
              </a:ext>
            </a:extLst>
          </p:cNvPr>
          <p:cNvSpPr>
            <a:spLocks noGrp="1"/>
          </p:cNvSpPr>
          <p:nvPr>
            <p:ph type="body" sz="half" idx="41" hasCustomPrompt="1"/>
          </p:nvPr>
        </p:nvSpPr>
        <p:spPr>
          <a:xfrm>
            <a:off x="620585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50" name="Text Placeholder 3">
            <a:extLst>
              <a:ext uri="{FF2B5EF4-FFF2-40B4-BE49-F238E27FC236}">
                <a16:creationId xmlns:a16="http://schemas.microsoft.com/office/drawing/2014/main" id="{0257D817-539C-DD4E-AE71-8174AB5D41C0}"/>
              </a:ext>
            </a:extLst>
          </p:cNvPr>
          <p:cNvSpPr>
            <a:spLocks noGrp="1"/>
          </p:cNvSpPr>
          <p:nvPr>
            <p:ph type="body" sz="half" idx="42" hasCustomPrompt="1"/>
          </p:nvPr>
        </p:nvSpPr>
        <p:spPr>
          <a:xfrm>
            <a:off x="620585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51" name="Text Placeholder 3">
            <a:extLst>
              <a:ext uri="{FF2B5EF4-FFF2-40B4-BE49-F238E27FC236}">
                <a16:creationId xmlns:a16="http://schemas.microsoft.com/office/drawing/2014/main" id="{36990999-1C86-3C4A-9E86-512FFE509F06}"/>
              </a:ext>
            </a:extLst>
          </p:cNvPr>
          <p:cNvSpPr>
            <a:spLocks noGrp="1"/>
          </p:cNvSpPr>
          <p:nvPr>
            <p:ph type="body" sz="half" idx="43" hasCustomPrompt="1"/>
          </p:nvPr>
        </p:nvSpPr>
        <p:spPr>
          <a:xfrm>
            <a:off x="908113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52" name="Text Placeholder 3">
            <a:extLst>
              <a:ext uri="{FF2B5EF4-FFF2-40B4-BE49-F238E27FC236}">
                <a16:creationId xmlns:a16="http://schemas.microsoft.com/office/drawing/2014/main" id="{0257D817-539C-DD4E-AE71-8174AB5D41C0}"/>
              </a:ext>
            </a:extLst>
          </p:cNvPr>
          <p:cNvSpPr>
            <a:spLocks noGrp="1"/>
          </p:cNvSpPr>
          <p:nvPr>
            <p:ph type="body" sz="half" idx="44" hasCustomPrompt="1"/>
          </p:nvPr>
        </p:nvSpPr>
        <p:spPr>
          <a:xfrm>
            <a:off x="908113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Tree>
    <p:extLst>
      <p:ext uri="{BB962C8B-B14F-4D97-AF65-F5344CB8AC3E}">
        <p14:creationId xmlns:p14="http://schemas.microsoft.com/office/powerpoint/2010/main" val="156226439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p:cSld name="QUOT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54EA0D7-47B3-5149-B51A-CABC5742FBE7}"/>
              </a:ext>
            </a:extLst>
          </p:cNvPr>
          <p:cNvSpPr txBox="1"/>
          <p:nvPr/>
        </p:nvSpPr>
        <p:spPr>
          <a:xfrm>
            <a:off x="374977" y="2505671"/>
            <a:ext cx="5301131" cy="184665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Quotes</a:t>
            </a:r>
          </a:p>
        </p:txBody>
      </p:sp>
    </p:spTree>
    <p:extLst>
      <p:ext uri="{BB962C8B-B14F-4D97-AF65-F5344CB8AC3E}">
        <p14:creationId xmlns:p14="http://schemas.microsoft.com/office/powerpoint/2010/main" val="267042858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160A2B-5371-CA41-BD2F-F42585E23A6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7B160A2B-5371-CA41-BD2F-F42585E23A6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3">
            <a:extLst>
              <a:ext uri="{FF2B5EF4-FFF2-40B4-BE49-F238E27FC236}">
                <a16:creationId xmlns:a16="http://schemas.microsoft.com/office/drawing/2014/main" id="{2C68D909-7F77-144F-A778-CADD0466B483}"/>
              </a:ext>
            </a:extLst>
          </p:cNvPr>
          <p:cNvSpPr>
            <a:spLocks noGrp="1"/>
          </p:cNvSpPr>
          <p:nvPr>
            <p:ph type="body" sz="half" idx="2" hasCustomPrompt="1"/>
          </p:nvPr>
        </p:nvSpPr>
        <p:spPr>
          <a:xfrm>
            <a:off x="485776" y="4979815"/>
            <a:ext cx="3578224" cy="803619"/>
          </a:xfrm>
        </p:spPr>
        <p:txBody>
          <a:bodyPr anchor="t"/>
          <a:lstStyle>
            <a:lvl1pPr marL="179388" indent="-179388">
              <a:lnSpc>
                <a:spcPct val="100000"/>
              </a:lnSpc>
              <a:spcBef>
                <a:spcPts val="0"/>
              </a:spcBef>
              <a:spcAft>
                <a:spcPts val="0"/>
              </a:spcAft>
              <a:buFont typeface="System Font Regular"/>
              <a:buChar char="–"/>
              <a:tabLst/>
              <a:defRPr lang="en-US" sz="1600" smtClean="0">
                <a:solidFill>
                  <a:schemeClr val="tx2"/>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dirty="0">
                <a:effectLst/>
                <a:latin typeface="Arial" panose="020B0604020202020204" pitchFamily="34" charset="0"/>
              </a:rPr>
              <a:t>Click to add author</a:t>
            </a:r>
          </a:p>
        </p:txBody>
      </p:sp>
      <p:sp>
        <p:nvSpPr>
          <p:cNvPr id="6" name="Title 1"/>
          <p:cNvSpPr>
            <a:spLocks noGrp="1"/>
          </p:cNvSpPr>
          <p:nvPr>
            <p:ph type="title" hasCustomPrompt="1"/>
          </p:nvPr>
        </p:nvSpPr>
        <p:spPr>
          <a:xfrm>
            <a:off x="482600" y="1807779"/>
            <a:ext cx="7404101" cy="3061084"/>
          </a:xfrm>
        </p:spPr>
        <p:txBody>
          <a:bodyPr/>
          <a:lstStyle>
            <a:lvl1pPr>
              <a:defRPr sz="5400">
                <a:solidFill>
                  <a:schemeClr val="tx2"/>
                </a:solidFill>
              </a:defRPr>
            </a:lvl1pPr>
          </a:lstStyle>
          <a:p>
            <a:r>
              <a:rPr lang="en-US" dirty="0"/>
              <a:t>Click to add quote</a:t>
            </a:r>
          </a:p>
        </p:txBody>
      </p:sp>
    </p:spTree>
    <p:extLst>
      <p:ext uri="{BB962C8B-B14F-4D97-AF65-F5344CB8AC3E}">
        <p14:creationId xmlns:p14="http://schemas.microsoft.com/office/powerpoint/2010/main" val="210094381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160A2B-5371-CA41-BD2F-F42585E23A6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7B160A2B-5371-CA41-BD2F-F42585E23A6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3">
            <a:extLst>
              <a:ext uri="{FF2B5EF4-FFF2-40B4-BE49-F238E27FC236}">
                <a16:creationId xmlns:a16="http://schemas.microsoft.com/office/drawing/2014/main" id="{2C68D909-7F77-144F-A778-CADD0466B483}"/>
              </a:ext>
            </a:extLst>
          </p:cNvPr>
          <p:cNvSpPr>
            <a:spLocks noGrp="1"/>
          </p:cNvSpPr>
          <p:nvPr>
            <p:ph type="body" sz="half" idx="2" hasCustomPrompt="1"/>
          </p:nvPr>
        </p:nvSpPr>
        <p:spPr>
          <a:xfrm>
            <a:off x="485776" y="4979815"/>
            <a:ext cx="3578224" cy="803619"/>
          </a:xfrm>
        </p:spPr>
        <p:txBody>
          <a:bodyPr anchor="t"/>
          <a:lstStyle>
            <a:lvl1pPr marL="179388" indent="-179388">
              <a:lnSpc>
                <a:spcPct val="100000"/>
              </a:lnSpc>
              <a:spcBef>
                <a:spcPts val="0"/>
              </a:spcBef>
              <a:spcAft>
                <a:spcPts val="0"/>
              </a:spcAft>
              <a:buFont typeface="System Font Regular"/>
              <a:buChar char="–"/>
              <a:tabLst/>
              <a:defRPr lang="en-US" sz="1600" smtClean="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dirty="0">
                <a:effectLst/>
                <a:latin typeface="Arial" panose="020B0604020202020204" pitchFamily="34" charset="0"/>
              </a:rPr>
              <a:t>Click to add author</a:t>
            </a:r>
          </a:p>
        </p:txBody>
      </p:sp>
      <p:sp>
        <p:nvSpPr>
          <p:cNvPr id="9" name="TextBox 8">
            <a:extLst>
              <a:ext uri="{FF2B5EF4-FFF2-40B4-BE49-F238E27FC236}">
                <a16:creationId xmlns:a16="http://schemas.microsoft.com/office/drawing/2014/main" id="{02A92D50-B69F-614A-9C8F-D600BB0D9EB1}"/>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Nº›</a:t>
            </a:fld>
            <a:endParaRPr lang="en-US" sz="800" kern="1200" dirty="0">
              <a:solidFill>
                <a:schemeClr val="bg1"/>
              </a:solidFill>
              <a:effectLst/>
              <a:latin typeface="+mn-lt"/>
              <a:ea typeface="+mn-ea"/>
              <a:cs typeface="+mn-cs"/>
            </a:endParaRPr>
          </a:p>
        </p:txBody>
      </p:sp>
      <p:sp>
        <p:nvSpPr>
          <p:cNvPr id="6" name="Title 1"/>
          <p:cNvSpPr>
            <a:spLocks noGrp="1"/>
          </p:cNvSpPr>
          <p:nvPr>
            <p:ph type="title" hasCustomPrompt="1"/>
          </p:nvPr>
        </p:nvSpPr>
        <p:spPr>
          <a:xfrm>
            <a:off x="482600" y="1807779"/>
            <a:ext cx="7404101" cy="3061084"/>
          </a:xfrm>
        </p:spPr>
        <p:txBody>
          <a:bodyPr/>
          <a:lstStyle>
            <a:lvl1pPr>
              <a:defRPr sz="5400">
                <a:solidFill>
                  <a:schemeClr val="bg1"/>
                </a:solidFill>
              </a:defRPr>
            </a:lvl1pPr>
          </a:lstStyle>
          <a:p>
            <a:r>
              <a:rPr lang="en-US" dirty="0"/>
              <a:t>Click to add quote</a:t>
            </a:r>
          </a:p>
        </p:txBody>
      </p:sp>
    </p:spTree>
    <p:extLst>
      <p:ext uri="{BB962C8B-B14F-4D97-AF65-F5344CB8AC3E}">
        <p14:creationId xmlns:p14="http://schemas.microsoft.com/office/powerpoint/2010/main" val="150579566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p:cSld name="INTERACTIVE ELEMENT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52E706-1FE4-5448-BF88-BDD1A5847DF0}"/>
              </a:ext>
            </a:extLst>
          </p:cNvPr>
          <p:cNvSpPr txBox="1"/>
          <p:nvPr/>
        </p:nvSpPr>
        <p:spPr>
          <a:xfrm>
            <a:off x="374977" y="1582341"/>
            <a:ext cx="7700826" cy="369331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Interactive</a:t>
            </a:r>
          </a:p>
          <a:p>
            <a:pPr algn="l"/>
            <a:r>
              <a:rPr lang="en-US" sz="12000" b="1" i="0" dirty="0">
                <a:solidFill>
                  <a:schemeClr val="bg1"/>
                </a:solidFill>
                <a:latin typeface="Arial" panose="020B0604020202020204" pitchFamily="34" charset="0"/>
                <a:cs typeface="Arial" panose="020B0604020202020204" pitchFamily="34" charset="0"/>
              </a:rPr>
              <a:t>elements</a:t>
            </a:r>
          </a:p>
        </p:txBody>
      </p:sp>
    </p:spTree>
    <p:extLst>
      <p:ext uri="{BB962C8B-B14F-4D97-AF65-F5344CB8AC3E}">
        <p14:creationId xmlns:p14="http://schemas.microsoft.com/office/powerpoint/2010/main" val="272431154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Interactive top">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485776" y="866775"/>
            <a:ext cx="11461750"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6394451"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p:ph type="body" sz="half" idx="2" hasCustomPrompt="1"/>
          </p:nvPr>
        </p:nvSpPr>
        <p:spPr>
          <a:xfrm>
            <a:off x="485776" y="1311632"/>
            <a:ext cx="11461750"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3" name="Rectangle 2"/>
          <p:cNvSpPr/>
          <p:nvPr userDrawn="1"/>
        </p:nvSpPr>
        <p:spPr>
          <a:xfrm>
            <a:off x="2815" y="-1"/>
            <a:ext cx="12189185" cy="61370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 name="Rectangle 6"/>
          <p:cNvSpPr/>
          <p:nvPr userDrawn="1"/>
        </p:nvSpPr>
        <p:spPr>
          <a:xfrm>
            <a:off x="485776"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1</a:t>
            </a:r>
            <a:endParaRPr lang="en-GB" sz="1400" dirty="0"/>
          </a:p>
        </p:txBody>
      </p:sp>
      <p:sp>
        <p:nvSpPr>
          <p:cNvPr id="8" name="Rectangle 7"/>
          <p:cNvSpPr/>
          <p:nvPr userDrawn="1"/>
        </p:nvSpPr>
        <p:spPr>
          <a:xfrm>
            <a:off x="2437449"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2</a:t>
            </a:r>
            <a:endParaRPr lang="en-GB" sz="1400" dirty="0"/>
          </a:p>
        </p:txBody>
      </p:sp>
      <p:sp>
        <p:nvSpPr>
          <p:cNvPr id="9" name="Rectangle 8"/>
          <p:cNvSpPr/>
          <p:nvPr userDrawn="1"/>
        </p:nvSpPr>
        <p:spPr>
          <a:xfrm>
            <a:off x="4389122"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3</a:t>
            </a:r>
            <a:endParaRPr lang="en-GB" sz="1400" dirty="0"/>
          </a:p>
        </p:txBody>
      </p:sp>
      <p:sp>
        <p:nvSpPr>
          <p:cNvPr id="10" name="Rectangle 9"/>
          <p:cNvSpPr/>
          <p:nvPr userDrawn="1"/>
        </p:nvSpPr>
        <p:spPr>
          <a:xfrm>
            <a:off x="6340795"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4</a:t>
            </a:r>
            <a:endParaRPr lang="en-GB" sz="1400" dirty="0"/>
          </a:p>
        </p:txBody>
      </p:sp>
      <p:sp>
        <p:nvSpPr>
          <p:cNvPr id="11" name="Rectangle 10"/>
          <p:cNvSpPr/>
          <p:nvPr userDrawn="1"/>
        </p:nvSpPr>
        <p:spPr>
          <a:xfrm>
            <a:off x="8292468"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5</a:t>
            </a:r>
            <a:endParaRPr lang="en-GB" sz="1400" dirty="0"/>
          </a:p>
        </p:txBody>
      </p:sp>
      <p:sp>
        <p:nvSpPr>
          <p:cNvPr id="12" name="Rectangle 11"/>
          <p:cNvSpPr/>
          <p:nvPr userDrawn="1"/>
        </p:nvSpPr>
        <p:spPr>
          <a:xfrm>
            <a:off x="10244138"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6</a:t>
            </a:r>
            <a:endParaRPr lang="en-GB" sz="1400" dirty="0"/>
          </a:p>
        </p:txBody>
      </p:sp>
      <p:cxnSp>
        <p:nvCxnSpPr>
          <p:cNvPr id="14" name="Straight Connector 13"/>
          <p:cNvCxnSpPr/>
          <p:nvPr userDrawn="1"/>
        </p:nvCxnSpPr>
        <p:spPr>
          <a:xfrm>
            <a:off x="2314099"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4265772"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6217445"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8169118"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0120791"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Box 12"/>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a:solidFill>
                  <a:srgbClr val="FF0000"/>
                </a:solidFill>
              </a:rPr>
              <a:t>These slides provide</a:t>
            </a:r>
            <a:r>
              <a:rPr lang="en-US" sz="1050" baseline="0" dirty="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a:solidFill>
                <a:srgbClr val="FF0000"/>
              </a:solidFill>
            </a:endParaRPr>
          </a:p>
          <a:p>
            <a:pPr algn="l"/>
            <a:r>
              <a:rPr lang="en-US" sz="1050" baseline="0" dirty="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13141227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Interactive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485776" y="361950"/>
            <a:ext cx="9509124"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5429250"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p:ph type="body" sz="half" idx="2" hasCustomPrompt="1"/>
          </p:nvPr>
        </p:nvSpPr>
        <p:spPr>
          <a:xfrm>
            <a:off x="485776" y="806807"/>
            <a:ext cx="9509124"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8" name="Rectangle 7"/>
          <p:cNvSpPr/>
          <p:nvPr userDrawn="1"/>
        </p:nvSpPr>
        <p:spPr>
          <a:xfrm>
            <a:off x="10239375" y="3176"/>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a:t>
            </a:r>
            <a:r>
              <a:rPr lang="en-GB" sz="1400" baseline="0" dirty="0"/>
              <a:t> 1</a:t>
            </a:r>
            <a:endParaRPr lang="en-GB" sz="1400" dirty="0"/>
          </a:p>
        </p:txBody>
      </p:sp>
      <p:sp>
        <p:nvSpPr>
          <p:cNvPr id="9" name="Rectangle 8"/>
          <p:cNvSpPr/>
          <p:nvPr userDrawn="1"/>
        </p:nvSpPr>
        <p:spPr>
          <a:xfrm>
            <a:off x="10239375" y="1146251"/>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 </a:t>
            </a:r>
            <a:r>
              <a:rPr lang="en-GB" sz="1400" baseline="0" dirty="0"/>
              <a:t>2</a:t>
            </a:r>
            <a:endParaRPr lang="en-GB" sz="1400" dirty="0"/>
          </a:p>
        </p:txBody>
      </p:sp>
      <p:sp>
        <p:nvSpPr>
          <p:cNvPr id="10" name="Rectangle 9"/>
          <p:cNvSpPr/>
          <p:nvPr userDrawn="1"/>
        </p:nvSpPr>
        <p:spPr>
          <a:xfrm>
            <a:off x="10239375" y="2289325"/>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a:t>
            </a:r>
            <a:r>
              <a:rPr lang="en-GB" sz="1400" baseline="0" dirty="0"/>
              <a:t> 3</a:t>
            </a:r>
            <a:endParaRPr lang="en-GB" sz="1400" dirty="0"/>
          </a:p>
        </p:txBody>
      </p:sp>
      <p:sp>
        <p:nvSpPr>
          <p:cNvPr id="11" name="Rectangle 10"/>
          <p:cNvSpPr/>
          <p:nvPr userDrawn="1"/>
        </p:nvSpPr>
        <p:spPr>
          <a:xfrm>
            <a:off x="10239375" y="3432400"/>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a:t>
            </a:r>
            <a:r>
              <a:rPr lang="en-GB" sz="1400" baseline="0" dirty="0"/>
              <a:t> 4</a:t>
            </a:r>
            <a:endParaRPr lang="en-GB" sz="1400" dirty="0"/>
          </a:p>
        </p:txBody>
      </p:sp>
      <p:sp>
        <p:nvSpPr>
          <p:cNvPr id="12" name="Rectangle 11"/>
          <p:cNvSpPr/>
          <p:nvPr userDrawn="1"/>
        </p:nvSpPr>
        <p:spPr>
          <a:xfrm>
            <a:off x="10239375" y="4575475"/>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a:t>
            </a:r>
            <a:r>
              <a:rPr lang="en-GB" sz="1400" baseline="0" dirty="0"/>
              <a:t> 5</a:t>
            </a:r>
            <a:endParaRPr lang="en-GB" sz="1400" dirty="0"/>
          </a:p>
        </p:txBody>
      </p:sp>
      <p:sp>
        <p:nvSpPr>
          <p:cNvPr id="14" name="Rectangle 13"/>
          <p:cNvSpPr/>
          <p:nvPr userDrawn="1"/>
        </p:nvSpPr>
        <p:spPr>
          <a:xfrm>
            <a:off x="10239375" y="5718547"/>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a:t>
            </a:r>
            <a:r>
              <a:rPr lang="en-GB" sz="1400" baseline="0" dirty="0"/>
              <a:t> 6</a:t>
            </a:r>
            <a:endParaRPr lang="en-GB" sz="1400" dirty="0"/>
          </a:p>
        </p:txBody>
      </p:sp>
      <p:sp>
        <p:nvSpPr>
          <p:cNvPr id="18" name="Freeform 10"/>
          <p:cNvSpPr>
            <a:spLocks noEditPoints="1"/>
          </p:cNvSpPr>
          <p:nvPr userDrawn="1"/>
        </p:nvSpPr>
        <p:spPr bwMode="auto">
          <a:xfrm>
            <a:off x="11069333" y="1424425"/>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23"/>
          <p:cNvSpPr>
            <a:spLocks noEditPoints="1"/>
          </p:cNvSpPr>
          <p:nvPr userDrawn="1"/>
        </p:nvSpPr>
        <p:spPr bwMode="auto">
          <a:xfrm>
            <a:off x="11081842" y="4837714"/>
            <a:ext cx="267691" cy="317727"/>
          </a:xfrm>
          <a:custGeom>
            <a:avLst/>
            <a:gdLst>
              <a:gd name="T0" fmla="*/ 76 w 80"/>
              <a:gd name="T1" fmla="*/ 96 h 96"/>
              <a:gd name="T2" fmla="*/ 40 w 80"/>
              <a:gd name="T3" fmla="*/ 96 h 96"/>
              <a:gd name="T4" fmla="*/ 36 w 80"/>
              <a:gd name="T5" fmla="*/ 92 h 96"/>
              <a:gd name="T6" fmla="*/ 36 w 80"/>
              <a:gd name="T7" fmla="*/ 76 h 96"/>
              <a:gd name="T8" fmla="*/ 40 w 80"/>
              <a:gd name="T9" fmla="*/ 72 h 96"/>
              <a:gd name="T10" fmla="*/ 76 w 80"/>
              <a:gd name="T11" fmla="*/ 72 h 96"/>
              <a:gd name="T12" fmla="*/ 80 w 80"/>
              <a:gd name="T13" fmla="*/ 76 h 96"/>
              <a:gd name="T14" fmla="*/ 80 w 80"/>
              <a:gd name="T15" fmla="*/ 92 h 96"/>
              <a:gd name="T16" fmla="*/ 76 w 80"/>
              <a:gd name="T17" fmla="*/ 96 h 96"/>
              <a:gd name="T18" fmla="*/ 44 w 80"/>
              <a:gd name="T19" fmla="*/ 88 h 96"/>
              <a:gd name="T20" fmla="*/ 72 w 80"/>
              <a:gd name="T21" fmla="*/ 88 h 96"/>
              <a:gd name="T22" fmla="*/ 72 w 80"/>
              <a:gd name="T23" fmla="*/ 80 h 96"/>
              <a:gd name="T24" fmla="*/ 44 w 80"/>
              <a:gd name="T25" fmla="*/ 80 h 96"/>
              <a:gd name="T26" fmla="*/ 44 w 80"/>
              <a:gd name="T27" fmla="*/ 88 h 96"/>
              <a:gd name="T28" fmla="*/ 76 w 80"/>
              <a:gd name="T29" fmla="*/ 64 h 96"/>
              <a:gd name="T30" fmla="*/ 4 w 80"/>
              <a:gd name="T31" fmla="*/ 64 h 96"/>
              <a:gd name="T32" fmla="*/ 0 w 80"/>
              <a:gd name="T33" fmla="*/ 60 h 96"/>
              <a:gd name="T34" fmla="*/ 0 w 80"/>
              <a:gd name="T35" fmla="*/ 4 h 96"/>
              <a:gd name="T36" fmla="*/ 4 w 80"/>
              <a:gd name="T37" fmla="*/ 0 h 96"/>
              <a:gd name="T38" fmla="*/ 76 w 80"/>
              <a:gd name="T39" fmla="*/ 0 h 96"/>
              <a:gd name="T40" fmla="*/ 80 w 80"/>
              <a:gd name="T41" fmla="*/ 4 h 96"/>
              <a:gd name="T42" fmla="*/ 80 w 80"/>
              <a:gd name="T43" fmla="*/ 60 h 96"/>
              <a:gd name="T44" fmla="*/ 76 w 80"/>
              <a:gd name="T45" fmla="*/ 64 h 96"/>
              <a:gd name="T46" fmla="*/ 8 w 80"/>
              <a:gd name="T47" fmla="*/ 56 h 96"/>
              <a:gd name="T48" fmla="*/ 72 w 80"/>
              <a:gd name="T49" fmla="*/ 56 h 96"/>
              <a:gd name="T50" fmla="*/ 72 w 80"/>
              <a:gd name="T51" fmla="*/ 24 h 96"/>
              <a:gd name="T52" fmla="*/ 8 w 80"/>
              <a:gd name="T53" fmla="*/ 24 h 96"/>
              <a:gd name="T54" fmla="*/ 8 w 80"/>
              <a:gd name="T55" fmla="*/ 56 h 96"/>
              <a:gd name="T56" fmla="*/ 8 w 80"/>
              <a:gd name="T57" fmla="*/ 16 h 96"/>
              <a:gd name="T58" fmla="*/ 72 w 80"/>
              <a:gd name="T59" fmla="*/ 16 h 96"/>
              <a:gd name="T60" fmla="*/ 72 w 80"/>
              <a:gd name="T61" fmla="*/ 8 h 96"/>
              <a:gd name="T62" fmla="*/ 8 w 80"/>
              <a:gd name="T63" fmla="*/ 8 h 96"/>
              <a:gd name="T64" fmla="*/ 8 w 80"/>
              <a:gd name="T65"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96">
                <a:moveTo>
                  <a:pt x="76" y="96"/>
                </a:moveTo>
                <a:cubicBezTo>
                  <a:pt x="40" y="96"/>
                  <a:pt x="40" y="96"/>
                  <a:pt x="40" y="96"/>
                </a:cubicBezTo>
                <a:cubicBezTo>
                  <a:pt x="38" y="96"/>
                  <a:pt x="36" y="94"/>
                  <a:pt x="36" y="92"/>
                </a:cubicBezTo>
                <a:cubicBezTo>
                  <a:pt x="36" y="76"/>
                  <a:pt x="36" y="76"/>
                  <a:pt x="36" y="76"/>
                </a:cubicBezTo>
                <a:cubicBezTo>
                  <a:pt x="36" y="74"/>
                  <a:pt x="38" y="72"/>
                  <a:pt x="40" y="72"/>
                </a:cubicBezTo>
                <a:cubicBezTo>
                  <a:pt x="76" y="72"/>
                  <a:pt x="76" y="72"/>
                  <a:pt x="76" y="72"/>
                </a:cubicBezTo>
                <a:cubicBezTo>
                  <a:pt x="78" y="72"/>
                  <a:pt x="80" y="74"/>
                  <a:pt x="80" y="76"/>
                </a:cubicBezTo>
                <a:cubicBezTo>
                  <a:pt x="80" y="92"/>
                  <a:pt x="80" y="92"/>
                  <a:pt x="80" y="92"/>
                </a:cubicBezTo>
                <a:cubicBezTo>
                  <a:pt x="80" y="94"/>
                  <a:pt x="78" y="96"/>
                  <a:pt x="76" y="96"/>
                </a:cubicBezTo>
                <a:close/>
                <a:moveTo>
                  <a:pt x="44" y="88"/>
                </a:moveTo>
                <a:cubicBezTo>
                  <a:pt x="72" y="88"/>
                  <a:pt x="72" y="88"/>
                  <a:pt x="72" y="88"/>
                </a:cubicBezTo>
                <a:cubicBezTo>
                  <a:pt x="72" y="80"/>
                  <a:pt x="72" y="80"/>
                  <a:pt x="72" y="80"/>
                </a:cubicBezTo>
                <a:cubicBezTo>
                  <a:pt x="44" y="80"/>
                  <a:pt x="44" y="80"/>
                  <a:pt x="44" y="80"/>
                </a:cubicBezTo>
                <a:lnTo>
                  <a:pt x="44" y="88"/>
                </a:lnTo>
                <a:close/>
                <a:moveTo>
                  <a:pt x="76" y="64"/>
                </a:moveTo>
                <a:cubicBezTo>
                  <a:pt x="4" y="64"/>
                  <a:pt x="4" y="64"/>
                  <a:pt x="4" y="64"/>
                </a:cubicBezTo>
                <a:cubicBezTo>
                  <a:pt x="2" y="64"/>
                  <a:pt x="0" y="62"/>
                  <a:pt x="0" y="60"/>
                </a:cubicBezTo>
                <a:cubicBezTo>
                  <a:pt x="0" y="4"/>
                  <a:pt x="0" y="4"/>
                  <a:pt x="0" y="4"/>
                </a:cubicBezTo>
                <a:cubicBezTo>
                  <a:pt x="0" y="2"/>
                  <a:pt x="2" y="0"/>
                  <a:pt x="4" y="0"/>
                </a:cubicBezTo>
                <a:cubicBezTo>
                  <a:pt x="76" y="0"/>
                  <a:pt x="76" y="0"/>
                  <a:pt x="76" y="0"/>
                </a:cubicBezTo>
                <a:cubicBezTo>
                  <a:pt x="78" y="0"/>
                  <a:pt x="80" y="2"/>
                  <a:pt x="80" y="4"/>
                </a:cubicBezTo>
                <a:cubicBezTo>
                  <a:pt x="80" y="60"/>
                  <a:pt x="80" y="60"/>
                  <a:pt x="80" y="60"/>
                </a:cubicBezTo>
                <a:cubicBezTo>
                  <a:pt x="80" y="62"/>
                  <a:pt x="78" y="64"/>
                  <a:pt x="76" y="64"/>
                </a:cubicBezTo>
                <a:close/>
                <a:moveTo>
                  <a:pt x="8" y="56"/>
                </a:moveTo>
                <a:cubicBezTo>
                  <a:pt x="72" y="56"/>
                  <a:pt x="72" y="56"/>
                  <a:pt x="72" y="56"/>
                </a:cubicBezTo>
                <a:cubicBezTo>
                  <a:pt x="72" y="24"/>
                  <a:pt x="72" y="24"/>
                  <a:pt x="72" y="24"/>
                </a:cubicBezTo>
                <a:cubicBezTo>
                  <a:pt x="8" y="24"/>
                  <a:pt x="8" y="24"/>
                  <a:pt x="8" y="24"/>
                </a:cubicBezTo>
                <a:lnTo>
                  <a:pt x="8" y="56"/>
                </a:lnTo>
                <a:close/>
                <a:moveTo>
                  <a:pt x="8" y="16"/>
                </a:moveTo>
                <a:cubicBezTo>
                  <a:pt x="72" y="16"/>
                  <a:pt x="72" y="16"/>
                  <a:pt x="72" y="16"/>
                </a:cubicBezTo>
                <a:cubicBezTo>
                  <a:pt x="72" y="8"/>
                  <a:pt x="72" y="8"/>
                  <a:pt x="72" y="8"/>
                </a:cubicBezTo>
                <a:cubicBezTo>
                  <a:pt x="8" y="8"/>
                  <a:pt x="8" y="8"/>
                  <a:pt x="8" y="8"/>
                </a:cubicBezTo>
                <a:lnTo>
                  <a:pt x="8"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0" name="Group 13"/>
          <p:cNvGrpSpPr>
            <a:grpSpLocks noChangeAspect="1"/>
          </p:cNvGrpSpPr>
          <p:nvPr userDrawn="1"/>
        </p:nvGrpSpPr>
        <p:grpSpPr bwMode="auto">
          <a:xfrm>
            <a:off x="11081216" y="2554763"/>
            <a:ext cx="268942" cy="323982"/>
            <a:chOff x="292" y="2131"/>
            <a:chExt cx="215" cy="259"/>
          </a:xfrm>
          <a:solidFill>
            <a:schemeClr val="bg1"/>
          </a:solidFill>
        </p:grpSpPr>
        <p:sp>
          <p:nvSpPr>
            <p:cNvPr id="21"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 name="Group 26"/>
          <p:cNvGrpSpPr>
            <a:grpSpLocks noChangeAspect="1"/>
          </p:cNvGrpSpPr>
          <p:nvPr userDrawn="1"/>
        </p:nvGrpSpPr>
        <p:grpSpPr bwMode="auto">
          <a:xfrm>
            <a:off x="11081841" y="5970546"/>
            <a:ext cx="267692" cy="317727"/>
            <a:chOff x="3091" y="1784"/>
            <a:chExt cx="214" cy="254"/>
          </a:xfrm>
          <a:solidFill>
            <a:schemeClr val="bg1"/>
          </a:solidFill>
        </p:grpSpPr>
        <p:sp>
          <p:nvSpPr>
            <p:cNvPr id="24" name="Freeform 27"/>
            <p:cNvSpPr>
              <a:spLocks noEditPoints="1"/>
            </p:cNvSpPr>
            <p:nvPr/>
          </p:nvSpPr>
          <p:spPr bwMode="auto">
            <a:xfrm>
              <a:off x="3091" y="1784"/>
              <a:ext cx="214" cy="254"/>
            </a:xfrm>
            <a:custGeom>
              <a:avLst/>
              <a:gdLst>
                <a:gd name="T0" fmla="*/ 76 w 80"/>
                <a:gd name="T1" fmla="*/ 96 h 96"/>
                <a:gd name="T2" fmla="*/ 4 w 80"/>
                <a:gd name="T3" fmla="*/ 96 h 96"/>
                <a:gd name="T4" fmla="*/ 0 w 80"/>
                <a:gd name="T5" fmla="*/ 92 h 96"/>
                <a:gd name="T6" fmla="*/ 0 w 80"/>
                <a:gd name="T7" fmla="*/ 4 h 96"/>
                <a:gd name="T8" fmla="*/ 4 w 80"/>
                <a:gd name="T9" fmla="*/ 0 h 96"/>
                <a:gd name="T10" fmla="*/ 76 w 80"/>
                <a:gd name="T11" fmla="*/ 0 h 96"/>
                <a:gd name="T12" fmla="*/ 80 w 80"/>
                <a:gd name="T13" fmla="*/ 4 h 96"/>
                <a:gd name="T14" fmla="*/ 80 w 80"/>
                <a:gd name="T15" fmla="*/ 92 h 96"/>
                <a:gd name="T16" fmla="*/ 76 w 80"/>
                <a:gd name="T17" fmla="*/ 96 h 96"/>
                <a:gd name="T18" fmla="*/ 8 w 80"/>
                <a:gd name="T19" fmla="*/ 88 h 96"/>
                <a:gd name="T20" fmla="*/ 72 w 80"/>
                <a:gd name="T21" fmla="*/ 88 h 96"/>
                <a:gd name="T22" fmla="*/ 72 w 80"/>
                <a:gd name="T23" fmla="*/ 8 h 96"/>
                <a:gd name="T24" fmla="*/ 8 w 80"/>
                <a:gd name="T25" fmla="*/ 8 h 96"/>
                <a:gd name="T26" fmla="*/ 8 w 80"/>
                <a:gd name="T27" fmla="*/ 88 h 96"/>
                <a:gd name="T28" fmla="*/ 40 w 80"/>
                <a:gd name="T29" fmla="*/ 80 h 96"/>
                <a:gd name="T30" fmla="*/ 36 w 80"/>
                <a:gd name="T31" fmla="*/ 76 h 96"/>
                <a:gd name="T32" fmla="*/ 36 w 80"/>
                <a:gd name="T33" fmla="*/ 20 h 96"/>
                <a:gd name="T34" fmla="*/ 40 w 80"/>
                <a:gd name="T35" fmla="*/ 16 h 96"/>
                <a:gd name="T36" fmla="*/ 44 w 80"/>
                <a:gd name="T37" fmla="*/ 20 h 96"/>
                <a:gd name="T38" fmla="*/ 44 w 80"/>
                <a:gd name="T39" fmla="*/ 76 h 96"/>
                <a:gd name="T40" fmla="*/ 40 w 80"/>
                <a:gd name="T41" fmla="*/ 8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96">
                  <a:moveTo>
                    <a:pt x="76" y="96"/>
                  </a:moveTo>
                  <a:cubicBezTo>
                    <a:pt x="4" y="96"/>
                    <a:pt x="4" y="96"/>
                    <a:pt x="4" y="96"/>
                  </a:cubicBezTo>
                  <a:cubicBezTo>
                    <a:pt x="2" y="96"/>
                    <a:pt x="0" y="94"/>
                    <a:pt x="0" y="92"/>
                  </a:cubicBezTo>
                  <a:cubicBezTo>
                    <a:pt x="0" y="4"/>
                    <a:pt x="0" y="4"/>
                    <a:pt x="0" y="4"/>
                  </a:cubicBezTo>
                  <a:cubicBezTo>
                    <a:pt x="0" y="2"/>
                    <a:pt x="2" y="0"/>
                    <a:pt x="4" y="0"/>
                  </a:cubicBezTo>
                  <a:cubicBezTo>
                    <a:pt x="76" y="0"/>
                    <a:pt x="76" y="0"/>
                    <a:pt x="76" y="0"/>
                  </a:cubicBezTo>
                  <a:cubicBezTo>
                    <a:pt x="78" y="0"/>
                    <a:pt x="80" y="2"/>
                    <a:pt x="80" y="4"/>
                  </a:cubicBezTo>
                  <a:cubicBezTo>
                    <a:pt x="80" y="92"/>
                    <a:pt x="80" y="92"/>
                    <a:pt x="80" y="92"/>
                  </a:cubicBezTo>
                  <a:cubicBezTo>
                    <a:pt x="80" y="94"/>
                    <a:pt x="78" y="96"/>
                    <a:pt x="76" y="96"/>
                  </a:cubicBezTo>
                  <a:close/>
                  <a:moveTo>
                    <a:pt x="8" y="88"/>
                  </a:moveTo>
                  <a:cubicBezTo>
                    <a:pt x="72" y="88"/>
                    <a:pt x="72" y="88"/>
                    <a:pt x="72" y="88"/>
                  </a:cubicBezTo>
                  <a:cubicBezTo>
                    <a:pt x="72" y="8"/>
                    <a:pt x="72" y="8"/>
                    <a:pt x="72" y="8"/>
                  </a:cubicBezTo>
                  <a:cubicBezTo>
                    <a:pt x="8" y="8"/>
                    <a:pt x="8" y="8"/>
                    <a:pt x="8" y="8"/>
                  </a:cubicBezTo>
                  <a:lnTo>
                    <a:pt x="8" y="88"/>
                  </a:lnTo>
                  <a:close/>
                  <a:moveTo>
                    <a:pt x="40" y="80"/>
                  </a:moveTo>
                  <a:cubicBezTo>
                    <a:pt x="38" y="80"/>
                    <a:pt x="36" y="78"/>
                    <a:pt x="36" y="76"/>
                  </a:cubicBezTo>
                  <a:cubicBezTo>
                    <a:pt x="36" y="20"/>
                    <a:pt x="36" y="20"/>
                    <a:pt x="36" y="20"/>
                  </a:cubicBezTo>
                  <a:cubicBezTo>
                    <a:pt x="36" y="18"/>
                    <a:pt x="38" y="16"/>
                    <a:pt x="40" y="16"/>
                  </a:cubicBezTo>
                  <a:cubicBezTo>
                    <a:pt x="42" y="16"/>
                    <a:pt x="44" y="18"/>
                    <a:pt x="44" y="20"/>
                  </a:cubicBezTo>
                  <a:cubicBezTo>
                    <a:pt x="44" y="76"/>
                    <a:pt x="44" y="76"/>
                    <a:pt x="44" y="76"/>
                  </a:cubicBezTo>
                  <a:cubicBezTo>
                    <a:pt x="44" y="78"/>
                    <a:pt x="42"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8"/>
            <p:cNvSpPr>
              <a:spLocks/>
            </p:cNvSpPr>
            <p:nvPr/>
          </p:nvSpPr>
          <p:spPr bwMode="auto">
            <a:xfrm>
              <a:off x="3145" y="1837"/>
              <a:ext cx="101" cy="138"/>
            </a:xfrm>
            <a:custGeom>
              <a:avLst/>
              <a:gdLst>
                <a:gd name="T0" fmla="*/ 19 w 38"/>
                <a:gd name="T1" fmla="*/ 52 h 52"/>
                <a:gd name="T2" fmla="*/ 3 w 38"/>
                <a:gd name="T3" fmla="*/ 49 h 52"/>
                <a:gd name="T4" fmla="*/ 1 w 38"/>
                <a:gd name="T5" fmla="*/ 43 h 52"/>
                <a:gd name="T6" fmla="*/ 6 w 38"/>
                <a:gd name="T7" fmla="*/ 41 h 52"/>
                <a:gd name="T8" fmla="*/ 27 w 38"/>
                <a:gd name="T9" fmla="*/ 42 h 52"/>
                <a:gd name="T10" fmla="*/ 29 w 38"/>
                <a:gd name="T11" fmla="*/ 37 h 52"/>
                <a:gd name="T12" fmla="*/ 19 w 38"/>
                <a:gd name="T13" fmla="*/ 31 h 52"/>
                <a:gd name="T14" fmla="*/ 3 w 38"/>
                <a:gd name="T15" fmla="*/ 15 h 52"/>
                <a:gd name="T16" fmla="*/ 9 w 38"/>
                <a:gd name="T17" fmla="*/ 4 h 52"/>
                <a:gd name="T18" fmla="*/ 36 w 38"/>
                <a:gd name="T19" fmla="*/ 5 h 52"/>
                <a:gd name="T20" fmla="*/ 37 w 38"/>
                <a:gd name="T21" fmla="*/ 11 h 52"/>
                <a:gd name="T22" fmla="*/ 32 w 38"/>
                <a:gd name="T23" fmla="*/ 12 h 52"/>
                <a:gd name="T24" fmla="*/ 13 w 38"/>
                <a:gd name="T25" fmla="*/ 11 h 52"/>
                <a:gd name="T26" fmla="*/ 11 w 38"/>
                <a:gd name="T27" fmla="*/ 15 h 52"/>
                <a:gd name="T28" fmla="*/ 22 w 38"/>
                <a:gd name="T29" fmla="*/ 23 h 52"/>
                <a:gd name="T30" fmla="*/ 37 w 38"/>
                <a:gd name="T31" fmla="*/ 37 h 52"/>
                <a:gd name="T32" fmla="*/ 31 w 38"/>
                <a:gd name="T33" fmla="*/ 49 h 52"/>
                <a:gd name="T34" fmla="*/ 19 w 38"/>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2">
                  <a:moveTo>
                    <a:pt x="19" y="52"/>
                  </a:moveTo>
                  <a:cubicBezTo>
                    <a:pt x="14" y="52"/>
                    <a:pt x="8" y="50"/>
                    <a:pt x="3" y="49"/>
                  </a:cubicBezTo>
                  <a:cubicBezTo>
                    <a:pt x="1" y="48"/>
                    <a:pt x="0" y="45"/>
                    <a:pt x="1" y="43"/>
                  </a:cubicBezTo>
                  <a:cubicBezTo>
                    <a:pt x="1" y="41"/>
                    <a:pt x="4" y="40"/>
                    <a:pt x="6" y="41"/>
                  </a:cubicBezTo>
                  <a:cubicBezTo>
                    <a:pt x="14" y="44"/>
                    <a:pt x="23" y="45"/>
                    <a:pt x="27" y="42"/>
                  </a:cubicBezTo>
                  <a:cubicBezTo>
                    <a:pt x="28" y="41"/>
                    <a:pt x="29" y="40"/>
                    <a:pt x="29" y="37"/>
                  </a:cubicBezTo>
                  <a:cubicBezTo>
                    <a:pt x="29" y="34"/>
                    <a:pt x="26" y="33"/>
                    <a:pt x="19" y="31"/>
                  </a:cubicBezTo>
                  <a:cubicBezTo>
                    <a:pt x="12" y="28"/>
                    <a:pt x="3" y="25"/>
                    <a:pt x="3" y="15"/>
                  </a:cubicBezTo>
                  <a:cubicBezTo>
                    <a:pt x="3" y="10"/>
                    <a:pt x="5" y="6"/>
                    <a:pt x="9" y="4"/>
                  </a:cubicBezTo>
                  <a:cubicBezTo>
                    <a:pt x="17" y="0"/>
                    <a:pt x="30" y="2"/>
                    <a:pt x="36" y="5"/>
                  </a:cubicBezTo>
                  <a:cubicBezTo>
                    <a:pt x="37" y="6"/>
                    <a:pt x="38" y="9"/>
                    <a:pt x="37" y="11"/>
                  </a:cubicBezTo>
                  <a:cubicBezTo>
                    <a:pt x="36" y="13"/>
                    <a:pt x="34" y="13"/>
                    <a:pt x="32" y="12"/>
                  </a:cubicBezTo>
                  <a:cubicBezTo>
                    <a:pt x="28" y="10"/>
                    <a:pt x="18" y="8"/>
                    <a:pt x="13" y="11"/>
                  </a:cubicBezTo>
                  <a:cubicBezTo>
                    <a:pt x="11" y="12"/>
                    <a:pt x="11" y="13"/>
                    <a:pt x="11" y="15"/>
                  </a:cubicBezTo>
                  <a:cubicBezTo>
                    <a:pt x="11" y="19"/>
                    <a:pt x="14" y="21"/>
                    <a:pt x="22" y="23"/>
                  </a:cubicBezTo>
                  <a:cubicBezTo>
                    <a:pt x="28" y="25"/>
                    <a:pt x="37" y="28"/>
                    <a:pt x="37" y="37"/>
                  </a:cubicBezTo>
                  <a:cubicBezTo>
                    <a:pt x="37" y="43"/>
                    <a:pt x="34" y="47"/>
                    <a:pt x="31" y="49"/>
                  </a:cubicBezTo>
                  <a:cubicBezTo>
                    <a:pt x="28" y="51"/>
                    <a:pt x="24" y="52"/>
                    <a:pt x="1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4"/>
          <p:cNvGrpSpPr>
            <a:grpSpLocks noChangeAspect="1"/>
          </p:cNvGrpSpPr>
          <p:nvPr userDrawn="1"/>
        </p:nvGrpSpPr>
        <p:grpSpPr bwMode="auto">
          <a:xfrm>
            <a:off x="11055573" y="291565"/>
            <a:ext cx="320229" cy="292709"/>
            <a:chOff x="293" y="695"/>
            <a:chExt cx="256" cy="234"/>
          </a:xfrm>
          <a:solidFill>
            <a:schemeClr val="bg1"/>
          </a:solidFill>
        </p:grpSpPr>
        <p:sp>
          <p:nvSpPr>
            <p:cNvPr id="27"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9" name="Freeform 19"/>
          <p:cNvSpPr>
            <a:spLocks noEditPoints="1"/>
          </p:cNvSpPr>
          <p:nvPr userDrawn="1"/>
        </p:nvSpPr>
        <p:spPr bwMode="auto">
          <a:xfrm>
            <a:off x="11063704" y="3701460"/>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0" name="TextBox 29"/>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a:solidFill>
                  <a:srgbClr val="FF0000"/>
                </a:solidFill>
              </a:rPr>
              <a:t>These slides provide</a:t>
            </a:r>
            <a:r>
              <a:rPr lang="en-US" sz="1050" baseline="0" dirty="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a:solidFill>
                <a:srgbClr val="FF0000"/>
              </a:solidFill>
            </a:endParaRPr>
          </a:p>
          <a:p>
            <a:pPr algn="l"/>
            <a:r>
              <a:rPr lang="en-US" sz="1050" baseline="0" dirty="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25074987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x">
  <p:cSld name="Content + 3up module">
    <p:bg>
      <p:bgPr>
        <a:solidFill>
          <a:srgbClr val="FFFFFF"/>
        </a:solidFill>
        <a:effectLst/>
      </p:bgPr>
    </p:bg>
    <p:spTree>
      <p:nvGrpSpPr>
        <p:cNvPr id="1" name=""/>
        <p:cNvGrpSpPr/>
        <p:nvPr/>
      </p:nvGrpSpPr>
      <p:grpSpPr>
        <a:xfrm>
          <a:off x="0" y="0"/>
          <a:ext cx="0" cy="0"/>
          <a:chOff x="0" y="0"/>
          <a:chExt cx="0" cy="0"/>
        </a:xfrm>
      </p:grpSpPr>
      <p:pic>
        <p:nvPicPr>
          <p:cNvPr id="219"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220" name="Shape 220"/>
          <p:cNvSpPr>
            <a:spLocks noGrp="1"/>
          </p:cNvSpPr>
          <p:nvPr>
            <p:ph type="pic" sz="quarter" idx="13"/>
          </p:nvPr>
        </p:nvSpPr>
        <p:spPr>
          <a:xfrm>
            <a:off x="4305300" y="358775"/>
            <a:ext cx="3822700" cy="3009900"/>
          </a:xfrm>
          <a:prstGeom prst="rect">
            <a:avLst/>
          </a:prstGeom>
        </p:spPr>
        <p:txBody>
          <a:bodyPr lIns="91439" tIns="45719" rIns="91439" bIns="45719"/>
          <a:lstStyle/>
          <a:p>
            <a:endParaRPr/>
          </a:p>
        </p:txBody>
      </p:sp>
      <p:sp>
        <p:nvSpPr>
          <p:cNvPr id="221" name="Shape 221"/>
          <p:cNvSpPr>
            <a:spLocks noGrp="1"/>
          </p:cNvSpPr>
          <p:nvPr>
            <p:ph type="pic" sz="quarter" idx="14"/>
          </p:nvPr>
        </p:nvSpPr>
        <p:spPr>
          <a:xfrm>
            <a:off x="8226963" y="3493742"/>
            <a:ext cx="3841212" cy="2881659"/>
          </a:xfrm>
          <a:prstGeom prst="rect">
            <a:avLst/>
          </a:prstGeom>
        </p:spPr>
        <p:txBody>
          <a:bodyPr lIns="91439" tIns="45719" rIns="91439" bIns="45719"/>
          <a:lstStyle/>
          <a:p>
            <a:endParaRPr/>
          </a:p>
        </p:txBody>
      </p:sp>
      <p:sp>
        <p:nvSpPr>
          <p:cNvPr id="222" name="Shape 222"/>
          <p:cNvSpPr>
            <a:spLocks noGrp="1"/>
          </p:cNvSpPr>
          <p:nvPr>
            <p:ph type="pic" sz="quarter" idx="15"/>
          </p:nvPr>
        </p:nvSpPr>
        <p:spPr>
          <a:xfrm>
            <a:off x="123826" y="3493742"/>
            <a:ext cx="4104143" cy="2881659"/>
          </a:xfrm>
          <a:prstGeom prst="rect">
            <a:avLst/>
          </a:prstGeom>
        </p:spPr>
        <p:txBody>
          <a:bodyPr lIns="91439" tIns="45719" rIns="91439" bIns="45719"/>
          <a:lstStyle/>
          <a:p>
            <a:endParaRPr/>
          </a:p>
        </p:txBody>
      </p:sp>
      <p:sp>
        <p:nvSpPr>
          <p:cNvPr id="223" name="Shape 223"/>
          <p:cNvSpPr>
            <a:spLocks noGrp="1"/>
          </p:cNvSpPr>
          <p:nvPr>
            <p:ph type="body" sz="quarter" idx="16"/>
          </p:nvPr>
        </p:nvSpPr>
        <p:spPr>
          <a:xfrm>
            <a:off x="8289862" y="358773"/>
            <a:ext cx="3546538" cy="2965451"/>
          </a:xfrm>
          <a:prstGeom prst="rect">
            <a:avLst/>
          </a:prstGeom>
        </p:spPr>
        <p:txBody>
          <a:bodyPr/>
          <a:lstStyle>
            <a:lvl1pPr>
              <a:defRPr>
                <a:solidFill>
                  <a:srgbClr val="002C77"/>
                </a:solidFill>
              </a:defRPr>
            </a:lvl1pPr>
          </a:lstStyle>
          <a:p>
            <a:r>
              <a:t> </a:t>
            </a:r>
          </a:p>
        </p:txBody>
      </p:sp>
      <p:sp>
        <p:nvSpPr>
          <p:cNvPr id="224" name="Shape 224"/>
          <p:cNvSpPr>
            <a:spLocks noGrp="1"/>
          </p:cNvSpPr>
          <p:nvPr>
            <p:ph type="body" sz="quarter" idx="17"/>
          </p:nvPr>
        </p:nvSpPr>
        <p:spPr>
          <a:xfrm>
            <a:off x="4396873" y="3811323"/>
            <a:ext cx="3657599" cy="2564079"/>
          </a:xfrm>
          <a:prstGeom prst="rect">
            <a:avLst/>
          </a:prstGeom>
        </p:spPr>
        <p:txBody>
          <a:bodyPr/>
          <a:lstStyle>
            <a:lvl1pPr>
              <a:defRPr>
                <a:solidFill>
                  <a:srgbClr val="002C77"/>
                </a:solidFill>
              </a:defRPr>
            </a:lvl1pPr>
          </a:lstStyle>
          <a:p>
            <a:r>
              <a:t> </a:t>
            </a:r>
          </a:p>
        </p:txBody>
      </p:sp>
      <p:sp>
        <p:nvSpPr>
          <p:cNvPr id="225" name="Shape 225"/>
          <p:cNvSpPr>
            <a:spLocks noGrp="1"/>
          </p:cNvSpPr>
          <p:nvPr>
            <p:ph type="body" sz="quarter" idx="1"/>
          </p:nvPr>
        </p:nvSpPr>
        <p:spPr>
          <a:xfrm>
            <a:off x="485776" y="358775"/>
            <a:ext cx="3578225" cy="3019425"/>
          </a:xfrm>
          <a:prstGeom prst="rect">
            <a:avLst/>
          </a:prstGeom>
        </p:spPr>
        <p:txBody>
          <a:bodyPr>
            <a:normAutofit/>
          </a:bodyPr>
          <a:lstStyle>
            <a:lvl1pPr>
              <a:defRPr>
                <a:solidFill>
                  <a:srgbClr val="002C77"/>
                </a:solidFill>
              </a:defRPr>
            </a:lvl1pPr>
            <a:lvl2pPr marL="0" indent="457200">
              <a:buSzTx/>
              <a:buNone/>
              <a:defRPr>
                <a:solidFill>
                  <a:srgbClr val="002C77"/>
                </a:solidFill>
              </a:defRPr>
            </a:lvl2pPr>
            <a:lvl3pPr marL="0" indent="914400">
              <a:buSzTx/>
              <a:buNone/>
              <a:defRPr>
                <a:solidFill>
                  <a:srgbClr val="002C77"/>
                </a:solidFill>
              </a:defRPr>
            </a:lvl3pPr>
            <a:lvl4pPr marL="0" indent="1371600">
              <a:buSzTx/>
              <a:buNone/>
              <a:defRPr>
                <a:solidFill>
                  <a:srgbClr val="002C77"/>
                </a:solidFill>
              </a:defRPr>
            </a:lvl4pPr>
            <a:lvl5pPr marL="0" indent="1828800">
              <a:buSzTx/>
              <a:buNone/>
              <a:defRPr>
                <a:solidFill>
                  <a:srgbClr val="002C77"/>
                </a:solidFill>
              </a:defRPr>
            </a:lvl5pPr>
          </a:lstStyle>
          <a:p>
            <a:r>
              <a:t>Nivel de texto 1</a:t>
            </a:r>
          </a:p>
          <a:p>
            <a:pPr lvl="1"/>
            <a:r>
              <a:t>Nivel de texto 2</a:t>
            </a:r>
          </a:p>
          <a:p>
            <a:pPr lvl="2"/>
            <a:r>
              <a:t>Nivel de texto 3</a:t>
            </a:r>
          </a:p>
          <a:p>
            <a:pPr lvl="3"/>
            <a:r>
              <a:t>Nivel de texto 4</a:t>
            </a:r>
          </a:p>
          <a:p>
            <a:pPr lvl="4"/>
            <a:r>
              <a:t>Nivel de texto 5</a:t>
            </a:r>
          </a:p>
        </p:txBody>
      </p:sp>
      <p:sp>
        <p:nvSpPr>
          <p:cNvPr id="226" name="Shape 226"/>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cSld>
  <p:clrMapOvr>
    <a:masterClrMapping/>
  </p:clrMapOvr>
  <p:transition spd="med"/>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Interactive right condensed">
    <p:spTree>
      <p:nvGrpSpPr>
        <p:cNvPr id="1" name=""/>
        <p:cNvGrpSpPr/>
        <p:nvPr/>
      </p:nvGrpSpPr>
      <p:grpSpPr>
        <a:xfrm>
          <a:off x="0" y="0"/>
          <a:ext cx="0" cy="0"/>
          <a:chOff x="0" y="0"/>
          <a:chExt cx="0" cy="0"/>
        </a:xfrm>
      </p:grpSpPr>
      <p:sp>
        <p:nvSpPr>
          <p:cNvPr id="88" name="Rectangle 87"/>
          <p:cNvSpPr/>
          <p:nvPr userDrawn="1"/>
        </p:nvSpPr>
        <p:spPr>
          <a:xfrm>
            <a:off x="10033000" y="0"/>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6" name="Rectangle 65"/>
          <p:cNvSpPr/>
          <p:nvPr userDrawn="1"/>
        </p:nvSpPr>
        <p:spPr>
          <a:xfrm>
            <a:off x="10033000" y="685682"/>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7" name="Rectangle 66"/>
          <p:cNvSpPr/>
          <p:nvPr userDrawn="1"/>
        </p:nvSpPr>
        <p:spPr>
          <a:xfrm>
            <a:off x="10033000" y="1371364"/>
            <a:ext cx="2159000" cy="68685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3" name="Rectangle 102"/>
          <p:cNvSpPr/>
          <p:nvPr userDrawn="1"/>
        </p:nvSpPr>
        <p:spPr>
          <a:xfrm>
            <a:off x="10033000" y="2057046"/>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4" name="Rectangle 103"/>
          <p:cNvSpPr/>
          <p:nvPr userDrawn="1"/>
        </p:nvSpPr>
        <p:spPr>
          <a:xfrm>
            <a:off x="10033000" y="2742728"/>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5" name="Rectangle 104"/>
          <p:cNvSpPr/>
          <p:nvPr userDrawn="1"/>
        </p:nvSpPr>
        <p:spPr>
          <a:xfrm>
            <a:off x="10033000" y="3428410"/>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6" name="Rectangle 105"/>
          <p:cNvSpPr/>
          <p:nvPr userDrawn="1"/>
        </p:nvSpPr>
        <p:spPr>
          <a:xfrm>
            <a:off x="10033000" y="4114092"/>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7" name="Rectangle 106"/>
          <p:cNvSpPr/>
          <p:nvPr userDrawn="1"/>
        </p:nvSpPr>
        <p:spPr>
          <a:xfrm>
            <a:off x="10033000" y="4799774"/>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8" name="Rectangle 107"/>
          <p:cNvSpPr/>
          <p:nvPr userDrawn="1"/>
        </p:nvSpPr>
        <p:spPr>
          <a:xfrm>
            <a:off x="10033000" y="5485456"/>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9" name="Rectangle 108"/>
          <p:cNvSpPr/>
          <p:nvPr userDrawn="1"/>
        </p:nvSpPr>
        <p:spPr>
          <a:xfrm>
            <a:off x="10033000" y="6171142"/>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userDrawn="1">
            <p:ph type="title" hasCustomPrompt="1"/>
          </p:nvPr>
        </p:nvSpPr>
        <p:spPr>
          <a:xfrm>
            <a:off x="485776" y="361950"/>
            <a:ext cx="9509124"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userDrawn="1">
            <p:ph type="body" sz="half" idx="15" hasCustomPrompt="1"/>
          </p:nvPr>
        </p:nvSpPr>
        <p:spPr>
          <a:xfrm>
            <a:off x="5200650"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userDrawn="1">
            <p:ph type="body" sz="half" idx="2" hasCustomPrompt="1"/>
          </p:nvPr>
        </p:nvSpPr>
        <p:spPr>
          <a:xfrm>
            <a:off x="485776" y="806807"/>
            <a:ext cx="9509124"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grpSp>
        <p:nvGrpSpPr>
          <p:cNvPr id="100" name="Group 99"/>
          <p:cNvGrpSpPr/>
          <p:nvPr userDrawn="1"/>
        </p:nvGrpSpPr>
        <p:grpSpPr>
          <a:xfrm>
            <a:off x="10460877" y="866671"/>
            <a:ext cx="1208299" cy="268942"/>
            <a:chOff x="10460877" y="887251"/>
            <a:chExt cx="1208299" cy="268942"/>
          </a:xfrm>
        </p:grpSpPr>
        <p:sp>
          <p:nvSpPr>
            <p:cNvPr id="9" name="Rectangle 8"/>
            <p:cNvSpPr/>
            <p:nvPr userDrawn="1"/>
          </p:nvSpPr>
          <p:spPr>
            <a:xfrm>
              <a:off x="10922177" y="913999"/>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 </a:t>
              </a:r>
              <a:r>
                <a:rPr lang="en-GB" sz="1400" baseline="0" dirty="0">
                  <a:solidFill>
                    <a:schemeClr val="accent2"/>
                  </a:solidFill>
                </a:rPr>
                <a:t>2</a:t>
              </a:r>
              <a:endParaRPr lang="en-GB" sz="1400" dirty="0">
                <a:solidFill>
                  <a:schemeClr val="accent2"/>
                </a:solidFill>
              </a:endParaRPr>
            </a:p>
          </p:txBody>
        </p:sp>
        <p:sp>
          <p:nvSpPr>
            <p:cNvPr id="68" name="Freeform 10"/>
            <p:cNvSpPr>
              <a:spLocks noEditPoints="1"/>
            </p:cNvSpPr>
            <p:nvPr userDrawn="1"/>
          </p:nvSpPr>
          <p:spPr bwMode="auto">
            <a:xfrm>
              <a:off x="10460877" y="887251"/>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5" name="Group 24"/>
          <p:cNvGrpSpPr/>
          <p:nvPr userDrawn="1"/>
        </p:nvGrpSpPr>
        <p:grpSpPr>
          <a:xfrm>
            <a:off x="10473386" y="2911468"/>
            <a:ext cx="1195790" cy="317727"/>
            <a:chOff x="10473386" y="2964687"/>
            <a:chExt cx="1195790" cy="317727"/>
          </a:xfrm>
        </p:grpSpPr>
        <p:sp>
          <p:nvSpPr>
            <p:cNvPr id="12" name="Rectangle 11"/>
            <p:cNvSpPr/>
            <p:nvPr userDrawn="1"/>
          </p:nvSpPr>
          <p:spPr>
            <a:xfrm>
              <a:off x="10922177" y="2977382"/>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5</a:t>
              </a:r>
              <a:endParaRPr lang="en-GB" sz="1400" dirty="0">
                <a:solidFill>
                  <a:schemeClr val="accent2"/>
                </a:solidFill>
              </a:endParaRPr>
            </a:p>
          </p:txBody>
        </p:sp>
        <p:sp>
          <p:nvSpPr>
            <p:cNvPr id="69" name="Freeform 23"/>
            <p:cNvSpPr>
              <a:spLocks noEditPoints="1"/>
            </p:cNvSpPr>
            <p:nvPr userDrawn="1"/>
          </p:nvSpPr>
          <p:spPr bwMode="auto">
            <a:xfrm>
              <a:off x="10473386" y="2964687"/>
              <a:ext cx="267691" cy="317727"/>
            </a:xfrm>
            <a:custGeom>
              <a:avLst/>
              <a:gdLst>
                <a:gd name="T0" fmla="*/ 76 w 80"/>
                <a:gd name="T1" fmla="*/ 96 h 96"/>
                <a:gd name="T2" fmla="*/ 40 w 80"/>
                <a:gd name="T3" fmla="*/ 96 h 96"/>
                <a:gd name="T4" fmla="*/ 36 w 80"/>
                <a:gd name="T5" fmla="*/ 92 h 96"/>
                <a:gd name="T6" fmla="*/ 36 w 80"/>
                <a:gd name="T7" fmla="*/ 76 h 96"/>
                <a:gd name="T8" fmla="*/ 40 w 80"/>
                <a:gd name="T9" fmla="*/ 72 h 96"/>
                <a:gd name="T10" fmla="*/ 76 w 80"/>
                <a:gd name="T11" fmla="*/ 72 h 96"/>
                <a:gd name="T12" fmla="*/ 80 w 80"/>
                <a:gd name="T13" fmla="*/ 76 h 96"/>
                <a:gd name="T14" fmla="*/ 80 w 80"/>
                <a:gd name="T15" fmla="*/ 92 h 96"/>
                <a:gd name="T16" fmla="*/ 76 w 80"/>
                <a:gd name="T17" fmla="*/ 96 h 96"/>
                <a:gd name="T18" fmla="*/ 44 w 80"/>
                <a:gd name="T19" fmla="*/ 88 h 96"/>
                <a:gd name="T20" fmla="*/ 72 w 80"/>
                <a:gd name="T21" fmla="*/ 88 h 96"/>
                <a:gd name="T22" fmla="*/ 72 w 80"/>
                <a:gd name="T23" fmla="*/ 80 h 96"/>
                <a:gd name="T24" fmla="*/ 44 w 80"/>
                <a:gd name="T25" fmla="*/ 80 h 96"/>
                <a:gd name="T26" fmla="*/ 44 w 80"/>
                <a:gd name="T27" fmla="*/ 88 h 96"/>
                <a:gd name="T28" fmla="*/ 76 w 80"/>
                <a:gd name="T29" fmla="*/ 64 h 96"/>
                <a:gd name="T30" fmla="*/ 4 w 80"/>
                <a:gd name="T31" fmla="*/ 64 h 96"/>
                <a:gd name="T32" fmla="*/ 0 w 80"/>
                <a:gd name="T33" fmla="*/ 60 h 96"/>
                <a:gd name="T34" fmla="*/ 0 w 80"/>
                <a:gd name="T35" fmla="*/ 4 h 96"/>
                <a:gd name="T36" fmla="*/ 4 w 80"/>
                <a:gd name="T37" fmla="*/ 0 h 96"/>
                <a:gd name="T38" fmla="*/ 76 w 80"/>
                <a:gd name="T39" fmla="*/ 0 h 96"/>
                <a:gd name="T40" fmla="*/ 80 w 80"/>
                <a:gd name="T41" fmla="*/ 4 h 96"/>
                <a:gd name="T42" fmla="*/ 80 w 80"/>
                <a:gd name="T43" fmla="*/ 60 h 96"/>
                <a:gd name="T44" fmla="*/ 76 w 80"/>
                <a:gd name="T45" fmla="*/ 64 h 96"/>
                <a:gd name="T46" fmla="*/ 8 w 80"/>
                <a:gd name="T47" fmla="*/ 56 h 96"/>
                <a:gd name="T48" fmla="*/ 72 w 80"/>
                <a:gd name="T49" fmla="*/ 56 h 96"/>
                <a:gd name="T50" fmla="*/ 72 w 80"/>
                <a:gd name="T51" fmla="*/ 24 h 96"/>
                <a:gd name="T52" fmla="*/ 8 w 80"/>
                <a:gd name="T53" fmla="*/ 24 h 96"/>
                <a:gd name="T54" fmla="*/ 8 w 80"/>
                <a:gd name="T55" fmla="*/ 56 h 96"/>
                <a:gd name="T56" fmla="*/ 8 w 80"/>
                <a:gd name="T57" fmla="*/ 16 h 96"/>
                <a:gd name="T58" fmla="*/ 72 w 80"/>
                <a:gd name="T59" fmla="*/ 16 h 96"/>
                <a:gd name="T60" fmla="*/ 72 w 80"/>
                <a:gd name="T61" fmla="*/ 8 h 96"/>
                <a:gd name="T62" fmla="*/ 8 w 80"/>
                <a:gd name="T63" fmla="*/ 8 h 96"/>
                <a:gd name="T64" fmla="*/ 8 w 80"/>
                <a:gd name="T65"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96">
                  <a:moveTo>
                    <a:pt x="76" y="96"/>
                  </a:moveTo>
                  <a:cubicBezTo>
                    <a:pt x="40" y="96"/>
                    <a:pt x="40" y="96"/>
                    <a:pt x="40" y="96"/>
                  </a:cubicBezTo>
                  <a:cubicBezTo>
                    <a:pt x="38" y="96"/>
                    <a:pt x="36" y="94"/>
                    <a:pt x="36" y="92"/>
                  </a:cubicBezTo>
                  <a:cubicBezTo>
                    <a:pt x="36" y="76"/>
                    <a:pt x="36" y="76"/>
                    <a:pt x="36" y="76"/>
                  </a:cubicBezTo>
                  <a:cubicBezTo>
                    <a:pt x="36" y="74"/>
                    <a:pt x="38" y="72"/>
                    <a:pt x="40" y="72"/>
                  </a:cubicBezTo>
                  <a:cubicBezTo>
                    <a:pt x="76" y="72"/>
                    <a:pt x="76" y="72"/>
                    <a:pt x="76" y="72"/>
                  </a:cubicBezTo>
                  <a:cubicBezTo>
                    <a:pt x="78" y="72"/>
                    <a:pt x="80" y="74"/>
                    <a:pt x="80" y="76"/>
                  </a:cubicBezTo>
                  <a:cubicBezTo>
                    <a:pt x="80" y="92"/>
                    <a:pt x="80" y="92"/>
                    <a:pt x="80" y="92"/>
                  </a:cubicBezTo>
                  <a:cubicBezTo>
                    <a:pt x="80" y="94"/>
                    <a:pt x="78" y="96"/>
                    <a:pt x="76" y="96"/>
                  </a:cubicBezTo>
                  <a:close/>
                  <a:moveTo>
                    <a:pt x="44" y="88"/>
                  </a:moveTo>
                  <a:cubicBezTo>
                    <a:pt x="72" y="88"/>
                    <a:pt x="72" y="88"/>
                    <a:pt x="72" y="88"/>
                  </a:cubicBezTo>
                  <a:cubicBezTo>
                    <a:pt x="72" y="80"/>
                    <a:pt x="72" y="80"/>
                    <a:pt x="72" y="80"/>
                  </a:cubicBezTo>
                  <a:cubicBezTo>
                    <a:pt x="44" y="80"/>
                    <a:pt x="44" y="80"/>
                    <a:pt x="44" y="80"/>
                  </a:cubicBezTo>
                  <a:lnTo>
                    <a:pt x="44" y="88"/>
                  </a:lnTo>
                  <a:close/>
                  <a:moveTo>
                    <a:pt x="76" y="64"/>
                  </a:moveTo>
                  <a:cubicBezTo>
                    <a:pt x="4" y="64"/>
                    <a:pt x="4" y="64"/>
                    <a:pt x="4" y="64"/>
                  </a:cubicBezTo>
                  <a:cubicBezTo>
                    <a:pt x="2" y="64"/>
                    <a:pt x="0" y="62"/>
                    <a:pt x="0" y="60"/>
                  </a:cubicBezTo>
                  <a:cubicBezTo>
                    <a:pt x="0" y="4"/>
                    <a:pt x="0" y="4"/>
                    <a:pt x="0" y="4"/>
                  </a:cubicBezTo>
                  <a:cubicBezTo>
                    <a:pt x="0" y="2"/>
                    <a:pt x="2" y="0"/>
                    <a:pt x="4" y="0"/>
                  </a:cubicBezTo>
                  <a:cubicBezTo>
                    <a:pt x="76" y="0"/>
                    <a:pt x="76" y="0"/>
                    <a:pt x="76" y="0"/>
                  </a:cubicBezTo>
                  <a:cubicBezTo>
                    <a:pt x="78" y="0"/>
                    <a:pt x="80" y="2"/>
                    <a:pt x="80" y="4"/>
                  </a:cubicBezTo>
                  <a:cubicBezTo>
                    <a:pt x="80" y="60"/>
                    <a:pt x="80" y="60"/>
                    <a:pt x="80" y="60"/>
                  </a:cubicBezTo>
                  <a:cubicBezTo>
                    <a:pt x="80" y="62"/>
                    <a:pt x="78" y="64"/>
                    <a:pt x="76" y="64"/>
                  </a:cubicBezTo>
                  <a:close/>
                  <a:moveTo>
                    <a:pt x="8" y="56"/>
                  </a:moveTo>
                  <a:cubicBezTo>
                    <a:pt x="72" y="56"/>
                    <a:pt x="72" y="56"/>
                    <a:pt x="72" y="56"/>
                  </a:cubicBezTo>
                  <a:cubicBezTo>
                    <a:pt x="72" y="24"/>
                    <a:pt x="72" y="24"/>
                    <a:pt x="72" y="24"/>
                  </a:cubicBezTo>
                  <a:cubicBezTo>
                    <a:pt x="8" y="24"/>
                    <a:pt x="8" y="24"/>
                    <a:pt x="8" y="24"/>
                  </a:cubicBezTo>
                  <a:lnTo>
                    <a:pt x="8" y="56"/>
                  </a:lnTo>
                  <a:close/>
                  <a:moveTo>
                    <a:pt x="8" y="16"/>
                  </a:moveTo>
                  <a:cubicBezTo>
                    <a:pt x="72" y="16"/>
                    <a:pt x="72" y="16"/>
                    <a:pt x="72" y="16"/>
                  </a:cubicBezTo>
                  <a:cubicBezTo>
                    <a:pt x="72" y="8"/>
                    <a:pt x="72" y="8"/>
                    <a:pt x="72" y="8"/>
                  </a:cubicBezTo>
                  <a:cubicBezTo>
                    <a:pt x="8" y="8"/>
                    <a:pt x="8" y="8"/>
                    <a:pt x="8" y="8"/>
                  </a:cubicBezTo>
                  <a:lnTo>
                    <a:pt x="8" y="1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99" name="Group 98"/>
          <p:cNvGrpSpPr/>
          <p:nvPr userDrawn="1"/>
        </p:nvGrpSpPr>
        <p:grpSpPr>
          <a:xfrm>
            <a:off x="10472760" y="1522001"/>
            <a:ext cx="1196416" cy="323982"/>
            <a:chOff x="10472760" y="1547526"/>
            <a:chExt cx="1196416" cy="323982"/>
          </a:xfrm>
        </p:grpSpPr>
        <p:sp>
          <p:nvSpPr>
            <p:cNvPr id="10" name="Rectangle 9"/>
            <p:cNvSpPr/>
            <p:nvPr userDrawn="1"/>
          </p:nvSpPr>
          <p:spPr>
            <a:xfrm>
              <a:off x="10922177" y="1601794"/>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bg1"/>
                  </a:solidFill>
                </a:rPr>
                <a:t>Section</a:t>
              </a:r>
              <a:r>
                <a:rPr lang="en-GB" sz="1400" baseline="0" dirty="0">
                  <a:solidFill>
                    <a:schemeClr val="bg1"/>
                  </a:solidFill>
                </a:rPr>
                <a:t> 3</a:t>
              </a:r>
              <a:endParaRPr lang="en-GB" sz="1400" dirty="0">
                <a:solidFill>
                  <a:schemeClr val="bg1"/>
                </a:solidFill>
              </a:endParaRPr>
            </a:p>
          </p:txBody>
        </p:sp>
        <p:grpSp>
          <p:nvGrpSpPr>
            <p:cNvPr id="70" name="Group 13"/>
            <p:cNvGrpSpPr>
              <a:grpSpLocks noChangeAspect="1"/>
            </p:cNvGrpSpPr>
            <p:nvPr userDrawn="1"/>
          </p:nvGrpSpPr>
          <p:grpSpPr bwMode="auto">
            <a:xfrm>
              <a:off x="10472760" y="1547526"/>
              <a:ext cx="268942" cy="323982"/>
              <a:chOff x="292" y="2131"/>
              <a:chExt cx="215" cy="259"/>
            </a:xfrm>
            <a:solidFill>
              <a:schemeClr val="bg1"/>
            </a:solidFill>
          </p:grpSpPr>
          <p:sp>
            <p:nvSpPr>
              <p:cNvPr id="71"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4" name="Group 23"/>
          <p:cNvGrpSpPr/>
          <p:nvPr userDrawn="1"/>
        </p:nvGrpSpPr>
        <p:grpSpPr>
          <a:xfrm>
            <a:off x="10473385" y="3615583"/>
            <a:ext cx="1195791" cy="317727"/>
            <a:chOff x="10473385" y="3630879"/>
            <a:chExt cx="1195791" cy="317727"/>
          </a:xfrm>
        </p:grpSpPr>
        <p:sp>
          <p:nvSpPr>
            <p:cNvPr id="14" name="Rectangle 13"/>
            <p:cNvSpPr/>
            <p:nvPr userDrawn="1"/>
          </p:nvSpPr>
          <p:spPr>
            <a:xfrm>
              <a:off x="10922177" y="3665176"/>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6</a:t>
              </a:r>
              <a:endParaRPr lang="en-GB" sz="1400" dirty="0">
                <a:solidFill>
                  <a:schemeClr val="accent2"/>
                </a:solidFill>
              </a:endParaRPr>
            </a:p>
          </p:txBody>
        </p:sp>
        <p:grpSp>
          <p:nvGrpSpPr>
            <p:cNvPr id="73" name="Group 26"/>
            <p:cNvGrpSpPr>
              <a:grpSpLocks noChangeAspect="1"/>
            </p:cNvGrpSpPr>
            <p:nvPr userDrawn="1"/>
          </p:nvGrpSpPr>
          <p:grpSpPr bwMode="auto">
            <a:xfrm>
              <a:off x="10473385" y="3630879"/>
              <a:ext cx="267692" cy="317727"/>
              <a:chOff x="3091" y="1784"/>
              <a:chExt cx="214" cy="254"/>
            </a:xfrm>
            <a:solidFill>
              <a:schemeClr val="accent2"/>
            </a:solidFill>
          </p:grpSpPr>
          <p:sp>
            <p:nvSpPr>
              <p:cNvPr id="74" name="Freeform 27"/>
              <p:cNvSpPr>
                <a:spLocks noEditPoints="1"/>
              </p:cNvSpPr>
              <p:nvPr/>
            </p:nvSpPr>
            <p:spPr bwMode="auto">
              <a:xfrm>
                <a:off x="3091" y="1784"/>
                <a:ext cx="214" cy="254"/>
              </a:xfrm>
              <a:custGeom>
                <a:avLst/>
                <a:gdLst>
                  <a:gd name="T0" fmla="*/ 76 w 80"/>
                  <a:gd name="T1" fmla="*/ 96 h 96"/>
                  <a:gd name="T2" fmla="*/ 4 w 80"/>
                  <a:gd name="T3" fmla="*/ 96 h 96"/>
                  <a:gd name="T4" fmla="*/ 0 w 80"/>
                  <a:gd name="T5" fmla="*/ 92 h 96"/>
                  <a:gd name="T6" fmla="*/ 0 w 80"/>
                  <a:gd name="T7" fmla="*/ 4 h 96"/>
                  <a:gd name="T8" fmla="*/ 4 w 80"/>
                  <a:gd name="T9" fmla="*/ 0 h 96"/>
                  <a:gd name="T10" fmla="*/ 76 w 80"/>
                  <a:gd name="T11" fmla="*/ 0 h 96"/>
                  <a:gd name="T12" fmla="*/ 80 w 80"/>
                  <a:gd name="T13" fmla="*/ 4 h 96"/>
                  <a:gd name="T14" fmla="*/ 80 w 80"/>
                  <a:gd name="T15" fmla="*/ 92 h 96"/>
                  <a:gd name="T16" fmla="*/ 76 w 80"/>
                  <a:gd name="T17" fmla="*/ 96 h 96"/>
                  <a:gd name="T18" fmla="*/ 8 w 80"/>
                  <a:gd name="T19" fmla="*/ 88 h 96"/>
                  <a:gd name="T20" fmla="*/ 72 w 80"/>
                  <a:gd name="T21" fmla="*/ 88 h 96"/>
                  <a:gd name="T22" fmla="*/ 72 w 80"/>
                  <a:gd name="T23" fmla="*/ 8 h 96"/>
                  <a:gd name="T24" fmla="*/ 8 w 80"/>
                  <a:gd name="T25" fmla="*/ 8 h 96"/>
                  <a:gd name="T26" fmla="*/ 8 w 80"/>
                  <a:gd name="T27" fmla="*/ 88 h 96"/>
                  <a:gd name="T28" fmla="*/ 40 w 80"/>
                  <a:gd name="T29" fmla="*/ 80 h 96"/>
                  <a:gd name="T30" fmla="*/ 36 w 80"/>
                  <a:gd name="T31" fmla="*/ 76 h 96"/>
                  <a:gd name="T32" fmla="*/ 36 w 80"/>
                  <a:gd name="T33" fmla="*/ 20 h 96"/>
                  <a:gd name="T34" fmla="*/ 40 w 80"/>
                  <a:gd name="T35" fmla="*/ 16 h 96"/>
                  <a:gd name="T36" fmla="*/ 44 w 80"/>
                  <a:gd name="T37" fmla="*/ 20 h 96"/>
                  <a:gd name="T38" fmla="*/ 44 w 80"/>
                  <a:gd name="T39" fmla="*/ 76 h 96"/>
                  <a:gd name="T40" fmla="*/ 40 w 80"/>
                  <a:gd name="T41" fmla="*/ 8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96">
                    <a:moveTo>
                      <a:pt x="76" y="96"/>
                    </a:moveTo>
                    <a:cubicBezTo>
                      <a:pt x="4" y="96"/>
                      <a:pt x="4" y="96"/>
                      <a:pt x="4" y="96"/>
                    </a:cubicBezTo>
                    <a:cubicBezTo>
                      <a:pt x="2" y="96"/>
                      <a:pt x="0" y="94"/>
                      <a:pt x="0" y="92"/>
                    </a:cubicBezTo>
                    <a:cubicBezTo>
                      <a:pt x="0" y="4"/>
                      <a:pt x="0" y="4"/>
                      <a:pt x="0" y="4"/>
                    </a:cubicBezTo>
                    <a:cubicBezTo>
                      <a:pt x="0" y="2"/>
                      <a:pt x="2" y="0"/>
                      <a:pt x="4" y="0"/>
                    </a:cubicBezTo>
                    <a:cubicBezTo>
                      <a:pt x="76" y="0"/>
                      <a:pt x="76" y="0"/>
                      <a:pt x="76" y="0"/>
                    </a:cubicBezTo>
                    <a:cubicBezTo>
                      <a:pt x="78" y="0"/>
                      <a:pt x="80" y="2"/>
                      <a:pt x="80" y="4"/>
                    </a:cubicBezTo>
                    <a:cubicBezTo>
                      <a:pt x="80" y="92"/>
                      <a:pt x="80" y="92"/>
                      <a:pt x="80" y="92"/>
                    </a:cubicBezTo>
                    <a:cubicBezTo>
                      <a:pt x="80" y="94"/>
                      <a:pt x="78" y="96"/>
                      <a:pt x="76" y="96"/>
                    </a:cubicBezTo>
                    <a:close/>
                    <a:moveTo>
                      <a:pt x="8" y="88"/>
                    </a:moveTo>
                    <a:cubicBezTo>
                      <a:pt x="72" y="88"/>
                      <a:pt x="72" y="88"/>
                      <a:pt x="72" y="88"/>
                    </a:cubicBezTo>
                    <a:cubicBezTo>
                      <a:pt x="72" y="8"/>
                      <a:pt x="72" y="8"/>
                      <a:pt x="72" y="8"/>
                    </a:cubicBezTo>
                    <a:cubicBezTo>
                      <a:pt x="8" y="8"/>
                      <a:pt x="8" y="8"/>
                      <a:pt x="8" y="8"/>
                    </a:cubicBezTo>
                    <a:lnTo>
                      <a:pt x="8" y="88"/>
                    </a:lnTo>
                    <a:close/>
                    <a:moveTo>
                      <a:pt x="40" y="80"/>
                    </a:moveTo>
                    <a:cubicBezTo>
                      <a:pt x="38" y="80"/>
                      <a:pt x="36" y="78"/>
                      <a:pt x="36" y="76"/>
                    </a:cubicBezTo>
                    <a:cubicBezTo>
                      <a:pt x="36" y="20"/>
                      <a:pt x="36" y="20"/>
                      <a:pt x="36" y="20"/>
                    </a:cubicBezTo>
                    <a:cubicBezTo>
                      <a:pt x="36" y="18"/>
                      <a:pt x="38" y="16"/>
                      <a:pt x="40" y="16"/>
                    </a:cubicBezTo>
                    <a:cubicBezTo>
                      <a:pt x="42" y="16"/>
                      <a:pt x="44" y="18"/>
                      <a:pt x="44" y="20"/>
                    </a:cubicBezTo>
                    <a:cubicBezTo>
                      <a:pt x="44" y="76"/>
                      <a:pt x="44" y="76"/>
                      <a:pt x="44" y="76"/>
                    </a:cubicBezTo>
                    <a:cubicBezTo>
                      <a:pt x="44" y="78"/>
                      <a:pt x="42"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8"/>
              <p:cNvSpPr>
                <a:spLocks/>
              </p:cNvSpPr>
              <p:nvPr/>
            </p:nvSpPr>
            <p:spPr bwMode="auto">
              <a:xfrm>
                <a:off x="3145" y="1837"/>
                <a:ext cx="101" cy="138"/>
              </a:xfrm>
              <a:custGeom>
                <a:avLst/>
                <a:gdLst>
                  <a:gd name="T0" fmla="*/ 19 w 38"/>
                  <a:gd name="T1" fmla="*/ 52 h 52"/>
                  <a:gd name="T2" fmla="*/ 3 w 38"/>
                  <a:gd name="T3" fmla="*/ 49 h 52"/>
                  <a:gd name="T4" fmla="*/ 1 w 38"/>
                  <a:gd name="T5" fmla="*/ 43 h 52"/>
                  <a:gd name="T6" fmla="*/ 6 w 38"/>
                  <a:gd name="T7" fmla="*/ 41 h 52"/>
                  <a:gd name="T8" fmla="*/ 27 w 38"/>
                  <a:gd name="T9" fmla="*/ 42 h 52"/>
                  <a:gd name="T10" fmla="*/ 29 w 38"/>
                  <a:gd name="T11" fmla="*/ 37 h 52"/>
                  <a:gd name="T12" fmla="*/ 19 w 38"/>
                  <a:gd name="T13" fmla="*/ 31 h 52"/>
                  <a:gd name="T14" fmla="*/ 3 w 38"/>
                  <a:gd name="T15" fmla="*/ 15 h 52"/>
                  <a:gd name="T16" fmla="*/ 9 w 38"/>
                  <a:gd name="T17" fmla="*/ 4 h 52"/>
                  <a:gd name="T18" fmla="*/ 36 w 38"/>
                  <a:gd name="T19" fmla="*/ 5 h 52"/>
                  <a:gd name="T20" fmla="*/ 37 w 38"/>
                  <a:gd name="T21" fmla="*/ 11 h 52"/>
                  <a:gd name="T22" fmla="*/ 32 w 38"/>
                  <a:gd name="T23" fmla="*/ 12 h 52"/>
                  <a:gd name="T24" fmla="*/ 13 w 38"/>
                  <a:gd name="T25" fmla="*/ 11 h 52"/>
                  <a:gd name="T26" fmla="*/ 11 w 38"/>
                  <a:gd name="T27" fmla="*/ 15 h 52"/>
                  <a:gd name="T28" fmla="*/ 22 w 38"/>
                  <a:gd name="T29" fmla="*/ 23 h 52"/>
                  <a:gd name="T30" fmla="*/ 37 w 38"/>
                  <a:gd name="T31" fmla="*/ 37 h 52"/>
                  <a:gd name="T32" fmla="*/ 31 w 38"/>
                  <a:gd name="T33" fmla="*/ 49 h 52"/>
                  <a:gd name="T34" fmla="*/ 19 w 38"/>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2">
                    <a:moveTo>
                      <a:pt x="19" y="52"/>
                    </a:moveTo>
                    <a:cubicBezTo>
                      <a:pt x="14" y="52"/>
                      <a:pt x="8" y="50"/>
                      <a:pt x="3" y="49"/>
                    </a:cubicBezTo>
                    <a:cubicBezTo>
                      <a:pt x="1" y="48"/>
                      <a:pt x="0" y="45"/>
                      <a:pt x="1" y="43"/>
                    </a:cubicBezTo>
                    <a:cubicBezTo>
                      <a:pt x="1" y="41"/>
                      <a:pt x="4" y="40"/>
                      <a:pt x="6" y="41"/>
                    </a:cubicBezTo>
                    <a:cubicBezTo>
                      <a:pt x="14" y="44"/>
                      <a:pt x="23" y="45"/>
                      <a:pt x="27" y="42"/>
                    </a:cubicBezTo>
                    <a:cubicBezTo>
                      <a:pt x="28" y="41"/>
                      <a:pt x="29" y="40"/>
                      <a:pt x="29" y="37"/>
                    </a:cubicBezTo>
                    <a:cubicBezTo>
                      <a:pt x="29" y="34"/>
                      <a:pt x="26" y="33"/>
                      <a:pt x="19" y="31"/>
                    </a:cubicBezTo>
                    <a:cubicBezTo>
                      <a:pt x="12" y="28"/>
                      <a:pt x="3" y="25"/>
                      <a:pt x="3" y="15"/>
                    </a:cubicBezTo>
                    <a:cubicBezTo>
                      <a:pt x="3" y="10"/>
                      <a:pt x="5" y="6"/>
                      <a:pt x="9" y="4"/>
                    </a:cubicBezTo>
                    <a:cubicBezTo>
                      <a:pt x="17" y="0"/>
                      <a:pt x="30" y="2"/>
                      <a:pt x="36" y="5"/>
                    </a:cubicBezTo>
                    <a:cubicBezTo>
                      <a:pt x="37" y="6"/>
                      <a:pt x="38" y="9"/>
                      <a:pt x="37" y="11"/>
                    </a:cubicBezTo>
                    <a:cubicBezTo>
                      <a:pt x="36" y="13"/>
                      <a:pt x="34" y="13"/>
                      <a:pt x="32" y="12"/>
                    </a:cubicBezTo>
                    <a:cubicBezTo>
                      <a:pt x="28" y="10"/>
                      <a:pt x="18" y="8"/>
                      <a:pt x="13" y="11"/>
                    </a:cubicBezTo>
                    <a:cubicBezTo>
                      <a:pt x="11" y="12"/>
                      <a:pt x="11" y="13"/>
                      <a:pt x="11" y="15"/>
                    </a:cubicBezTo>
                    <a:cubicBezTo>
                      <a:pt x="11" y="19"/>
                      <a:pt x="14" y="21"/>
                      <a:pt x="22" y="23"/>
                    </a:cubicBezTo>
                    <a:cubicBezTo>
                      <a:pt x="28" y="25"/>
                      <a:pt x="37" y="28"/>
                      <a:pt x="37" y="37"/>
                    </a:cubicBezTo>
                    <a:cubicBezTo>
                      <a:pt x="37" y="43"/>
                      <a:pt x="34" y="47"/>
                      <a:pt x="31" y="49"/>
                    </a:cubicBezTo>
                    <a:cubicBezTo>
                      <a:pt x="28" y="51"/>
                      <a:pt x="24" y="52"/>
                      <a:pt x="1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1" name="Group 100"/>
          <p:cNvGrpSpPr/>
          <p:nvPr userDrawn="1"/>
        </p:nvGrpSpPr>
        <p:grpSpPr>
          <a:xfrm>
            <a:off x="10447117" y="187574"/>
            <a:ext cx="1222059" cy="292709"/>
            <a:chOff x="10447117" y="187574"/>
            <a:chExt cx="1222059" cy="292709"/>
          </a:xfrm>
        </p:grpSpPr>
        <p:sp>
          <p:nvSpPr>
            <p:cNvPr id="8" name="Rectangle 7"/>
            <p:cNvSpPr/>
            <p:nvPr userDrawn="1"/>
          </p:nvSpPr>
          <p:spPr>
            <a:xfrm>
              <a:off x="10922177" y="226205"/>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1</a:t>
              </a:r>
              <a:endParaRPr lang="en-GB" sz="1400" dirty="0">
                <a:solidFill>
                  <a:schemeClr val="accent2"/>
                </a:solidFill>
              </a:endParaRPr>
            </a:p>
          </p:txBody>
        </p:sp>
        <p:grpSp>
          <p:nvGrpSpPr>
            <p:cNvPr id="76" name="Group 4"/>
            <p:cNvGrpSpPr>
              <a:grpSpLocks noChangeAspect="1"/>
            </p:cNvGrpSpPr>
            <p:nvPr userDrawn="1"/>
          </p:nvGrpSpPr>
          <p:grpSpPr bwMode="auto">
            <a:xfrm>
              <a:off x="10447117" y="187574"/>
              <a:ext cx="320229" cy="292709"/>
              <a:chOff x="293" y="695"/>
              <a:chExt cx="256" cy="234"/>
            </a:xfrm>
            <a:solidFill>
              <a:schemeClr val="accent2"/>
            </a:solidFill>
          </p:grpSpPr>
          <p:sp>
            <p:nvSpPr>
              <p:cNvPr id="77"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98" name="Group 97"/>
          <p:cNvGrpSpPr/>
          <p:nvPr userDrawn="1"/>
        </p:nvGrpSpPr>
        <p:grpSpPr>
          <a:xfrm>
            <a:off x="10455248" y="2232371"/>
            <a:ext cx="1213928" cy="292709"/>
            <a:chOff x="10455248" y="2259847"/>
            <a:chExt cx="1213928" cy="292709"/>
          </a:xfrm>
        </p:grpSpPr>
        <p:sp>
          <p:nvSpPr>
            <p:cNvPr id="11" name="Rectangle 10"/>
            <p:cNvSpPr/>
            <p:nvPr userDrawn="1"/>
          </p:nvSpPr>
          <p:spPr>
            <a:xfrm>
              <a:off x="10922177" y="2289588"/>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4</a:t>
              </a:r>
              <a:endParaRPr lang="en-GB" sz="1400" dirty="0">
                <a:solidFill>
                  <a:schemeClr val="accent2"/>
                </a:solidFill>
              </a:endParaRPr>
            </a:p>
          </p:txBody>
        </p:sp>
        <p:sp>
          <p:nvSpPr>
            <p:cNvPr id="79" name="Freeform 19"/>
            <p:cNvSpPr>
              <a:spLocks noEditPoints="1"/>
            </p:cNvSpPr>
            <p:nvPr userDrawn="1"/>
          </p:nvSpPr>
          <p:spPr bwMode="auto">
            <a:xfrm>
              <a:off x="10455248" y="2259847"/>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8" name="Group 17"/>
          <p:cNvGrpSpPr/>
          <p:nvPr userDrawn="1"/>
        </p:nvGrpSpPr>
        <p:grpSpPr>
          <a:xfrm>
            <a:off x="10460877" y="4998795"/>
            <a:ext cx="1208299" cy="268942"/>
            <a:chOff x="10460877" y="4991891"/>
            <a:chExt cx="1208299" cy="268942"/>
          </a:xfrm>
        </p:grpSpPr>
        <p:sp>
          <p:nvSpPr>
            <p:cNvPr id="21" name="Rectangle 20"/>
            <p:cNvSpPr/>
            <p:nvPr userDrawn="1"/>
          </p:nvSpPr>
          <p:spPr>
            <a:xfrm>
              <a:off x="10922177" y="5040765"/>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 </a:t>
              </a:r>
              <a:r>
                <a:rPr lang="en-GB" sz="1400" baseline="0" dirty="0">
                  <a:solidFill>
                    <a:schemeClr val="accent2"/>
                  </a:solidFill>
                </a:rPr>
                <a:t>8</a:t>
              </a:r>
              <a:endParaRPr lang="en-GB" sz="1400" dirty="0">
                <a:solidFill>
                  <a:schemeClr val="accent2"/>
                </a:solidFill>
              </a:endParaRPr>
            </a:p>
          </p:txBody>
        </p:sp>
        <p:sp>
          <p:nvSpPr>
            <p:cNvPr id="80" name="Freeform 10"/>
            <p:cNvSpPr>
              <a:spLocks noEditPoints="1"/>
            </p:cNvSpPr>
            <p:nvPr userDrawn="1"/>
          </p:nvSpPr>
          <p:spPr bwMode="auto">
            <a:xfrm>
              <a:off x="10460877" y="4991891"/>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7" name="Group 16"/>
          <p:cNvGrpSpPr/>
          <p:nvPr userDrawn="1"/>
        </p:nvGrpSpPr>
        <p:grpSpPr>
          <a:xfrm>
            <a:off x="10472760" y="5654125"/>
            <a:ext cx="1196416" cy="323982"/>
            <a:chOff x="10472760" y="5652166"/>
            <a:chExt cx="1196416" cy="323982"/>
          </a:xfrm>
        </p:grpSpPr>
        <p:sp>
          <p:nvSpPr>
            <p:cNvPr id="22" name="Rectangle 21"/>
            <p:cNvSpPr/>
            <p:nvPr userDrawn="1"/>
          </p:nvSpPr>
          <p:spPr>
            <a:xfrm>
              <a:off x="10922177" y="5728559"/>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9</a:t>
              </a:r>
              <a:endParaRPr lang="en-GB" sz="1400" dirty="0">
                <a:solidFill>
                  <a:schemeClr val="accent2"/>
                </a:solidFill>
              </a:endParaRPr>
            </a:p>
          </p:txBody>
        </p:sp>
        <p:grpSp>
          <p:nvGrpSpPr>
            <p:cNvPr id="81" name="Group 13"/>
            <p:cNvGrpSpPr>
              <a:grpSpLocks noChangeAspect="1"/>
            </p:cNvGrpSpPr>
            <p:nvPr userDrawn="1"/>
          </p:nvGrpSpPr>
          <p:grpSpPr bwMode="auto">
            <a:xfrm>
              <a:off x="10472760" y="5652166"/>
              <a:ext cx="268942" cy="323982"/>
              <a:chOff x="292" y="2131"/>
              <a:chExt cx="215" cy="259"/>
            </a:xfrm>
            <a:solidFill>
              <a:schemeClr val="accent2"/>
            </a:solidFill>
          </p:grpSpPr>
          <p:sp>
            <p:nvSpPr>
              <p:cNvPr id="82"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9" name="Group 18"/>
          <p:cNvGrpSpPr/>
          <p:nvPr userDrawn="1"/>
        </p:nvGrpSpPr>
        <p:grpSpPr>
          <a:xfrm>
            <a:off x="10447117" y="4319698"/>
            <a:ext cx="1222059" cy="292709"/>
            <a:chOff x="10447117" y="4292214"/>
            <a:chExt cx="1222059" cy="292709"/>
          </a:xfrm>
        </p:grpSpPr>
        <p:sp>
          <p:nvSpPr>
            <p:cNvPr id="20" name="Rectangle 19"/>
            <p:cNvSpPr/>
            <p:nvPr userDrawn="1"/>
          </p:nvSpPr>
          <p:spPr>
            <a:xfrm>
              <a:off x="10922177" y="4352971"/>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7</a:t>
              </a:r>
              <a:endParaRPr lang="en-GB" sz="1400" dirty="0">
                <a:solidFill>
                  <a:schemeClr val="accent2"/>
                </a:solidFill>
              </a:endParaRPr>
            </a:p>
          </p:txBody>
        </p:sp>
        <p:grpSp>
          <p:nvGrpSpPr>
            <p:cNvPr id="84" name="Group 4"/>
            <p:cNvGrpSpPr>
              <a:grpSpLocks noChangeAspect="1"/>
            </p:cNvGrpSpPr>
            <p:nvPr userDrawn="1"/>
          </p:nvGrpSpPr>
          <p:grpSpPr bwMode="auto">
            <a:xfrm>
              <a:off x="10447117" y="4292214"/>
              <a:ext cx="320229" cy="292709"/>
              <a:chOff x="293" y="695"/>
              <a:chExt cx="256" cy="234"/>
            </a:xfrm>
            <a:solidFill>
              <a:schemeClr val="accent2"/>
            </a:solidFill>
          </p:grpSpPr>
          <p:sp>
            <p:nvSpPr>
              <p:cNvPr id="85"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6" name="Group 15"/>
          <p:cNvGrpSpPr/>
          <p:nvPr userDrawn="1"/>
        </p:nvGrpSpPr>
        <p:grpSpPr>
          <a:xfrm>
            <a:off x="10455248" y="6364487"/>
            <a:ext cx="1313315" cy="292709"/>
            <a:chOff x="10455248" y="6364487"/>
            <a:chExt cx="1313315" cy="292709"/>
          </a:xfrm>
        </p:grpSpPr>
        <p:sp>
          <p:nvSpPr>
            <p:cNvPr id="23" name="Rectangle 22"/>
            <p:cNvSpPr/>
            <p:nvPr userDrawn="1"/>
          </p:nvSpPr>
          <p:spPr>
            <a:xfrm>
              <a:off x="10922177" y="6416349"/>
              <a:ext cx="846386"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10</a:t>
              </a:r>
              <a:endParaRPr lang="en-GB" sz="1400" dirty="0">
                <a:solidFill>
                  <a:schemeClr val="accent2"/>
                </a:solidFill>
              </a:endParaRPr>
            </a:p>
          </p:txBody>
        </p:sp>
        <p:sp>
          <p:nvSpPr>
            <p:cNvPr id="87" name="Freeform 19"/>
            <p:cNvSpPr>
              <a:spLocks noEditPoints="1"/>
            </p:cNvSpPr>
            <p:nvPr userDrawn="1"/>
          </p:nvSpPr>
          <p:spPr bwMode="auto">
            <a:xfrm>
              <a:off x="10455248" y="6364487"/>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89" name="Straight Connector 88"/>
          <p:cNvCxnSpPr/>
          <p:nvPr userDrawn="1"/>
        </p:nvCxnSpPr>
        <p:spPr>
          <a:xfrm>
            <a:off x="10033000" y="686270"/>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0" name="Straight Connector 89"/>
          <p:cNvCxnSpPr/>
          <p:nvPr userDrawn="1"/>
        </p:nvCxnSpPr>
        <p:spPr>
          <a:xfrm>
            <a:off x="10033000" y="1371952"/>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1" name="Straight Connector 90"/>
          <p:cNvCxnSpPr/>
          <p:nvPr userDrawn="1"/>
        </p:nvCxnSpPr>
        <p:spPr>
          <a:xfrm>
            <a:off x="10033000" y="2057634"/>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2" name="Straight Connector 91"/>
          <p:cNvCxnSpPr/>
          <p:nvPr userDrawn="1"/>
        </p:nvCxnSpPr>
        <p:spPr>
          <a:xfrm>
            <a:off x="10033000" y="2743316"/>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3" name="Straight Connector 92"/>
          <p:cNvCxnSpPr/>
          <p:nvPr userDrawn="1"/>
        </p:nvCxnSpPr>
        <p:spPr>
          <a:xfrm>
            <a:off x="10033000" y="3428998"/>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4" name="Straight Connector 93"/>
          <p:cNvCxnSpPr/>
          <p:nvPr userDrawn="1"/>
        </p:nvCxnSpPr>
        <p:spPr>
          <a:xfrm>
            <a:off x="10033000" y="4114680"/>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p:cNvCxnSpPr/>
          <p:nvPr userDrawn="1"/>
        </p:nvCxnSpPr>
        <p:spPr>
          <a:xfrm>
            <a:off x="10033000" y="4800362"/>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p:cNvCxnSpPr/>
          <p:nvPr userDrawn="1"/>
        </p:nvCxnSpPr>
        <p:spPr>
          <a:xfrm>
            <a:off x="10033000" y="5486044"/>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p:cNvCxnSpPr/>
          <p:nvPr userDrawn="1"/>
        </p:nvCxnSpPr>
        <p:spPr>
          <a:xfrm>
            <a:off x="10033000" y="6171726"/>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65" name="TextBox 64"/>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a:solidFill>
                  <a:srgbClr val="FF0000"/>
                </a:solidFill>
              </a:rPr>
              <a:t>These slides provide</a:t>
            </a:r>
            <a:r>
              <a:rPr lang="en-US" sz="1050" baseline="0" dirty="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a:solidFill>
                <a:srgbClr val="FF0000"/>
              </a:solidFill>
            </a:endParaRPr>
          </a:p>
          <a:p>
            <a:pPr algn="l"/>
            <a:r>
              <a:rPr lang="en-US" sz="1050" baseline="0" dirty="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160223577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Interactive right icons">
    <p:spTree>
      <p:nvGrpSpPr>
        <p:cNvPr id="1" name=""/>
        <p:cNvGrpSpPr/>
        <p:nvPr/>
      </p:nvGrpSpPr>
      <p:grpSpPr>
        <a:xfrm>
          <a:off x="0" y="0"/>
          <a:ext cx="0" cy="0"/>
          <a:chOff x="0" y="0"/>
          <a:chExt cx="0" cy="0"/>
        </a:xfrm>
      </p:grpSpPr>
      <p:sp>
        <p:nvSpPr>
          <p:cNvPr id="3" name="Rectangle 2"/>
          <p:cNvSpPr/>
          <p:nvPr userDrawn="1"/>
        </p:nvSpPr>
        <p:spPr>
          <a:xfrm>
            <a:off x="10998200" y="0"/>
            <a:ext cx="1193800" cy="114200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Rectangle 38"/>
          <p:cNvSpPr/>
          <p:nvPr userDrawn="1"/>
        </p:nvSpPr>
        <p:spPr>
          <a:xfrm>
            <a:off x="10998200" y="1145870"/>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p:cNvSpPr/>
          <p:nvPr userDrawn="1"/>
        </p:nvSpPr>
        <p:spPr>
          <a:xfrm>
            <a:off x="10998200" y="2288863"/>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Rectangle 40"/>
          <p:cNvSpPr/>
          <p:nvPr userDrawn="1"/>
        </p:nvSpPr>
        <p:spPr>
          <a:xfrm>
            <a:off x="10998200" y="3427839"/>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Rectangle 41"/>
          <p:cNvSpPr/>
          <p:nvPr userDrawn="1"/>
        </p:nvSpPr>
        <p:spPr>
          <a:xfrm>
            <a:off x="10998200" y="4570832"/>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3" name="Rectangle 42"/>
          <p:cNvSpPr/>
          <p:nvPr userDrawn="1"/>
        </p:nvSpPr>
        <p:spPr>
          <a:xfrm>
            <a:off x="10998200" y="5715007"/>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userDrawn="1">
            <p:ph type="title" hasCustomPrompt="1"/>
          </p:nvPr>
        </p:nvSpPr>
        <p:spPr>
          <a:xfrm>
            <a:off x="485776" y="361950"/>
            <a:ext cx="9509124"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userDrawn="1">
            <p:ph type="body" sz="half" idx="15" hasCustomPrompt="1"/>
          </p:nvPr>
        </p:nvSpPr>
        <p:spPr>
          <a:xfrm>
            <a:off x="6162923"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userDrawn="1">
            <p:ph type="body" sz="half" idx="2" hasCustomPrompt="1"/>
          </p:nvPr>
        </p:nvSpPr>
        <p:spPr>
          <a:xfrm>
            <a:off x="485776" y="806807"/>
            <a:ext cx="9509124"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18" name="Freeform 10"/>
          <p:cNvSpPr>
            <a:spLocks noEditPoints="1"/>
          </p:cNvSpPr>
          <p:nvPr userDrawn="1"/>
        </p:nvSpPr>
        <p:spPr bwMode="auto">
          <a:xfrm>
            <a:off x="11448746" y="1582895"/>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23"/>
          <p:cNvSpPr>
            <a:spLocks noEditPoints="1"/>
          </p:cNvSpPr>
          <p:nvPr userDrawn="1"/>
        </p:nvSpPr>
        <p:spPr bwMode="auto">
          <a:xfrm>
            <a:off x="11461255" y="4983465"/>
            <a:ext cx="267691" cy="317727"/>
          </a:xfrm>
          <a:custGeom>
            <a:avLst/>
            <a:gdLst>
              <a:gd name="T0" fmla="*/ 76 w 80"/>
              <a:gd name="T1" fmla="*/ 96 h 96"/>
              <a:gd name="T2" fmla="*/ 40 w 80"/>
              <a:gd name="T3" fmla="*/ 96 h 96"/>
              <a:gd name="T4" fmla="*/ 36 w 80"/>
              <a:gd name="T5" fmla="*/ 92 h 96"/>
              <a:gd name="T6" fmla="*/ 36 w 80"/>
              <a:gd name="T7" fmla="*/ 76 h 96"/>
              <a:gd name="T8" fmla="*/ 40 w 80"/>
              <a:gd name="T9" fmla="*/ 72 h 96"/>
              <a:gd name="T10" fmla="*/ 76 w 80"/>
              <a:gd name="T11" fmla="*/ 72 h 96"/>
              <a:gd name="T12" fmla="*/ 80 w 80"/>
              <a:gd name="T13" fmla="*/ 76 h 96"/>
              <a:gd name="T14" fmla="*/ 80 w 80"/>
              <a:gd name="T15" fmla="*/ 92 h 96"/>
              <a:gd name="T16" fmla="*/ 76 w 80"/>
              <a:gd name="T17" fmla="*/ 96 h 96"/>
              <a:gd name="T18" fmla="*/ 44 w 80"/>
              <a:gd name="T19" fmla="*/ 88 h 96"/>
              <a:gd name="T20" fmla="*/ 72 w 80"/>
              <a:gd name="T21" fmla="*/ 88 h 96"/>
              <a:gd name="T22" fmla="*/ 72 w 80"/>
              <a:gd name="T23" fmla="*/ 80 h 96"/>
              <a:gd name="T24" fmla="*/ 44 w 80"/>
              <a:gd name="T25" fmla="*/ 80 h 96"/>
              <a:gd name="T26" fmla="*/ 44 w 80"/>
              <a:gd name="T27" fmla="*/ 88 h 96"/>
              <a:gd name="T28" fmla="*/ 76 w 80"/>
              <a:gd name="T29" fmla="*/ 64 h 96"/>
              <a:gd name="T30" fmla="*/ 4 w 80"/>
              <a:gd name="T31" fmla="*/ 64 h 96"/>
              <a:gd name="T32" fmla="*/ 0 w 80"/>
              <a:gd name="T33" fmla="*/ 60 h 96"/>
              <a:gd name="T34" fmla="*/ 0 w 80"/>
              <a:gd name="T35" fmla="*/ 4 h 96"/>
              <a:gd name="T36" fmla="*/ 4 w 80"/>
              <a:gd name="T37" fmla="*/ 0 h 96"/>
              <a:gd name="T38" fmla="*/ 76 w 80"/>
              <a:gd name="T39" fmla="*/ 0 h 96"/>
              <a:gd name="T40" fmla="*/ 80 w 80"/>
              <a:gd name="T41" fmla="*/ 4 h 96"/>
              <a:gd name="T42" fmla="*/ 80 w 80"/>
              <a:gd name="T43" fmla="*/ 60 h 96"/>
              <a:gd name="T44" fmla="*/ 76 w 80"/>
              <a:gd name="T45" fmla="*/ 64 h 96"/>
              <a:gd name="T46" fmla="*/ 8 w 80"/>
              <a:gd name="T47" fmla="*/ 56 h 96"/>
              <a:gd name="T48" fmla="*/ 72 w 80"/>
              <a:gd name="T49" fmla="*/ 56 h 96"/>
              <a:gd name="T50" fmla="*/ 72 w 80"/>
              <a:gd name="T51" fmla="*/ 24 h 96"/>
              <a:gd name="T52" fmla="*/ 8 w 80"/>
              <a:gd name="T53" fmla="*/ 24 h 96"/>
              <a:gd name="T54" fmla="*/ 8 w 80"/>
              <a:gd name="T55" fmla="*/ 56 h 96"/>
              <a:gd name="T56" fmla="*/ 8 w 80"/>
              <a:gd name="T57" fmla="*/ 16 h 96"/>
              <a:gd name="T58" fmla="*/ 72 w 80"/>
              <a:gd name="T59" fmla="*/ 16 h 96"/>
              <a:gd name="T60" fmla="*/ 72 w 80"/>
              <a:gd name="T61" fmla="*/ 8 h 96"/>
              <a:gd name="T62" fmla="*/ 8 w 80"/>
              <a:gd name="T63" fmla="*/ 8 h 96"/>
              <a:gd name="T64" fmla="*/ 8 w 80"/>
              <a:gd name="T65"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96">
                <a:moveTo>
                  <a:pt x="76" y="96"/>
                </a:moveTo>
                <a:cubicBezTo>
                  <a:pt x="40" y="96"/>
                  <a:pt x="40" y="96"/>
                  <a:pt x="40" y="96"/>
                </a:cubicBezTo>
                <a:cubicBezTo>
                  <a:pt x="38" y="96"/>
                  <a:pt x="36" y="94"/>
                  <a:pt x="36" y="92"/>
                </a:cubicBezTo>
                <a:cubicBezTo>
                  <a:pt x="36" y="76"/>
                  <a:pt x="36" y="76"/>
                  <a:pt x="36" y="76"/>
                </a:cubicBezTo>
                <a:cubicBezTo>
                  <a:pt x="36" y="74"/>
                  <a:pt x="38" y="72"/>
                  <a:pt x="40" y="72"/>
                </a:cubicBezTo>
                <a:cubicBezTo>
                  <a:pt x="76" y="72"/>
                  <a:pt x="76" y="72"/>
                  <a:pt x="76" y="72"/>
                </a:cubicBezTo>
                <a:cubicBezTo>
                  <a:pt x="78" y="72"/>
                  <a:pt x="80" y="74"/>
                  <a:pt x="80" y="76"/>
                </a:cubicBezTo>
                <a:cubicBezTo>
                  <a:pt x="80" y="92"/>
                  <a:pt x="80" y="92"/>
                  <a:pt x="80" y="92"/>
                </a:cubicBezTo>
                <a:cubicBezTo>
                  <a:pt x="80" y="94"/>
                  <a:pt x="78" y="96"/>
                  <a:pt x="76" y="96"/>
                </a:cubicBezTo>
                <a:close/>
                <a:moveTo>
                  <a:pt x="44" y="88"/>
                </a:moveTo>
                <a:cubicBezTo>
                  <a:pt x="72" y="88"/>
                  <a:pt x="72" y="88"/>
                  <a:pt x="72" y="88"/>
                </a:cubicBezTo>
                <a:cubicBezTo>
                  <a:pt x="72" y="80"/>
                  <a:pt x="72" y="80"/>
                  <a:pt x="72" y="80"/>
                </a:cubicBezTo>
                <a:cubicBezTo>
                  <a:pt x="44" y="80"/>
                  <a:pt x="44" y="80"/>
                  <a:pt x="44" y="80"/>
                </a:cubicBezTo>
                <a:lnTo>
                  <a:pt x="44" y="88"/>
                </a:lnTo>
                <a:close/>
                <a:moveTo>
                  <a:pt x="76" y="64"/>
                </a:moveTo>
                <a:cubicBezTo>
                  <a:pt x="4" y="64"/>
                  <a:pt x="4" y="64"/>
                  <a:pt x="4" y="64"/>
                </a:cubicBezTo>
                <a:cubicBezTo>
                  <a:pt x="2" y="64"/>
                  <a:pt x="0" y="62"/>
                  <a:pt x="0" y="60"/>
                </a:cubicBezTo>
                <a:cubicBezTo>
                  <a:pt x="0" y="4"/>
                  <a:pt x="0" y="4"/>
                  <a:pt x="0" y="4"/>
                </a:cubicBezTo>
                <a:cubicBezTo>
                  <a:pt x="0" y="2"/>
                  <a:pt x="2" y="0"/>
                  <a:pt x="4" y="0"/>
                </a:cubicBezTo>
                <a:cubicBezTo>
                  <a:pt x="76" y="0"/>
                  <a:pt x="76" y="0"/>
                  <a:pt x="76" y="0"/>
                </a:cubicBezTo>
                <a:cubicBezTo>
                  <a:pt x="78" y="0"/>
                  <a:pt x="80" y="2"/>
                  <a:pt x="80" y="4"/>
                </a:cubicBezTo>
                <a:cubicBezTo>
                  <a:pt x="80" y="60"/>
                  <a:pt x="80" y="60"/>
                  <a:pt x="80" y="60"/>
                </a:cubicBezTo>
                <a:cubicBezTo>
                  <a:pt x="80" y="62"/>
                  <a:pt x="78" y="64"/>
                  <a:pt x="76" y="64"/>
                </a:cubicBezTo>
                <a:close/>
                <a:moveTo>
                  <a:pt x="8" y="56"/>
                </a:moveTo>
                <a:cubicBezTo>
                  <a:pt x="72" y="56"/>
                  <a:pt x="72" y="56"/>
                  <a:pt x="72" y="56"/>
                </a:cubicBezTo>
                <a:cubicBezTo>
                  <a:pt x="72" y="24"/>
                  <a:pt x="72" y="24"/>
                  <a:pt x="72" y="24"/>
                </a:cubicBezTo>
                <a:cubicBezTo>
                  <a:pt x="8" y="24"/>
                  <a:pt x="8" y="24"/>
                  <a:pt x="8" y="24"/>
                </a:cubicBezTo>
                <a:lnTo>
                  <a:pt x="8" y="56"/>
                </a:lnTo>
                <a:close/>
                <a:moveTo>
                  <a:pt x="8" y="16"/>
                </a:moveTo>
                <a:cubicBezTo>
                  <a:pt x="72" y="16"/>
                  <a:pt x="72" y="16"/>
                  <a:pt x="72" y="16"/>
                </a:cubicBezTo>
                <a:cubicBezTo>
                  <a:pt x="72" y="8"/>
                  <a:pt x="72" y="8"/>
                  <a:pt x="72" y="8"/>
                </a:cubicBezTo>
                <a:cubicBezTo>
                  <a:pt x="8" y="8"/>
                  <a:pt x="8" y="8"/>
                  <a:pt x="8" y="8"/>
                </a:cubicBezTo>
                <a:lnTo>
                  <a:pt x="8"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0" name="Group 13"/>
          <p:cNvGrpSpPr>
            <a:grpSpLocks noChangeAspect="1"/>
          </p:cNvGrpSpPr>
          <p:nvPr userDrawn="1"/>
        </p:nvGrpSpPr>
        <p:grpSpPr bwMode="auto">
          <a:xfrm>
            <a:off x="11460629" y="2698368"/>
            <a:ext cx="268942" cy="323982"/>
            <a:chOff x="292" y="2131"/>
            <a:chExt cx="215" cy="259"/>
          </a:xfrm>
          <a:solidFill>
            <a:schemeClr val="bg1"/>
          </a:solidFill>
        </p:grpSpPr>
        <p:sp>
          <p:nvSpPr>
            <p:cNvPr id="21"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 name="Group 26"/>
          <p:cNvGrpSpPr>
            <a:grpSpLocks noChangeAspect="1"/>
          </p:cNvGrpSpPr>
          <p:nvPr userDrawn="1"/>
        </p:nvGrpSpPr>
        <p:grpSpPr bwMode="auto">
          <a:xfrm>
            <a:off x="11461254" y="6127640"/>
            <a:ext cx="267692" cy="317727"/>
            <a:chOff x="3091" y="1784"/>
            <a:chExt cx="214" cy="254"/>
          </a:xfrm>
          <a:solidFill>
            <a:schemeClr val="bg1"/>
          </a:solidFill>
        </p:grpSpPr>
        <p:sp>
          <p:nvSpPr>
            <p:cNvPr id="24" name="Freeform 27"/>
            <p:cNvSpPr>
              <a:spLocks noEditPoints="1"/>
            </p:cNvSpPr>
            <p:nvPr/>
          </p:nvSpPr>
          <p:spPr bwMode="auto">
            <a:xfrm>
              <a:off x="3091" y="1784"/>
              <a:ext cx="214" cy="254"/>
            </a:xfrm>
            <a:custGeom>
              <a:avLst/>
              <a:gdLst>
                <a:gd name="T0" fmla="*/ 76 w 80"/>
                <a:gd name="T1" fmla="*/ 96 h 96"/>
                <a:gd name="T2" fmla="*/ 4 w 80"/>
                <a:gd name="T3" fmla="*/ 96 h 96"/>
                <a:gd name="T4" fmla="*/ 0 w 80"/>
                <a:gd name="T5" fmla="*/ 92 h 96"/>
                <a:gd name="T6" fmla="*/ 0 w 80"/>
                <a:gd name="T7" fmla="*/ 4 h 96"/>
                <a:gd name="T8" fmla="*/ 4 w 80"/>
                <a:gd name="T9" fmla="*/ 0 h 96"/>
                <a:gd name="T10" fmla="*/ 76 w 80"/>
                <a:gd name="T11" fmla="*/ 0 h 96"/>
                <a:gd name="T12" fmla="*/ 80 w 80"/>
                <a:gd name="T13" fmla="*/ 4 h 96"/>
                <a:gd name="T14" fmla="*/ 80 w 80"/>
                <a:gd name="T15" fmla="*/ 92 h 96"/>
                <a:gd name="T16" fmla="*/ 76 w 80"/>
                <a:gd name="T17" fmla="*/ 96 h 96"/>
                <a:gd name="T18" fmla="*/ 8 w 80"/>
                <a:gd name="T19" fmla="*/ 88 h 96"/>
                <a:gd name="T20" fmla="*/ 72 w 80"/>
                <a:gd name="T21" fmla="*/ 88 h 96"/>
                <a:gd name="T22" fmla="*/ 72 w 80"/>
                <a:gd name="T23" fmla="*/ 8 h 96"/>
                <a:gd name="T24" fmla="*/ 8 w 80"/>
                <a:gd name="T25" fmla="*/ 8 h 96"/>
                <a:gd name="T26" fmla="*/ 8 w 80"/>
                <a:gd name="T27" fmla="*/ 88 h 96"/>
                <a:gd name="T28" fmla="*/ 40 w 80"/>
                <a:gd name="T29" fmla="*/ 80 h 96"/>
                <a:gd name="T30" fmla="*/ 36 w 80"/>
                <a:gd name="T31" fmla="*/ 76 h 96"/>
                <a:gd name="T32" fmla="*/ 36 w 80"/>
                <a:gd name="T33" fmla="*/ 20 h 96"/>
                <a:gd name="T34" fmla="*/ 40 w 80"/>
                <a:gd name="T35" fmla="*/ 16 h 96"/>
                <a:gd name="T36" fmla="*/ 44 w 80"/>
                <a:gd name="T37" fmla="*/ 20 h 96"/>
                <a:gd name="T38" fmla="*/ 44 w 80"/>
                <a:gd name="T39" fmla="*/ 76 h 96"/>
                <a:gd name="T40" fmla="*/ 40 w 80"/>
                <a:gd name="T41" fmla="*/ 8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96">
                  <a:moveTo>
                    <a:pt x="76" y="96"/>
                  </a:moveTo>
                  <a:cubicBezTo>
                    <a:pt x="4" y="96"/>
                    <a:pt x="4" y="96"/>
                    <a:pt x="4" y="96"/>
                  </a:cubicBezTo>
                  <a:cubicBezTo>
                    <a:pt x="2" y="96"/>
                    <a:pt x="0" y="94"/>
                    <a:pt x="0" y="92"/>
                  </a:cubicBezTo>
                  <a:cubicBezTo>
                    <a:pt x="0" y="4"/>
                    <a:pt x="0" y="4"/>
                    <a:pt x="0" y="4"/>
                  </a:cubicBezTo>
                  <a:cubicBezTo>
                    <a:pt x="0" y="2"/>
                    <a:pt x="2" y="0"/>
                    <a:pt x="4" y="0"/>
                  </a:cubicBezTo>
                  <a:cubicBezTo>
                    <a:pt x="76" y="0"/>
                    <a:pt x="76" y="0"/>
                    <a:pt x="76" y="0"/>
                  </a:cubicBezTo>
                  <a:cubicBezTo>
                    <a:pt x="78" y="0"/>
                    <a:pt x="80" y="2"/>
                    <a:pt x="80" y="4"/>
                  </a:cubicBezTo>
                  <a:cubicBezTo>
                    <a:pt x="80" y="92"/>
                    <a:pt x="80" y="92"/>
                    <a:pt x="80" y="92"/>
                  </a:cubicBezTo>
                  <a:cubicBezTo>
                    <a:pt x="80" y="94"/>
                    <a:pt x="78" y="96"/>
                    <a:pt x="76" y="96"/>
                  </a:cubicBezTo>
                  <a:close/>
                  <a:moveTo>
                    <a:pt x="8" y="88"/>
                  </a:moveTo>
                  <a:cubicBezTo>
                    <a:pt x="72" y="88"/>
                    <a:pt x="72" y="88"/>
                    <a:pt x="72" y="88"/>
                  </a:cubicBezTo>
                  <a:cubicBezTo>
                    <a:pt x="72" y="8"/>
                    <a:pt x="72" y="8"/>
                    <a:pt x="72" y="8"/>
                  </a:cubicBezTo>
                  <a:cubicBezTo>
                    <a:pt x="8" y="8"/>
                    <a:pt x="8" y="8"/>
                    <a:pt x="8" y="8"/>
                  </a:cubicBezTo>
                  <a:lnTo>
                    <a:pt x="8" y="88"/>
                  </a:lnTo>
                  <a:close/>
                  <a:moveTo>
                    <a:pt x="40" y="80"/>
                  </a:moveTo>
                  <a:cubicBezTo>
                    <a:pt x="38" y="80"/>
                    <a:pt x="36" y="78"/>
                    <a:pt x="36" y="76"/>
                  </a:cubicBezTo>
                  <a:cubicBezTo>
                    <a:pt x="36" y="20"/>
                    <a:pt x="36" y="20"/>
                    <a:pt x="36" y="20"/>
                  </a:cubicBezTo>
                  <a:cubicBezTo>
                    <a:pt x="36" y="18"/>
                    <a:pt x="38" y="16"/>
                    <a:pt x="40" y="16"/>
                  </a:cubicBezTo>
                  <a:cubicBezTo>
                    <a:pt x="42" y="16"/>
                    <a:pt x="44" y="18"/>
                    <a:pt x="44" y="20"/>
                  </a:cubicBezTo>
                  <a:cubicBezTo>
                    <a:pt x="44" y="76"/>
                    <a:pt x="44" y="76"/>
                    <a:pt x="44" y="76"/>
                  </a:cubicBezTo>
                  <a:cubicBezTo>
                    <a:pt x="44" y="78"/>
                    <a:pt x="42"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8"/>
            <p:cNvSpPr>
              <a:spLocks/>
            </p:cNvSpPr>
            <p:nvPr/>
          </p:nvSpPr>
          <p:spPr bwMode="auto">
            <a:xfrm>
              <a:off x="3145" y="1837"/>
              <a:ext cx="101" cy="138"/>
            </a:xfrm>
            <a:custGeom>
              <a:avLst/>
              <a:gdLst>
                <a:gd name="T0" fmla="*/ 19 w 38"/>
                <a:gd name="T1" fmla="*/ 52 h 52"/>
                <a:gd name="T2" fmla="*/ 3 w 38"/>
                <a:gd name="T3" fmla="*/ 49 h 52"/>
                <a:gd name="T4" fmla="*/ 1 w 38"/>
                <a:gd name="T5" fmla="*/ 43 h 52"/>
                <a:gd name="T6" fmla="*/ 6 w 38"/>
                <a:gd name="T7" fmla="*/ 41 h 52"/>
                <a:gd name="T8" fmla="*/ 27 w 38"/>
                <a:gd name="T9" fmla="*/ 42 h 52"/>
                <a:gd name="T10" fmla="*/ 29 w 38"/>
                <a:gd name="T11" fmla="*/ 37 h 52"/>
                <a:gd name="T12" fmla="*/ 19 w 38"/>
                <a:gd name="T13" fmla="*/ 31 h 52"/>
                <a:gd name="T14" fmla="*/ 3 w 38"/>
                <a:gd name="T15" fmla="*/ 15 h 52"/>
                <a:gd name="T16" fmla="*/ 9 w 38"/>
                <a:gd name="T17" fmla="*/ 4 h 52"/>
                <a:gd name="T18" fmla="*/ 36 w 38"/>
                <a:gd name="T19" fmla="*/ 5 h 52"/>
                <a:gd name="T20" fmla="*/ 37 w 38"/>
                <a:gd name="T21" fmla="*/ 11 h 52"/>
                <a:gd name="T22" fmla="*/ 32 w 38"/>
                <a:gd name="T23" fmla="*/ 12 h 52"/>
                <a:gd name="T24" fmla="*/ 13 w 38"/>
                <a:gd name="T25" fmla="*/ 11 h 52"/>
                <a:gd name="T26" fmla="*/ 11 w 38"/>
                <a:gd name="T27" fmla="*/ 15 h 52"/>
                <a:gd name="T28" fmla="*/ 22 w 38"/>
                <a:gd name="T29" fmla="*/ 23 h 52"/>
                <a:gd name="T30" fmla="*/ 37 w 38"/>
                <a:gd name="T31" fmla="*/ 37 h 52"/>
                <a:gd name="T32" fmla="*/ 31 w 38"/>
                <a:gd name="T33" fmla="*/ 49 h 52"/>
                <a:gd name="T34" fmla="*/ 19 w 38"/>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2">
                  <a:moveTo>
                    <a:pt x="19" y="52"/>
                  </a:moveTo>
                  <a:cubicBezTo>
                    <a:pt x="14" y="52"/>
                    <a:pt x="8" y="50"/>
                    <a:pt x="3" y="49"/>
                  </a:cubicBezTo>
                  <a:cubicBezTo>
                    <a:pt x="1" y="48"/>
                    <a:pt x="0" y="45"/>
                    <a:pt x="1" y="43"/>
                  </a:cubicBezTo>
                  <a:cubicBezTo>
                    <a:pt x="1" y="41"/>
                    <a:pt x="4" y="40"/>
                    <a:pt x="6" y="41"/>
                  </a:cubicBezTo>
                  <a:cubicBezTo>
                    <a:pt x="14" y="44"/>
                    <a:pt x="23" y="45"/>
                    <a:pt x="27" y="42"/>
                  </a:cubicBezTo>
                  <a:cubicBezTo>
                    <a:pt x="28" y="41"/>
                    <a:pt x="29" y="40"/>
                    <a:pt x="29" y="37"/>
                  </a:cubicBezTo>
                  <a:cubicBezTo>
                    <a:pt x="29" y="34"/>
                    <a:pt x="26" y="33"/>
                    <a:pt x="19" y="31"/>
                  </a:cubicBezTo>
                  <a:cubicBezTo>
                    <a:pt x="12" y="28"/>
                    <a:pt x="3" y="25"/>
                    <a:pt x="3" y="15"/>
                  </a:cubicBezTo>
                  <a:cubicBezTo>
                    <a:pt x="3" y="10"/>
                    <a:pt x="5" y="6"/>
                    <a:pt x="9" y="4"/>
                  </a:cubicBezTo>
                  <a:cubicBezTo>
                    <a:pt x="17" y="0"/>
                    <a:pt x="30" y="2"/>
                    <a:pt x="36" y="5"/>
                  </a:cubicBezTo>
                  <a:cubicBezTo>
                    <a:pt x="37" y="6"/>
                    <a:pt x="38" y="9"/>
                    <a:pt x="37" y="11"/>
                  </a:cubicBezTo>
                  <a:cubicBezTo>
                    <a:pt x="36" y="13"/>
                    <a:pt x="34" y="13"/>
                    <a:pt x="32" y="12"/>
                  </a:cubicBezTo>
                  <a:cubicBezTo>
                    <a:pt x="28" y="10"/>
                    <a:pt x="18" y="8"/>
                    <a:pt x="13" y="11"/>
                  </a:cubicBezTo>
                  <a:cubicBezTo>
                    <a:pt x="11" y="12"/>
                    <a:pt x="11" y="13"/>
                    <a:pt x="11" y="15"/>
                  </a:cubicBezTo>
                  <a:cubicBezTo>
                    <a:pt x="11" y="19"/>
                    <a:pt x="14" y="21"/>
                    <a:pt x="22" y="23"/>
                  </a:cubicBezTo>
                  <a:cubicBezTo>
                    <a:pt x="28" y="25"/>
                    <a:pt x="37" y="28"/>
                    <a:pt x="37" y="37"/>
                  </a:cubicBezTo>
                  <a:cubicBezTo>
                    <a:pt x="37" y="43"/>
                    <a:pt x="34" y="47"/>
                    <a:pt x="31" y="49"/>
                  </a:cubicBezTo>
                  <a:cubicBezTo>
                    <a:pt x="28" y="51"/>
                    <a:pt x="24" y="52"/>
                    <a:pt x="1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4"/>
          <p:cNvGrpSpPr>
            <a:grpSpLocks noChangeAspect="1"/>
          </p:cNvGrpSpPr>
          <p:nvPr userDrawn="1"/>
        </p:nvGrpSpPr>
        <p:grpSpPr bwMode="auto">
          <a:xfrm>
            <a:off x="11434986" y="424646"/>
            <a:ext cx="320229" cy="292709"/>
            <a:chOff x="293" y="695"/>
            <a:chExt cx="256" cy="234"/>
          </a:xfrm>
          <a:solidFill>
            <a:schemeClr val="bg1"/>
          </a:solidFill>
        </p:grpSpPr>
        <p:sp>
          <p:nvSpPr>
            <p:cNvPr id="27"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9" name="Freeform 19"/>
          <p:cNvSpPr>
            <a:spLocks noEditPoints="1"/>
          </p:cNvSpPr>
          <p:nvPr userDrawn="1"/>
        </p:nvSpPr>
        <p:spPr bwMode="auto">
          <a:xfrm>
            <a:off x="11443117" y="3852981"/>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13" name="Straight Connector 12"/>
          <p:cNvCxnSpPr/>
          <p:nvPr userDrawn="1"/>
        </p:nvCxnSpPr>
        <p:spPr>
          <a:xfrm>
            <a:off x="11239500" y="1145870"/>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11239500" y="2297642"/>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11239500" y="3433551"/>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11239500" y="4559336"/>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11239500" y="5713825"/>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34" name="TextBox 33"/>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a:solidFill>
                  <a:srgbClr val="FF0000"/>
                </a:solidFill>
              </a:rPr>
              <a:t>These slides provide</a:t>
            </a:r>
            <a:r>
              <a:rPr lang="en-US" sz="1050" baseline="0" dirty="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a:solidFill>
                <a:srgbClr val="FF0000"/>
              </a:solidFill>
            </a:endParaRPr>
          </a:p>
          <a:p>
            <a:pPr algn="l"/>
            <a:r>
              <a:rPr lang="en-US" sz="1050" baseline="0" dirty="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134294725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BACK PAG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52E706-1FE4-5448-BF88-BDD1A5847DF0}"/>
              </a:ext>
            </a:extLst>
          </p:cNvPr>
          <p:cNvSpPr txBox="1"/>
          <p:nvPr/>
        </p:nvSpPr>
        <p:spPr>
          <a:xfrm>
            <a:off x="374977" y="2505671"/>
            <a:ext cx="8553624" cy="184665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Back pages</a:t>
            </a:r>
          </a:p>
        </p:txBody>
      </p:sp>
    </p:spTree>
    <p:extLst>
      <p:ext uri="{BB962C8B-B14F-4D97-AF65-F5344CB8AC3E}">
        <p14:creationId xmlns:p14="http://schemas.microsoft.com/office/powerpoint/2010/main" val="150892963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41171F7F-6D9E-5F49-9AA3-DEF9F2C59F0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6802" y="2984402"/>
            <a:ext cx="2615184" cy="544830"/>
          </a:xfrm>
          <a:prstGeom prst="rect">
            <a:avLst/>
          </a:prstGeom>
        </p:spPr>
      </p:pic>
      <p:sp>
        <p:nvSpPr>
          <p:cNvPr id="8" name="Rectangle 7">
            <a:extLst>
              <a:ext uri="{FF2B5EF4-FFF2-40B4-BE49-F238E27FC236}">
                <a16:creationId xmlns:a16="http://schemas.microsoft.com/office/drawing/2014/main" id="{0E3EC6FD-E652-9349-AE1C-8BD4ACBE5962}"/>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tx2"/>
                </a:solidFill>
                <a:effectLst/>
                <a:latin typeface="Arial" panose="020B0604020202020204" pitchFamily="34" charset="0"/>
              </a:rPr>
              <a:t>A business of Marsh McLennan</a:t>
            </a:r>
            <a:endParaRPr lang="en-US" sz="1400" dirty="0">
              <a:solidFill>
                <a:schemeClr val="tx2"/>
              </a:solidFill>
            </a:endParaRPr>
          </a:p>
        </p:txBody>
      </p:sp>
    </p:spTree>
    <p:extLst>
      <p:ext uri="{BB962C8B-B14F-4D97-AF65-F5344CB8AC3E}">
        <p14:creationId xmlns:p14="http://schemas.microsoft.com/office/powerpoint/2010/main" val="227137009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p:cSld name="Back page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1C5E338E-16D3-0A44-9BC7-F9FCD3106C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6802" y="2984402"/>
            <a:ext cx="2615184" cy="544830"/>
          </a:xfrm>
          <a:prstGeom prst="rect">
            <a:avLst/>
          </a:prstGeom>
        </p:spPr>
      </p:pic>
      <p:sp>
        <p:nvSpPr>
          <p:cNvPr id="5" name="Rectangle 4">
            <a:extLst>
              <a:ext uri="{FF2B5EF4-FFF2-40B4-BE49-F238E27FC236}">
                <a16:creationId xmlns:a16="http://schemas.microsoft.com/office/drawing/2014/main" id="{9EBBD039-CADC-3842-8CB7-3BA3EBE03DB2}"/>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bg1"/>
                </a:solidFill>
                <a:effectLst/>
                <a:latin typeface="Arial" panose="020B0604020202020204" pitchFamily="34" charset="0"/>
              </a:rPr>
              <a:t>A business of Marsh McLennan</a:t>
            </a:r>
            <a:endParaRPr lang="en-US" sz="1400" dirty="0">
              <a:solidFill>
                <a:schemeClr val="bg1"/>
              </a:solidFill>
            </a:endParaRPr>
          </a:p>
        </p:txBody>
      </p:sp>
    </p:spTree>
    <p:extLst>
      <p:ext uri="{BB962C8B-B14F-4D97-AF65-F5344CB8AC3E}">
        <p14:creationId xmlns:p14="http://schemas.microsoft.com/office/powerpoint/2010/main" val="203493268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p:cSld name="Back page + disclaim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B97647A-7060-6441-95B5-4F3CABC16890}"/>
              </a:ext>
            </a:extLst>
          </p:cNvPr>
          <p:cNvSpPr>
            <a:spLocks noGrp="1"/>
          </p:cNvSpPr>
          <p:nvPr>
            <p:ph type="body" sz="quarter" idx="10" hasCustomPrompt="1"/>
          </p:nvPr>
        </p:nvSpPr>
        <p:spPr>
          <a:xfrm>
            <a:off x="485775" y="1609725"/>
            <a:ext cx="11223625" cy="3703320"/>
          </a:xfrm>
        </p:spPr>
        <p:txBody>
          <a:bodyPr anchor="t" anchorCtr="0">
            <a:normAutofit/>
          </a:bodyPr>
          <a:lstStyle>
            <a:lvl1pPr>
              <a:spcBef>
                <a:spcPts val="0"/>
              </a:spcBef>
              <a:defRPr sz="800">
                <a:solidFill>
                  <a:schemeClr val="tx2"/>
                </a:solidFill>
              </a:defRPr>
            </a:lvl1pPr>
          </a:lstStyle>
          <a:p>
            <a:pPr lvl="0"/>
            <a:r>
              <a:rPr lang="en-US" dirty="0"/>
              <a:t>Click to add disclaimer</a:t>
            </a:r>
          </a:p>
        </p:txBody>
      </p:sp>
      <p:pic>
        <p:nvPicPr>
          <p:cNvPr id="11" name="Graphic 10">
            <a:extLst>
              <a:ext uri="{FF2B5EF4-FFF2-40B4-BE49-F238E27FC236}">
                <a16:creationId xmlns:a16="http://schemas.microsoft.com/office/drawing/2014/main" id="{7A1D7202-DC3D-C64A-8448-4612A72608D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6802" y="554729"/>
            <a:ext cx="1857071" cy="386890"/>
          </a:xfrm>
          <a:prstGeom prst="rect">
            <a:avLst/>
          </a:prstGeom>
        </p:spPr>
      </p:pic>
      <p:sp>
        <p:nvSpPr>
          <p:cNvPr id="7" name="Rectangle 6">
            <a:extLst>
              <a:ext uri="{FF2B5EF4-FFF2-40B4-BE49-F238E27FC236}">
                <a16:creationId xmlns:a16="http://schemas.microsoft.com/office/drawing/2014/main" id="{42F49B1B-455D-374F-B8F9-2EFFBC395C19}"/>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tx2"/>
                </a:solidFill>
                <a:effectLst/>
                <a:latin typeface="Arial" panose="020B0604020202020204" pitchFamily="34" charset="0"/>
              </a:rPr>
              <a:t>A business of Marsh McLennan</a:t>
            </a:r>
            <a:endParaRPr lang="en-US" sz="1400" dirty="0">
              <a:solidFill>
                <a:schemeClr val="tx2"/>
              </a:solidFill>
            </a:endParaRPr>
          </a:p>
        </p:txBody>
      </p:sp>
    </p:spTree>
    <p:extLst>
      <p:ext uri="{BB962C8B-B14F-4D97-AF65-F5344CB8AC3E}">
        <p14:creationId xmlns:p14="http://schemas.microsoft.com/office/powerpoint/2010/main" val="336126389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p:cSld name="Back page blue + disclaimer">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4" name="Text Placeholder 11">
            <a:extLst>
              <a:ext uri="{FF2B5EF4-FFF2-40B4-BE49-F238E27FC236}">
                <a16:creationId xmlns:a16="http://schemas.microsoft.com/office/drawing/2014/main" id="{50A11EE6-855A-9049-A228-49ED1E9FCB28}"/>
              </a:ext>
            </a:extLst>
          </p:cNvPr>
          <p:cNvSpPr>
            <a:spLocks noGrp="1"/>
          </p:cNvSpPr>
          <p:nvPr>
            <p:ph type="body" sz="quarter" idx="10" hasCustomPrompt="1"/>
          </p:nvPr>
        </p:nvSpPr>
        <p:spPr>
          <a:xfrm>
            <a:off x="485775" y="1609725"/>
            <a:ext cx="11223625" cy="3703804"/>
          </a:xfrm>
        </p:spPr>
        <p:txBody>
          <a:bodyPr anchor="t" anchorCtr="0">
            <a:normAutofit/>
          </a:bodyPr>
          <a:lstStyle>
            <a:lvl1pPr>
              <a:spcBef>
                <a:spcPts val="0"/>
              </a:spcBef>
              <a:defRPr sz="800">
                <a:solidFill>
                  <a:schemeClr val="bg1"/>
                </a:solidFill>
              </a:defRPr>
            </a:lvl1pPr>
          </a:lstStyle>
          <a:p>
            <a:pPr lvl="0"/>
            <a:r>
              <a:rPr lang="en-US" dirty="0"/>
              <a:t>Click to add disclaimer</a:t>
            </a:r>
          </a:p>
        </p:txBody>
      </p:sp>
      <p:sp>
        <p:nvSpPr>
          <p:cNvPr id="8" name="TextBox 7">
            <a:extLst>
              <a:ext uri="{FF2B5EF4-FFF2-40B4-BE49-F238E27FC236}">
                <a16:creationId xmlns:a16="http://schemas.microsoft.com/office/drawing/2014/main" id="{0774C7E3-C8BD-E848-AACB-125BC2BDCD58}"/>
              </a:ext>
            </a:extLst>
          </p:cNvPr>
          <p:cNvSpPr txBox="1"/>
          <p:nvPr/>
        </p:nvSpPr>
        <p:spPr>
          <a:xfrm>
            <a:off x="474202" y="5585606"/>
            <a:ext cx="5874840" cy="535794"/>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2"/>
                </a:solidFill>
                <a:effectLst/>
                <a:latin typeface="+mn-lt"/>
                <a:ea typeface="+mn-ea"/>
                <a:cs typeface="+mn-cs"/>
              </a:rPr>
              <a:t>We are leaders in risk, strategy and people. One company, with four global businesses, united by a shared purpose to make a difference in the moments that matter.</a:t>
            </a:r>
          </a:p>
        </p:txBody>
      </p:sp>
      <p:pic>
        <p:nvPicPr>
          <p:cNvPr id="9" name="Graphic 8">
            <a:extLst>
              <a:ext uri="{FF2B5EF4-FFF2-40B4-BE49-F238E27FC236}">
                <a16:creationId xmlns:a16="http://schemas.microsoft.com/office/drawing/2014/main" id="{1C0978F2-580C-D846-BB1D-2538154CE24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6802" y="554729"/>
            <a:ext cx="1857071" cy="386890"/>
          </a:xfrm>
          <a:prstGeom prst="rect">
            <a:avLst/>
          </a:prstGeom>
        </p:spPr>
      </p:pic>
      <p:sp>
        <p:nvSpPr>
          <p:cNvPr id="7" name="Rectangle 6">
            <a:extLst>
              <a:ext uri="{FF2B5EF4-FFF2-40B4-BE49-F238E27FC236}">
                <a16:creationId xmlns:a16="http://schemas.microsoft.com/office/drawing/2014/main" id="{2BB901D0-3F63-BF40-93C9-68ACEA3BFCE7}"/>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bg1"/>
                </a:solidFill>
                <a:effectLst/>
                <a:latin typeface="Arial" panose="020B0604020202020204" pitchFamily="34" charset="0"/>
              </a:rPr>
              <a:t>A business of Marsh McLennan</a:t>
            </a:r>
            <a:endParaRPr lang="en-US" sz="1400" dirty="0">
              <a:solidFill>
                <a:schemeClr val="bg1"/>
              </a:solidFill>
            </a:endParaRPr>
          </a:p>
        </p:txBody>
      </p:sp>
    </p:spTree>
    <p:extLst>
      <p:ext uri="{BB962C8B-B14F-4D97-AF65-F5344CB8AC3E}">
        <p14:creationId xmlns:p14="http://schemas.microsoft.com/office/powerpoint/2010/main" val="149174468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type="tx">
  <p:cSld name="1_Solo el título">
    <p:bg>
      <p:bgPr>
        <a:solidFill>
          <a:srgbClr val="FFFFFF"/>
        </a:solidFill>
        <a:effectLst/>
      </p:bgPr>
    </p:bg>
    <p:spTree>
      <p:nvGrpSpPr>
        <p:cNvPr id="1" name=""/>
        <p:cNvGrpSpPr/>
        <p:nvPr/>
      </p:nvGrpSpPr>
      <p:grpSpPr>
        <a:xfrm>
          <a:off x="0" y="0"/>
          <a:ext cx="0" cy="0"/>
          <a:chOff x="0" y="0"/>
          <a:chExt cx="0" cy="0"/>
        </a:xfrm>
      </p:grpSpPr>
      <p:pic>
        <p:nvPicPr>
          <p:cNvPr id="100" name="image7.png"/>
          <p:cNvPicPr>
            <a:picLocks noChangeAspect="1"/>
          </p:cNvPicPr>
          <p:nvPr/>
        </p:nvPicPr>
        <p:blipFill>
          <a:blip r:embed="rId2"/>
          <a:stretch>
            <a:fillRect/>
          </a:stretch>
        </p:blipFill>
        <p:spPr>
          <a:xfrm>
            <a:off x="485776" y="6437257"/>
            <a:ext cx="1401283" cy="126176"/>
          </a:xfrm>
          <a:prstGeom prst="rect">
            <a:avLst/>
          </a:prstGeom>
          <a:ln w="12700">
            <a:miter lim="400000"/>
          </a:ln>
        </p:spPr>
      </p:pic>
      <p:sp>
        <p:nvSpPr>
          <p:cNvPr id="101" name="Shape 101"/>
          <p:cNvSpPr>
            <a:spLocks noGrp="1"/>
          </p:cNvSpPr>
          <p:nvPr>
            <p:ph type="body" sz="quarter" idx="13"/>
          </p:nvPr>
        </p:nvSpPr>
        <p:spPr>
          <a:xfrm>
            <a:off x="485775" y="806807"/>
            <a:ext cx="11223626" cy="318477"/>
          </a:xfrm>
          <a:prstGeom prst="rect">
            <a:avLst/>
          </a:prstGeom>
        </p:spPr>
        <p:txBody>
          <a:bodyPr/>
          <a:lstStyle>
            <a:lvl1pPr>
              <a:defRPr b="1">
                <a:solidFill>
                  <a:srgbClr val="002C77"/>
                </a:solidFill>
              </a:defRPr>
            </a:lvl1pPr>
          </a:lstStyle>
          <a:p>
            <a:r>
              <a:t> </a:t>
            </a:r>
          </a:p>
        </p:txBody>
      </p:sp>
      <p:sp>
        <p:nvSpPr>
          <p:cNvPr id="102" name="Shape 102"/>
          <p:cNvSpPr>
            <a:spLocks noGrp="1"/>
          </p:cNvSpPr>
          <p:nvPr>
            <p:ph type="title"/>
          </p:nvPr>
        </p:nvSpPr>
        <p:spPr>
          <a:xfrm>
            <a:off x="457200" y="355600"/>
            <a:ext cx="11252200" cy="495300"/>
          </a:xfrm>
          <a:prstGeom prst="rect">
            <a:avLst/>
          </a:prstGeom>
        </p:spPr>
        <p:txBody>
          <a:bodyPr>
            <a:normAutofit/>
          </a:bodyPr>
          <a:lstStyle/>
          <a:p>
            <a:r>
              <a:t>Texto del título</a:t>
            </a:r>
          </a:p>
        </p:txBody>
      </p:sp>
      <p:sp>
        <p:nvSpPr>
          <p:cNvPr id="103" name="Shape 103"/>
          <p:cNvSpPr>
            <a:spLocks noGrp="1"/>
          </p:cNvSpPr>
          <p:nvPr>
            <p:ph type="body" sz="quarter" idx="1"/>
          </p:nvPr>
        </p:nvSpPr>
        <p:spPr>
          <a:xfrm>
            <a:off x="6210301" y="6388100"/>
            <a:ext cx="4546601" cy="247650"/>
          </a:xfrm>
          <a:prstGeom prst="rect">
            <a:avLst/>
          </a:prstGeom>
        </p:spPr>
        <p:txBody>
          <a:bodyPr anchor="b">
            <a:normAutofit/>
          </a:bodyPr>
          <a:lstStyle>
            <a:lvl1pPr algn="r">
              <a:spcBef>
                <a:spcPts val="0"/>
              </a:spcBef>
              <a:defRPr sz="800"/>
            </a:lvl1pPr>
            <a:lvl2pPr marL="0" indent="457200" algn="r">
              <a:spcBef>
                <a:spcPts val="0"/>
              </a:spcBef>
              <a:buSzTx/>
              <a:buNone/>
              <a:defRPr sz="800"/>
            </a:lvl2pPr>
            <a:lvl3pPr marL="0" indent="914400" algn="r">
              <a:spcBef>
                <a:spcPts val="0"/>
              </a:spcBef>
              <a:buSzTx/>
              <a:buNone/>
              <a:defRPr sz="800"/>
            </a:lvl3pPr>
            <a:lvl4pPr marL="0" indent="1371600" algn="r">
              <a:spcBef>
                <a:spcPts val="0"/>
              </a:spcBef>
              <a:buSzTx/>
              <a:buNone/>
              <a:defRPr sz="800"/>
            </a:lvl4pPr>
            <a:lvl5pPr marL="0" indent="1828800" algn="r">
              <a:spcBef>
                <a:spcPts val="0"/>
              </a:spcBef>
              <a:buSzTx/>
              <a:buNone/>
              <a:defRPr sz="800"/>
            </a:lvl5pPr>
          </a:lstStyle>
          <a:p>
            <a:r>
              <a:t>Nivel de texto 1</a:t>
            </a:r>
          </a:p>
          <a:p>
            <a:pPr lvl="1"/>
            <a:r>
              <a:t>Nivel de texto 2</a:t>
            </a:r>
          </a:p>
          <a:p>
            <a:pPr lvl="2"/>
            <a:r>
              <a:t>Nivel de texto 3</a:t>
            </a:r>
          </a:p>
          <a:p>
            <a:pPr lvl="3"/>
            <a:r>
              <a:t>Nivel de texto 4</a:t>
            </a:r>
          </a:p>
          <a:p>
            <a:pPr lvl="4"/>
            <a:r>
              <a:t>Nivel de texto 5</a:t>
            </a:r>
          </a:p>
        </p:txBody>
      </p:sp>
      <p:sp>
        <p:nvSpPr>
          <p:cNvPr id="104" name="Shape 104"/>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2043248136"/>
      </p:ext>
    </p:extLst>
  </p:cSld>
  <p:clrMapOvr>
    <a:masterClrMapping/>
  </p:clrMapOvr>
  <p:transition spd="med"/>
</p:sldLayout>
</file>

<file path=ppt/slideLayouts/slideLayout198.xml><?xml version="1.0" encoding="utf-8"?>
<p:sldLayout xmlns:a="http://schemas.openxmlformats.org/drawingml/2006/main" xmlns:r="http://schemas.openxmlformats.org/officeDocument/2006/relationships" xmlns:p="http://schemas.openxmlformats.org/presentationml/2006/main">
  <p:cSld name="Title and Content">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extLst>
              <p:ext uri="{D42A27DB-BD31-4B8C-83A1-F6EECF244321}">
                <p14:modId xmlns:p14="http://schemas.microsoft.com/office/powerpoint/2010/main" val="10553001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773DA736-E5DF-844D-B5DD-D8BB742411F8}"/>
              </a:ext>
            </a:extLst>
          </p:cNvPr>
          <p:cNvSpPr>
            <a:spLocks noGrp="1"/>
          </p:cNvSpPr>
          <p:nvPr>
            <p:ph type="body" sz="half" idx="10"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7"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11223624" cy="45166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1" name="Text Placeholder 3">
            <a:extLst>
              <a:ext uri="{FF2B5EF4-FFF2-40B4-BE49-F238E27FC236}">
                <a16:creationId xmlns:a16="http://schemas.microsoft.com/office/drawing/2014/main" id="{F2D0924E-7A15-6045-86EA-6E2333478DE4}"/>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340211970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p:cSld name="Contenido">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C6A0CCC6-7BFA-B74B-BE8E-833BC82918F0}"/>
              </a:ext>
            </a:extLst>
          </p:cNvPr>
          <p:cNvSpPr txBox="1"/>
          <p:nvPr/>
        </p:nvSpPr>
        <p:spPr>
          <a:xfrm>
            <a:off x="374977" y="2505671"/>
            <a:ext cx="8423034" cy="1846659"/>
          </a:xfrm>
          <a:prstGeom prst="rect">
            <a:avLst/>
          </a:prstGeom>
          <a:noFill/>
        </p:spPr>
        <p:txBody>
          <a:bodyPr wrap="squar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Content</a:t>
            </a:r>
          </a:p>
        </p:txBody>
      </p:sp>
    </p:spTree>
    <p:extLst>
      <p:ext uri="{BB962C8B-B14F-4D97-AF65-F5344CB8AC3E}">
        <p14:creationId xmlns:p14="http://schemas.microsoft.com/office/powerpoint/2010/main" val="4297814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x">
  <p:cSld name="Título y objetos">
    <p:bg>
      <p:bgPr>
        <a:solidFill>
          <a:srgbClr val="FFFFFF"/>
        </a:solidFill>
        <a:effectLst/>
      </p:bgPr>
    </p:bg>
    <p:spTree>
      <p:nvGrpSpPr>
        <p:cNvPr id="1" name=""/>
        <p:cNvGrpSpPr/>
        <p:nvPr/>
      </p:nvGrpSpPr>
      <p:grpSpPr>
        <a:xfrm>
          <a:off x="0" y="0"/>
          <a:ext cx="0" cy="0"/>
          <a:chOff x="0" y="0"/>
          <a:chExt cx="0" cy="0"/>
        </a:xfrm>
      </p:grpSpPr>
      <p:sp>
        <p:nvSpPr>
          <p:cNvPr id="20" name="Shape 20"/>
          <p:cNvSpPr>
            <a:spLocks noGrp="1"/>
          </p:cNvSpPr>
          <p:nvPr>
            <p:ph type="body" sz="quarter" idx="13"/>
          </p:nvPr>
        </p:nvSpPr>
        <p:spPr>
          <a:xfrm>
            <a:off x="485775" y="806807"/>
            <a:ext cx="11223626" cy="318477"/>
          </a:xfrm>
          <a:prstGeom prst="rect">
            <a:avLst/>
          </a:prstGeom>
        </p:spPr>
        <p:txBody>
          <a:bodyPr/>
          <a:lstStyle>
            <a:lvl1pPr>
              <a:defRPr b="1">
                <a:solidFill>
                  <a:srgbClr val="002C77"/>
                </a:solidFill>
              </a:defRPr>
            </a:lvl1pPr>
          </a:lstStyle>
          <a:p>
            <a:r>
              <a:t> </a:t>
            </a:r>
          </a:p>
        </p:txBody>
      </p:sp>
      <p:sp>
        <p:nvSpPr>
          <p:cNvPr id="21" name="Shape 21"/>
          <p:cNvSpPr>
            <a:spLocks noGrp="1"/>
          </p:cNvSpPr>
          <p:nvPr>
            <p:ph type="title"/>
          </p:nvPr>
        </p:nvSpPr>
        <p:spPr>
          <a:xfrm>
            <a:off x="457200" y="355600"/>
            <a:ext cx="11252200" cy="495300"/>
          </a:xfrm>
          <a:prstGeom prst="rect">
            <a:avLst/>
          </a:prstGeom>
        </p:spPr>
        <p:txBody>
          <a:bodyPr>
            <a:normAutofit/>
          </a:bodyPr>
          <a:lstStyle/>
          <a:p>
            <a:r>
              <a:t>Texto del título</a:t>
            </a:r>
          </a:p>
        </p:txBody>
      </p:sp>
      <p:sp>
        <p:nvSpPr>
          <p:cNvPr id="22" name="Shape 22"/>
          <p:cNvSpPr>
            <a:spLocks noGrp="1"/>
          </p:cNvSpPr>
          <p:nvPr>
            <p:ph type="body" sz="quarter" idx="1"/>
          </p:nvPr>
        </p:nvSpPr>
        <p:spPr>
          <a:xfrm>
            <a:off x="6210301" y="6388100"/>
            <a:ext cx="4546601" cy="247650"/>
          </a:xfrm>
          <a:prstGeom prst="rect">
            <a:avLst/>
          </a:prstGeom>
        </p:spPr>
        <p:txBody>
          <a:bodyPr anchor="b">
            <a:normAutofit/>
          </a:bodyPr>
          <a:lstStyle>
            <a:lvl1pPr algn="r">
              <a:spcBef>
                <a:spcPts val="0"/>
              </a:spcBef>
              <a:defRPr sz="800"/>
            </a:lvl1pPr>
            <a:lvl2pPr marL="0" indent="457200" algn="r">
              <a:spcBef>
                <a:spcPts val="0"/>
              </a:spcBef>
              <a:buSzTx/>
              <a:buNone/>
              <a:defRPr sz="800"/>
            </a:lvl2pPr>
            <a:lvl3pPr marL="0" indent="914400" algn="r">
              <a:spcBef>
                <a:spcPts val="0"/>
              </a:spcBef>
              <a:buSzTx/>
              <a:buNone/>
              <a:defRPr sz="800"/>
            </a:lvl3pPr>
            <a:lvl4pPr marL="0" indent="1371600" algn="r">
              <a:spcBef>
                <a:spcPts val="0"/>
              </a:spcBef>
              <a:buSzTx/>
              <a:buNone/>
              <a:defRPr sz="800"/>
            </a:lvl4pPr>
            <a:lvl5pPr marL="0" indent="1828800" algn="r">
              <a:spcBef>
                <a:spcPts val="0"/>
              </a:spcBef>
              <a:buSzTx/>
              <a:buNone/>
              <a:defRPr sz="800"/>
            </a:lvl5pPr>
          </a:lstStyle>
          <a:p>
            <a:r>
              <a:t>Nivel de texto 1</a:t>
            </a:r>
          </a:p>
          <a:p>
            <a:pPr lvl="1"/>
            <a:r>
              <a:t>Nivel de texto 2</a:t>
            </a:r>
          </a:p>
          <a:p>
            <a:pPr lvl="2"/>
            <a:r>
              <a:t>Nivel de texto 3</a:t>
            </a:r>
          </a:p>
          <a:p>
            <a:pPr lvl="3"/>
            <a:r>
              <a:t>Nivel de texto 4</a:t>
            </a:r>
          </a:p>
          <a:p>
            <a:pPr lvl="4"/>
            <a:r>
              <a:t>Nivel de texto 5</a:t>
            </a:r>
          </a:p>
        </p:txBody>
      </p:sp>
      <p:sp>
        <p:nvSpPr>
          <p:cNvPr id="23" name="Shape 23"/>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x">
  <p:cSld name="Content + 4up">
    <p:bg>
      <p:bgPr>
        <a:solidFill>
          <a:srgbClr val="FFFFFF"/>
        </a:solidFill>
        <a:effectLst/>
      </p:bgPr>
    </p:bg>
    <p:spTree>
      <p:nvGrpSpPr>
        <p:cNvPr id="1" name=""/>
        <p:cNvGrpSpPr/>
        <p:nvPr/>
      </p:nvGrpSpPr>
      <p:grpSpPr>
        <a:xfrm>
          <a:off x="0" y="0"/>
          <a:ext cx="0" cy="0"/>
          <a:chOff x="0" y="0"/>
          <a:chExt cx="0" cy="0"/>
        </a:xfrm>
      </p:grpSpPr>
      <p:pic>
        <p:nvPicPr>
          <p:cNvPr id="233"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234" name="Shape 234"/>
          <p:cNvSpPr>
            <a:spLocks noGrp="1"/>
          </p:cNvSpPr>
          <p:nvPr>
            <p:ph type="pic" sz="quarter" idx="13"/>
          </p:nvPr>
        </p:nvSpPr>
        <p:spPr>
          <a:xfrm>
            <a:off x="4305301" y="358775"/>
            <a:ext cx="3785417" cy="3009900"/>
          </a:xfrm>
          <a:prstGeom prst="rect">
            <a:avLst/>
          </a:prstGeom>
        </p:spPr>
        <p:txBody>
          <a:bodyPr lIns="91439" tIns="45719" rIns="91439" bIns="45719"/>
          <a:lstStyle/>
          <a:p>
            <a:endParaRPr/>
          </a:p>
        </p:txBody>
      </p:sp>
      <p:sp>
        <p:nvSpPr>
          <p:cNvPr id="235" name="Shape 235"/>
          <p:cNvSpPr>
            <a:spLocks noGrp="1"/>
          </p:cNvSpPr>
          <p:nvPr>
            <p:ph type="pic" sz="quarter" idx="14"/>
          </p:nvPr>
        </p:nvSpPr>
        <p:spPr>
          <a:xfrm>
            <a:off x="4305300" y="3493742"/>
            <a:ext cx="3785416" cy="2881659"/>
          </a:xfrm>
          <a:prstGeom prst="rect">
            <a:avLst/>
          </a:prstGeom>
        </p:spPr>
        <p:txBody>
          <a:bodyPr lIns="91439" tIns="45719" rIns="91439" bIns="45719"/>
          <a:lstStyle/>
          <a:p>
            <a:endParaRPr/>
          </a:p>
        </p:txBody>
      </p:sp>
      <p:sp>
        <p:nvSpPr>
          <p:cNvPr id="236" name="Shape 236"/>
          <p:cNvSpPr>
            <a:spLocks noGrp="1"/>
          </p:cNvSpPr>
          <p:nvPr>
            <p:ph type="pic" sz="quarter" idx="15"/>
          </p:nvPr>
        </p:nvSpPr>
        <p:spPr>
          <a:xfrm>
            <a:off x="8226963" y="358775"/>
            <a:ext cx="3841212" cy="3009900"/>
          </a:xfrm>
          <a:prstGeom prst="rect">
            <a:avLst/>
          </a:prstGeom>
        </p:spPr>
        <p:txBody>
          <a:bodyPr lIns="91439" tIns="45719" rIns="91439" bIns="45719"/>
          <a:lstStyle/>
          <a:p>
            <a:endParaRPr/>
          </a:p>
        </p:txBody>
      </p:sp>
      <p:sp>
        <p:nvSpPr>
          <p:cNvPr id="237" name="Shape 237"/>
          <p:cNvSpPr>
            <a:spLocks noGrp="1"/>
          </p:cNvSpPr>
          <p:nvPr>
            <p:ph type="pic" sz="quarter" idx="16"/>
          </p:nvPr>
        </p:nvSpPr>
        <p:spPr>
          <a:xfrm>
            <a:off x="8226963" y="3493742"/>
            <a:ext cx="3841212" cy="2881659"/>
          </a:xfrm>
          <a:prstGeom prst="rect">
            <a:avLst/>
          </a:prstGeom>
        </p:spPr>
        <p:txBody>
          <a:bodyPr lIns="91439" tIns="45719" rIns="91439" bIns="45719"/>
          <a:lstStyle/>
          <a:p>
            <a:endParaRPr/>
          </a:p>
        </p:txBody>
      </p:sp>
      <p:sp>
        <p:nvSpPr>
          <p:cNvPr id="238" name="Shape 238"/>
          <p:cNvSpPr>
            <a:spLocks noGrp="1"/>
          </p:cNvSpPr>
          <p:nvPr>
            <p:ph type="title"/>
          </p:nvPr>
        </p:nvSpPr>
        <p:spPr>
          <a:xfrm>
            <a:off x="457201" y="355600"/>
            <a:ext cx="3606801" cy="752475"/>
          </a:xfrm>
          <a:prstGeom prst="rect">
            <a:avLst/>
          </a:prstGeom>
        </p:spPr>
        <p:txBody>
          <a:bodyPr>
            <a:normAutofit/>
          </a:bodyPr>
          <a:lstStyle/>
          <a:p>
            <a:r>
              <a:t>Texto del título</a:t>
            </a:r>
          </a:p>
        </p:txBody>
      </p:sp>
      <p:sp>
        <p:nvSpPr>
          <p:cNvPr id="239" name="Shape 239"/>
          <p:cNvSpPr>
            <a:spLocks noGrp="1"/>
          </p:cNvSpPr>
          <p:nvPr>
            <p:ph type="body" sz="quarter" idx="1"/>
          </p:nvPr>
        </p:nvSpPr>
        <p:spPr>
          <a:xfrm>
            <a:off x="485776" y="1609725"/>
            <a:ext cx="3578224" cy="4508499"/>
          </a:xfrm>
          <a:prstGeom prst="rect">
            <a:avLst/>
          </a:prstGeom>
        </p:spPr>
        <p:txBody>
          <a:bodyPr>
            <a:normAutofit/>
          </a:bodyPr>
          <a:lstStyle/>
          <a:p>
            <a:r>
              <a:t>Nivel de texto 1</a:t>
            </a:r>
          </a:p>
          <a:p>
            <a:pPr lvl="1"/>
            <a:r>
              <a:t>Nivel de texto 2</a:t>
            </a:r>
          </a:p>
          <a:p>
            <a:pPr lvl="2"/>
            <a:r>
              <a:t>Nivel de texto 3</a:t>
            </a:r>
          </a:p>
          <a:p>
            <a:pPr lvl="3"/>
            <a:r>
              <a:t>Nivel de texto 4</a:t>
            </a:r>
          </a:p>
          <a:p>
            <a:pPr lvl="4"/>
            <a:r>
              <a:t>Nivel de texto 5</a:t>
            </a:r>
          </a:p>
        </p:txBody>
      </p:sp>
      <p:sp>
        <p:nvSpPr>
          <p:cNvPr id="240" name="Shape 240"/>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cSld>
  <p:clrMapOvr>
    <a:masterClrMapping/>
  </p:clrMapOvr>
  <p:transition spd="med"/>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ítulo y objetos">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773DA736-E5DF-844D-B5DD-D8BB742411F8}"/>
              </a:ext>
            </a:extLst>
          </p:cNvPr>
          <p:cNvSpPr>
            <a:spLocks noGrp="1"/>
          </p:cNvSpPr>
          <p:nvPr>
            <p:ph type="body" sz="half" idx="10"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7"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11223624" cy="4516692"/>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10"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1" name="Text Placeholder 3">
            <a:extLst>
              <a:ext uri="{FF2B5EF4-FFF2-40B4-BE49-F238E27FC236}">
                <a16:creationId xmlns:a16="http://schemas.microsoft.com/office/drawing/2014/main" id="{F2D0924E-7A15-6045-86EA-6E2333478DE4}"/>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395931131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C57F4E2F-BA25-A740-A97C-6060BBEA4B3C}"/>
              </a:ext>
            </a:extLst>
          </p:cNvPr>
          <p:cNvSpPr>
            <a:spLocks noGrp="1"/>
          </p:cNvSpPr>
          <p:nvPr>
            <p:ph sz="quarter" idx="12"/>
          </p:nvPr>
        </p:nvSpPr>
        <p:spPr>
          <a:xfrm>
            <a:off x="4305300" y="361950"/>
            <a:ext cx="7400923" cy="5756275"/>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3" name="Title 2">
            <a:extLst>
              <a:ext uri="{FF2B5EF4-FFF2-40B4-BE49-F238E27FC236}">
                <a16:creationId xmlns:a16="http://schemas.microsoft.com/office/drawing/2014/main" id="{0DD3F4F7-9124-C547-A701-15854901D947}"/>
              </a:ext>
            </a:extLst>
          </p:cNvPr>
          <p:cNvSpPr>
            <a:spLocks noGrp="1"/>
          </p:cNvSpPr>
          <p:nvPr>
            <p:ph type="title" hasCustomPrompt="1"/>
          </p:nvPr>
        </p:nvSpPr>
        <p:spPr>
          <a:xfrm>
            <a:off x="458721" y="356540"/>
            <a:ext cx="3605279" cy="5770271"/>
          </a:xfrm>
        </p:spPr>
        <p:txBody>
          <a:bodyPr/>
          <a:lstStyle/>
          <a:p>
            <a:r>
              <a:rPr lang="en-US" dirty="0"/>
              <a:t>Click to add title</a:t>
            </a:r>
          </a:p>
        </p:txBody>
      </p:sp>
    </p:spTree>
    <p:extLst>
      <p:ext uri="{BB962C8B-B14F-4D97-AF65-F5344CB8AC3E}">
        <p14:creationId xmlns:p14="http://schemas.microsoft.com/office/powerpoint/2010/main" val="175617022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 content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6" y="1616075"/>
            <a:ext cx="3578224" cy="450215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9" name="Content Placeholder 3">
            <a:extLst>
              <a:ext uri="{FF2B5EF4-FFF2-40B4-BE49-F238E27FC236}">
                <a16:creationId xmlns:a16="http://schemas.microsoft.com/office/drawing/2014/main" id="{945836DB-331C-BB4D-A888-9D9ECE5B27F2}"/>
              </a:ext>
            </a:extLst>
          </p:cNvPr>
          <p:cNvSpPr>
            <a:spLocks noGrp="1"/>
          </p:cNvSpPr>
          <p:nvPr>
            <p:ph sz="quarter" idx="12"/>
          </p:nvPr>
        </p:nvSpPr>
        <p:spPr>
          <a:xfrm>
            <a:off x="4305300" y="361950"/>
            <a:ext cx="7404100" cy="5756275"/>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Title 3">
            <a:extLst>
              <a:ext uri="{FF2B5EF4-FFF2-40B4-BE49-F238E27FC236}">
                <a16:creationId xmlns:a16="http://schemas.microsoft.com/office/drawing/2014/main" id="{98020D88-DDBE-B945-895B-9676A84EF58F}"/>
              </a:ext>
            </a:extLst>
          </p:cNvPr>
          <p:cNvSpPr>
            <a:spLocks noGrp="1"/>
          </p:cNvSpPr>
          <p:nvPr>
            <p:ph type="title" hasCustomPrompt="1"/>
          </p:nvPr>
        </p:nvSpPr>
        <p:spPr>
          <a:xfrm>
            <a:off x="458721" y="356540"/>
            <a:ext cx="3605279" cy="839213"/>
          </a:xfrm>
        </p:spPr>
        <p:txBody>
          <a:bodyPr/>
          <a:lstStyle/>
          <a:p>
            <a:r>
              <a:rPr lang="en-US" dirty="0"/>
              <a:t>Click to add title</a:t>
            </a:r>
          </a:p>
        </p:txBody>
      </p:sp>
    </p:spTree>
    <p:extLst>
      <p:ext uri="{BB962C8B-B14F-4D97-AF65-F5344CB8AC3E}">
        <p14:creationId xmlns:p14="http://schemas.microsoft.com/office/powerpoint/2010/main" val="126323008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Dos objeto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5" y="1609726"/>
            <a:ext cx="5495925" cy="4511674"/>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Content Placeholder 3"/>
          <p:cNvSpPr>
            <a:spLocks noGrp="1"/>
          </p:cNvSpPr>
          <p:nvPr>
            <p:ph sz="half" idx="2"/>
          </p:nvPr>
        </p:nvSpPr>
        <p:spPr>
          <a:xfrm>
            <a:off x="6210303" y="1609725"/>
            <a:ext cx="5499098" cy="4511675"/>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4" y="6388100"/>
            <a:ext cx="4546596"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0" name="Title 1">
            <a:extLst>
              <a:ext uri="{FF2B5EF4-FFF2-40B4-BE49-F238E27FC236}">
                <a16:creationId xmlns:a16="http://schemas.microsoft.com/office/drawing/2014/main" id="{F39CC0C0-5779-B349-BDDB-E539A51CC8CA}"/>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1" name="Text Placeholder 3">
            <a:extLst>
              <a:ext uri="{FF2B5EF4-FFF2-40B4-BE49-F238E27FC236}">
                <a16:creationId xmlns:a16="http://schemas.microsoft.com/office/drawing/2014/main" id="{AF3391C4-98D7-4747-8880-F82E7546E92C}"/>
              </a:ext>
            </a:extLst>
          </p:cNvPr>
          <p:cNvSpPr>
            <a:spLocks noGrp="1"/>
          </p:cNvSpPr>
          <p:nvPr>
            <p:ph type="body" sz="half" idx="1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240456030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7" y="1616075"/>
            <a:ext cx="3578224" cy="4505325"/>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a:p>
            <a:pPr lvl="2"/>
            <a:r>
              <a:rPr lang="es-ES"/>
              <a:t>Tercer nivel</a:t>
            </a:r>
          </a:p>
        </p:txBody>
      </p:sp>
      <p:sp>
        <p:nvSpPr>
          <p:cNvPr id="4" name="Content Placeholder 3"/>
          <p:cNvSpPr>
            <a:spLocks noGrp="1"/>
          </p:cNvSpPr>
          <p:nvPr>
            <p:ph sz="half" idx="2"/>
          </p:nvPr>
        </p:nvSpPr>
        <p:spPr>
          <a:xfrm>
            <a:off x="4317755" y="1616075"/>
            <a:ext cx="3578224" cy="4505325"/>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a:p>
            <a:pPr lvl="2"/>
            <a:r>
              <a:rPr lang="es-ES"/>
              <a:t>Tercer ni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8128000" y="1616075"/>
            <a:ext cx="3578223" cy="4505326"/>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a:p>
            <a:pPr lvl="2"/>
            <a:r>
              <a:rPr lang="es-ES"/>
              <a:t>Tercer nivel</a:t>
            </a:r>
          </a:p>
        </p:txBody>
      </p:sp>
      <p:sp>
        <p:nvSpPr>
          <p:cNvPr id="10" name="Text Placeholder 3">
            <a:extLst>
              <a:ext uri="{FF2B5EF4-FFF2-40B4-BE49-F238E27FC236}">
                <a16:creationId xmlns:a16="http://schemas.microsoft.com/office/drawing/2014/main" id="{46026CD4-41A6-2745-806A-108B86DE8600}"/>
              </a:ext>
            </a:extLst>
          </p:cNvPr>
          <p:cNvSpPr>
            <a:spLocks noGrp="1"/>
          </p:cNvSpPr>
          <p:nvPr>
            <p:ph type="body" sz="half" idx="12"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1" name="Title 1">
            <a:extLst>
              <a:ext uri="{FF2B5EF4-FFF2-40B4-BE49-F238E27FC236}">
                <a16:creationId xmlns:a16="http://schemas.microsoft.com/office/drawing/2014/main" id="{24127F47-2151-2E4E-804E-5041FF74C799}"/>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1AB0AB67-B739-1E41-9B7F-40BDB88E8937}"/>
              </a:ext>
            </a:extLst>
          </p:cNvPr>
          <p:cNvSpPr>
            <a:spLocks noGrp="1"/>
          </p:cNvSpPr>
          <p:nvPr>
            <p:ph type="body" sz="half" idx="13"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99134164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6" y="1616075"/>
            <a:ext cx="2626455"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a:p>
            <a:pPr lvl="2"/>
            <a:r>
              <a:rPr lang="es-ES"/>
              <a:t>Tercer nivel</a:t>
            </a:r>
          </a:p>
        </p:txBody>
      </p:sp>
      <p:sp>
        <p:nvSpPr>
          <p:cNvPr id="4" name="Content Placeholder 3"/>
          <p:cNvSpPr>
            <a:spLocks noGrp="1"/>
          </p:cNvSpPr>
          <p:nvPr>
            <p:ph sz="half" idx="2"/>
          </p:nvPr>
        </p:nvSpPr>
        <p:spPr>
          <a:xfrm>
            <a:off x="3352800" y="1616075"/>
            <a:ext cx="2628900"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a:p>
            <a:pPr lvl="2"/>
            <a:r>
              <a:rPr lang="es-ES"/>
              <a:t>Tercer ni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9089292" y="1616075"/>
            <a:ext cx="2616932"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a:p>
            <a:pPr lvl="2"/>
            <a:r>
              <a:rPr lang="es-ES"/>
              <a:t>Tercer nivel</a:t>
            </a:r>
          </a:p>
        </p:txBody>
      </p:sp>
      <p:sp>
        <p:nvSpPr>
          <p:cNvPr id="9" name="Content Placeholder 3">
            <a:extLst>
              <a:ext uri="{FF2B5EF4-FFF2-40B4-BE49-F238E27FC236}">
                <a16:creationId xmlns:a16="http://schemas.microsoft.com/office/drawing/2014/main" id="{90CFE4A1-AAEA-9742-8946-359C3F5D0A1A}"/>
              </a:ext>
            </a:extLst>
          </p:cNvPr>
          <p:cNvSpPr>
            <a:spLocks noGrp="1"/>
          </p:cNvSpPr>
          <p:nvPr>
            <p:ph sz="half" idx="12"/>
          </p:nvPr>
        </p:nvSpPr>
        <p:spPr>
          <a:xfrm>
            <a:off x="6219823" y="1616075"/>
            <a:ext cx="2619377"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a:p>
            <a:pPr lvl="2"/>
            <a:r>
              <a:rPr lang="es-ES"/>
              <a:t>Tercer nivel</a:t>
            </a:r>
          </a:p>
        </p:txBody>
      </p:sp>
      <p:sp>
        <p:nvSpPr>
          <p:cNvPr id="22" name="Text Placeholder 3">
            <a:extLst>
              <a:ext uri="{FF2B5EF4-FFF2-40B4-BE49-F238E27FC236}">
                <a16:creationId xmlns:a16="http://schemas.microsoft.com/office/drawing/2014/main" id="{A9C0AEB2-29EF-7A4A-9D9F-717BFB9D7E58}"/>
              </a:ext>
            </a:extLst>
          </p:cNvPr>
          <p:cNvSpPr>
            <a:spLocks noGrp="1"/>
          </p:cNvSpPr>
          <p:nvPr>
            <p:ph type="body" sz="half" idx="13" hasCustomPrompt="1"/>
          </p:nvPr>
        </p:nvSpPr>
        <p:spPr>
          <a:xfrm>
            <a:off x="6210301" y="6388100"/>
            <a:ext cx="4546599"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1" name="Title 1">
            <a:extLst>
              <a:ext uri="{FF2B5EF4-FFF2-40B4-BE49-F238E27FC236}">
                <a16:creationId xmlns:a16="http://schemas.microsoft.com/office/drawing/2014/main" id="{83CB1B1D-63D8-624F-8FE2-BACDF39AFA38}"/>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93192BB1-48EF-E34D-A18B-088C2525C8DE}"/>
              </a:ext>
            </a:extLst>
          </p:cNvPr>
          <p:cNvSpPr>
            <a:spLocks noGrp="1"/>
          </p:cNvSpPr>
          <p:nvPr>
            <p:ph type="body" sz="half" idx="14"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338109200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Six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5"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a:p>
            <a:pPr lvl="2"/>
            <a:r>
              <a:rPr lang="es-ES"/>
              <a:t>Tercer nivel</a:t>
            </a:r>
          </a:p>
        </p:txBody>
      </p:sp>
      <p:sp>
        <p:nvSpPr>
          <p:cNvPr id="4" name="Content Placeholder 3"/>
          <p:cNvSpPr>
            <a:spLocks noGrp="1"/>
          </p:cNvSpPr>
          <p:nvPr>
            <p:ph sz="half" idx="2"/>
          </p:nvPr>
        </p:nvSpPr>
        <p:spPr>
          <a:xfrm>
            <a:off x="2397760"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a:p>
            <a:pPr lvl="2"/>
            <a:r>
              <a:rPr lang="es-ES"/>
              <a:t>Tercer ni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6221730"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a:p>
            <a:pPr lvl="2"/>
            <a:r>
              <a:rPr lang="es-ES"/>
              <a:t>Tercer nivel</a:t>
            </a:r>
          </a:p>
        </p:txBody>
      </p:sp>
      <p:sp>
        <p:nvSpPr>
          <p:cNvPr id="9" name="Content Placeholder 3">
            <a:extLst>
              <a:ext uri="{FF2B5EF4-FFF2-40B4-BE49-F238E27FC236}">
                <a16:creationId xmlns:a16="http://schemas.microsoft.com/office/drawing/2014/main" id="{90CFE4A1-AAEA-9742-8946-359C3F5D0A1A}"/>
              </a:ext>
            </a:extLst>
          </p:cNvPr>
          <p:cNvSpPr>
            <a:spLocks noGrp="1"/>
          </p:cNvSpPr>
          <p:nvPr>
            <p:ph sz="half" idx="12"/>
          </p:nvPr>
        </p:nvSpPr>
        <p:spPr>
          <a:xfrm>
            <a:off x="4309745"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a:p>
            <a:pPr lvl="2"/>
            <a:r>
              <a:rPr lang="es-ES"/>
              <a:t>Tercer nivel</a:t>
            </a:r>
          </a:p>
        </p:txBody>
      </p:sp>
      <p:sp>
        <p:nvSpPr>
          <p:cNvPr id="10" name="Content Placeholder 3">
            <a:extLst>
              <a:ext uri="{FF2B5EF4-FFF2-40B4-BE49-F238E27FC236}">
                <a16:creationId xmlns:a16="http://schemas.microsoft.com/office/drawing/2014/main" id="{B60CBF3D-4AE0-E04C-A0D8-C2B53DF312B4}"/>
              </a:ext>
            </a:extLst>
          </p:cNvPr>
          <p:cNvSpPr>
            <a:spLocks noGrp="1"/>
          </p:cNvSpPr>
          <p:nvPr>
            <p:ph sz="half" idx="13"/>
          </p:nvPr>
        </p:nvSpPr>
        <p:spPr>
          <a:xfrm>
            <a:off x="8133715"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a:p>
            <a:pPr lvl="2"/>
            <a:r>
              <a:rPr lang="es-ES"/>
              <a:t>Tercer nivel</a:t>
            </a:r>
          </a:p>
        </p:txBody>
      </p:sp>
      <p:sp>
        <p:nvSpPr>
          <p:cNvPr id="11" name="Content Placeholder 3">
            <a:extLst>
              <a:ext uri="{FF2B5EF4-FFF2-40B4-BE49-F238E27FC236}">
                <a16:creationId xmlns:a16="http://schemas.microsoft.com/office/drawing/2014/main" id="{D441AD0A-E6DF-5847-BEB4-907DA9B01661}"/>
              </a:ext>
            </a:extLst>
          </p:cNvPr>
          <p:cNvSpPr>
            <a:spLocks noGrp="1"/>
          </p:cNvSpPr>
          <p:nvPr>
            <p:ph sz="half" idx="14"/>
          </p:nvPr>
        </p:nvSpPr>
        <p:spPr>
          <a:xfrm>
            <a:off x="10045698"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a:p>
            <a:pPr lvl="2"/>
            <a:r>
              <a:rPr lang="es-ES"/>
              <a:t>Tercer nivel</a:t>
            </a:r>
          </a:p>
        </p:txBody>
      </p:sp>
      <p:sp>
        <p:nvSpPr>
          <p:cNvPr id="12" name="Text Placeholder 3">
            <a:extLst>
              <a:ext uri="{FF2B5EF4-FFF2-40B4-BE49-F238E27FC236}">
                <a16:creationId xmlns:a16="http://schemas.microsoft.com/office/drawing/2014/main" id="{775FE915-A989-2C4F-B5CF-8C03CD0485CB}"/>
              </a:ext>
            </a:extLst>
          </p:cNvPr>
          <p:cNvSpPr>
            <a:spLocks noGrp="1"/>
          </p:cNvSpPr>
          <p:nvPr>
            <p:ph type="body" sz="half" idx="15" hasCustomPrompt="1"/>
          </p:nvPr>
        </p:nvSpPr>
        <p:spPr>
          <a:xfrm>
            <a:off x="6221731" y="6388100"/>
            <a:ext cx="453517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4" name="Title 1">
            <a:extLst>
              <a:ext uri="{FF2B5EF4-FFF2-40B4-BE49-F238E27FC236}">
                <a16:creationId xmlns:a16="http://schemas.microsoft.com/office/drawing/2014/main" id="{ABCBBFA3-BF99-FC46-8DCA-D9D911944ABD}"/>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5" name="Text Placeholder 3">
            <a:extLst>
              <a:ext uri="{FF2B5EF4-FFF2-40B4-BE49-F238E27FC236}">
                <a16:creationId xmlns:a16="http://schemas.microsoft.com/office/drawing/2014/main" id="{B46280AB-2B05-3446-8F2E-AD2C0974CB6E}"/>
              </a:ext>
            </a:extLst>
          </p:cNvPr>
          <p:cNvSpPr>
            <a:spLocks noGrp="1"/>
          </p:cNvSpPr>
          <p:nvPr>
            <p:ph type="body" sz="half" idx="16"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345449540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Solo el títul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7" name="Title 1">
            <a:extLst>
              <a:ext uri="{FF2B5EF4-FFF2-40B4-BE49-F238E27FC236}">
                <a16:creationId xmlns:a16="http://schemas.microsoft.com/office/drawing/2014/main" id="{354D9E00-BE79-044E-880B-B336004BBA7A}"/>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582807639"/>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 name="Freeform 16">
            <a:extLst>
              <a:ext uri="{FF2B5EF4-FFF2-40B4-BE49-F238E27FC236}">
                <a16:creationId xmlns:a16="http://schemas.microsoft.com/office/drawing/2014/main" id="{87B98418-DB22-7247-B4EF-AF4390CDCA0E}"/>
              </a:ext>
            </a:extLst>
          </p:cNvPr>
          <p:cNvSpPr/>
          <p:nvPr/>
        </p:nvSpPr>
        <p:spPr>
          <a:xfrm>
            <a:off x="6211018" y="0"/>
            <a:ext cx="5980982" cy="6858000"/>
          </a:xfrm>
          <a:custGeom>
            <a:avLst/>
            <a:gdLst>
              <a:gd name="connsiteX0" fmla="*/ 0 w 5980982"/>
              <a:gd name="connsiteY0" fmla="*/ 0 h 6858000"/>
              <a:gd name="connsiteX1" fmla="*/ 5980982 w 5980982"/>
              <a:gd name="connsiteY1" fmla="*/ 0 h 6858000"/>
              <a:gd name="connsiteX2" fmla="*/ 5980982 w 5980982"/>
              <a:gd name="connsiteY2" fmla="*/ 6858000 h 6858000"/>
              <a:gd name="connsiteX3" fmla="*/ 0 w 5980982"/>
              <a:gd name="connsiteY3" fmla="*/ 6858000 h 6858000"/>
              <a:gd name="connsiteX4" fmla="*/ 0 w 5980982"/>
              <a:gd name="connsiteY4" fmla="*/ 3555999 h 6858000"/>
              <a:gd name="connsiteX5" fmla="*/ 132789 w 5980982"/>
              <a:gd name="connsiteY5" fmla="*/ 3429000 h 6858000"/>
              <a:gd name="connsiteX6" fmla="*/ 0 w 5980982"/>
              <a:gd name="connsiteY6" fmla="*/ 33020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0982" h="6858000">
                <a:moveTo>
                  <a:pt x="0" y="0"/>
                </a:moveTo>
                <a:lnTo>
                  <a:pt x="5980982" y="0"/>
                </a:lnTo>
                <a:lnTo>
                  <a:pt x="5980982" y="6858000"/>
                </a:lnTo>
                <a:lnTo>
                  <a:pt x="0" y="6858000"/>
                </a:lnTo>
                <a:lnTo>
                  <a:pt x="0" y="3555999"/>
                </a:lnTo>
                <a:lnTo>
                  <a:pt x="132789" y="3429000"/>
                </a:lnTo>
                <a:lnTo>
                  <a:pt x="0" y="3302001"/>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5" name="Title 1">
            <a:extLst>
              <a:ext uri="{FF2B5EF4-FFF2-40B4-BE49-F238E27FC236}">
                <a16:creationId xmlns:a16="http://schemas.microsoft.com/office/drawing/2014/main" id="{DB3B1839-746D-0040-B4BF-DEAD14769839}"/>
              </a:ext>
            </a:extLst>
          </p:cNvPr>
          <p:cNvSpPr>
            <a:spLocks noGrp="1"/>
          </p:cNvSpPr>
          <p:nvPr>
            <p:ph type="title" hasCustomPrompt="1"/>
          </p:nvPr>
        </p:nvSpPr>
        <p:spPr>
          <a:xfrm>
            <a:off x="457201" y="355601"/>
            <a:ext cx="5524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7" y="806807"/>
            <a:ext cx="54959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6"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5495925" cy="4516692"/>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318795986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plit call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Freeform 5">
            <a:extLst>
              <a:ext uri="{FF2B5EF4-FFF2-40B4-BE49-F238E27FC236}">
                <a16:creationId xmlns:a16="http://schemas.microsoft.com/office/drawing/2014/main" id="{6C28D570-764E-8746-A9D3-AD94F6E88F8D}"/>
              </a:ext>
            </a:extLst>
          </p:cNvPr>
          <p:cNvSpPr/>
          <p:nvPr/>
        </p:nvSpPr>
        <p:spPr>
          <a:xfrm>
            <a:off x="8130488" y="0"/>
            <a:ext cx="4061512" cy="6858000"/>
          </a:xfrm>
          <a:custGeom>
            <a:avLst/>
            <a:gdLst>
              <a:gd name="connsiteX0" fmla="*/ 0 w 4061512"/>
              <a:gd name="connsiteY0" fmla="*/ 0 h 6858000"/>
              <a:gd name="connsiteX1" fmla="*/ 3147112 w 4061512"/>
              <a:gd name="connsiteY1" fmla="*/ 0 h 6858000"/>
              <a:gd name="connsiteX2" fmla="*/ 4035136 w 4061512"/>
              <a:gd name="connsiteY2" fmla="*/ 0 h 6858000"/>
              <a:gd name="connsiteX3" fmla="*/ 4061512 w 4061512"/>
              <a:gd name="connsiteY3" fmla="*/ 0 h 6858000"/>
              <a:gd name="connsiteX4" fmla="*/ 4061512 w 4061512"/>
              <a:gd name="connsiteY4" fmla="*/ 6858000 h 6858000"/>
              <a:gd name="connsiteX5" fmla="*/ 4035136 w 4061512"/>
              <a:gd name="connsiteY5" fmla="*/ 6858000 h 6858000"/>
              <a:gd name="connsiteX6" fmla="*/ 3147112 w 4061512"/>
              <a:gd name="connsiteY6" fmla="*/ 6858000 h 6858000"/>
              <a:gd name="connsiteX7" fmla="*/ 0 w 4061512"/>
              <a:gd name="connsiteY7" fmla="*/ 6858000 h 6858000"/>
              <a:gd name="connsiteX8" fmla="*/ 0 w 4061512"/>
              <a:gd name="connsiteY8" fmla="*/ 1863155 h 6858000"/>
              <a:gd name="connsiteX9" fmla="*/ 129886 w 4061512"/>
              <a:gd name="connsiteY9" fmla="*/ 1737014 h 6858000"/>
              <a:gd name="connsiteX10" fmla="*/ 0 w 4061512"/>
              <a:gd name="connsiteY10" fmla="*/ 16108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512" h="6858000">
                <a:moveTo>
                  <a:pt x="0" y="0"/>
                </a:moveTo>
                <a:lnTo>
                  <a:pt x="3147112" y="0"/>
                </a:lnTo>
                <a:lnTo>
                  <a:pt x="4035136" y="0"/>
                </a:lnTo>
                <a:lnTo>
                  <a:pt x="4061512" y="0"/>
                </a:lnTo>
                <a:lnTo>
                  <a:pt x="4061512" y="6858000"/>
                </a:lnTo>
                <a:lnTo>
                  <a:pt x="4035136" y="6858000"/>
                </a:lnTo>
                <a:lnTo>
                  <a:pt x="3147112" y="6858000"/>
                </a:lnTo>
                <a:lnTo>
                  <a:pt x="0" y="6858000"/>
                </a:lnTo>
                <a:lnTo>
                  <a:pt x="0" y="1863155"/>
                </a:lnTo>
                <a:lnTo>
                  <a:pt x="129886" y="1737014"/>
                </a:lnTo>
                <a:lnTo>
                  <a:pt x="0" y="1610874"/>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7400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9"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7400925" cy="4516692"/>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42730780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x">
  <p:cSld name="COVERS">
    <p:spTree>
      <p:nvGrpSpPr>
        <p:cNvPr id="1" name=""/>
        <p:cNvGrpSpPr/>
        <p:nvPr/>
      </p:nvGrpSpPr>
      <p:grpSpPr>
        <a:xfrm>
          <a:off x="0" y="0"/>
          <a:ext cx="0" cy="0"/>
          <a:chOff x="0" y="0"/>
          <a:chExt cx="0" cy="0"/>
        </a:xfrm>
      </p:grpSpPr>
      <p:sp>
        <p:nvSpPr>
          <p:cNvPr id="247" name="Shape 247"/>
          <p:cNvSpPr/>
          <p:nvPr/>
        </p:nvSpPr>
        <p:spPr>
          <a:xfrm>
            <a:off x="374977" y="2577629"/>
            <a:ext cx="5180013" cy="1702744"/>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lvl1pPr>
              <a:defRPr sz="12000" b="1">
                <a:solidFill>
                  <a:srgbClr val="FFFFFF"/>
                </a:solidFill>
              </a:defRPr>
            </a:lvl1pPr>
          </a:lstStyle>
          <a:p>
            <a:r>
              <a:t>Covers</a:t>
            </a:r>
          </a:p>
        </p:txBody>
      </p:sp>
      <p:sp>
        <p:nvSpPr>
          <p:cNvPr id="248" name="Shape 248"/>
          <p:cNvSpPr>
            <a:spLocks noGrp="1"/>
          </p:cNvSpPr>
          <p:nvPr>
            <p:ph type="sldNum" sz="quarter" idx="2"/>
          </p:nvPr>
        </p:nvSpPr>
        <p:spPr>
          <a:prstGeom prst="rect">
            <a:avLst/>
          </a:prstGeom>
        </p:spPr>
        <p:txBody>
          <a:bodyPr/>
          <a:lstStyle/>
          <a:p>
            <a:fld id="{86CB4B4D-7CA3-9044-876B-883B54F8677D}" type="slidenum">
              <a:t>‹Nº›</a:t>
            </a:fld>
            <a:endParaRPr/>
          </a:p>
        </p:txBody>
      </p:sp>
    </p:spTree>
  </p:cSld>
  <p:clrMapOvr>
    <a:masterClrMapping/>
  </p:clrMapOvr>
  <p:transition spd="med"/>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plit callout gradient">
    <p:spTree>
      <p:nvGrpSpPr>
        <p:cNvPr id="1" name=""/>
        <p:cNvGrpSpPr/>
        <p:nvPr/>
      </p:nvGrpSpPr>
      <p:grpSpPr>
        <a:xfrm>
          <a:off x="0" y="0"/>
          <a:ext cx="0" cy="0"/>
          <a:chOff x="0" y="0"/>
          <a:chExt cx="0" cy="0"/>
        </a:xfrm>
      </p:grpSpPr>
      <p:sp>
        <p:nvSpPr>
          <p:cNvPr id="11" name="Freeform 10">
            <a:extLst>
              <a:ext uri="{FF2B5EF4-FFF2-40B4-BE49-F238E27FC236}">
                <a16:creationId xmlns:a16="http://schemas.microsoft.com/office/drawing/2014/main" id="{6C28D570-764E-8746-A9D3-AD94F6E88F8D}"/>
              </a:ext>
            </a:extLst>
          </p:cNvPr>
          <p:cNvSpPr/>
          <p:nvPr userDrawn="1"/>
        </p:nvSpPr>
        <p:spPr>
          <a:xfrm>
            <a:off x="8130488" y="0"/>
            <a:ext cx="4061512" cy="6858000"/>
          </a:xfrm>
          <a:custGeom>
            <a:avLst/>
            <a:gdLst>
              <a:gd name="connsiteX0" fmla="*/ 0 w 4061512"/>
              <a:gd name="connsiteY0" fmla="*/ 0 h 6858000"/>
              <a:gd name="connsiteX1" fmla="*/ 3147112 w 4061512"/>
              <a:gd name="connsiteY1" fmla="*/ 0 h 6858000"/>
              <a:gd name="connsiteX2" fmla="*/ 4035136 w 4061512"/>
              <a:gd name="connsiteY2" fmla="*/ 0 h 6858000"/>
              <a:gd name="connsiteX3" fmla="*/ 4061512 w 4061512"/>
              <a:gd name="connsiteY3" fmla="*/ 0 h 6858000"/>
              <a:gd name="connsiteX4" fmla="*/ 4061512 w 4061512"/>
              <a:gd name="connsiteY4" fmla="*/ 6858000 h 6858000"/>
              <a:gd name="connsiteX5" fmla="*/ 4035136 w 4061512"/>
              <a:gd name="connsiteY5" fmla="*/ 6858000 h 6858000"/>
              <a:gd name="connsiteX6" fmla="*/ 3147112 w 4061512"/>
              <a:gd name="connsiteY6" fmla="*/ 6858000 h 6858000"/>
              <a:gd name="connsiteX7" fmla="*/ 0 w 4061512"/>
              <a:gd name="connsiteY7" fmla="*/ 6858000 h 6858000"/>
              <a:gd name="connsiteX8" fmla="*/ 0 w 4061512"/>
              <a:gd name="connsiteY8" fmla="*/ 1863155 h 6858000"/>
              <a:gd name="connsiteX9" fmla="*/ 129886 w 4061512"/>
              <a:gd name="connsiteY9" fmla="*/ 1737014 h 6858000"/>
              <a:gd name="connsiteX10" fmla="*/ 0 w 4061512"/>
              <a:gd name="connsiteY10" fmla="*/ 16108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512" h="6858000">
                <a:moveTo>
                  <a:pt x="0" y="0"/>
                </a:moveTo>
                <a:lnTo>
                  <a:pt x="3147112" y="0"/>
                </a:lnTo>
                <a:lnTo>
                  <a:pt x="4035136" y="0"/>
                </a:lnTo>
                <a:lnTo>
                  <a:pt x="4061512" y="0"/>
                </a:lnTo>
                <a:lnTo>
                  <a:pt x="4061512" y="6858000"/>
                </a:lnTo>
                <a:lnTo>
                  <a:pt x="4035136" y="6858000"/>
                </a:lnTo>
                <a:lnTo>
                  <a:pt x="3147112" y="6858000"/>
                </a:lnTo>
                <a:lnTo>
                  <a:pt x="0" y="6858000"/>
                </a:lnTo>
                <a:lnTo>
                  <a:pt x="0" y="1863155"/>
                </a:lnTo>
                <a:lnTo>
                  <a:pt x="129886" y="1737014"/>
                </a:lnTo>
                <a:lnTo>
                  <a:pt x="0" y="1610874"/>
                </a:lnTo>
                <a:close/>
              </a:path>
            </a:pathLst>
          </a:custGeom>
          <a:blipFill dpi="0" rotWithShape="1">
            <a:blip r:embed="rId3"/>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7400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9"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7400925" cy="4516692"/>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260632296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plit callout phot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7400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9"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7400925" cy="4516692"/>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10" name="Picture Placeholder 9"/>
          <p:cNvSpPr>
            <a:spLocks noGrp="1"/>
          </p:cNvSpPr>
          <p:nvPr>
            <p:ph type="pic" sz="quarter" idx="12" hasCustomPrompt="1"/>
          </p:nvPr>
        </p:nvSpPr>
        <p:spPr>
          <a:xfrm>
            <a:off x="8131175" y="0"/>
            <a:ext cx="4060825" cy="6858000"/>
          </a:xfrm>
          <a:custGeom>
            <a:avLst/>
            <a:gdLst>
              <a:gd name="connsiteX0" fmla="*/ 0 w 4060825"/>
              <a:gd name="connsiteY0" fmla="*/ 0 h 6858000"/>
              <a:gd name="connsiteX1" fmla="*/ 4060825 w 4060825"/>
              <a:gd name="connsiteY1" fmla="*/ 0 h 6858000"/>
              <a:gd name="connsiteX2" fmla="*/ 4060825 w 4060825"/>
              <a:gd name="connsiteY2" fmla="*/ 6858000 h 6858000"/>
              <a:gd name="connsiteX3" fmla="*/ 0 w 4060825"/>
              <a:gd name="connsiteY3" fmla="*/ 6858000 h 6858000"/>
              <a:gd name="connsiteX4" fmla="*/ 0 w 4060825"/>
              <a:gd name="connsiteY4" fmla="*/ 1861958 h 6858000"/>
              <a:gd name="connsiteX5" fmla="*/ 124598 w 4060825"/>
              <a:gd name="connsiteY5" fmla="*/ 1737360 h 6858000"/>
              <a:gd name="connsiteX6" fmla="*/ 0 w 4060825"/>
              <a:gd name="connsiteY6" fmla="*/ 161276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0825" h="6858000">
                <a:moveTo>
                  <a:pt x="0" y="0"/>
                </a:moveTo>
                <a:lnTo>
                  <a:pt x="4060825" y="0"/>
                </a:lnTo>
                <a:lnTo>
                  <a:pt x="4060825" y="6858000"/>
                </a:lnTo>
                <a:lnTo>
                  <a:pt x="0" y="6858000"/>
                </a:lnTo>
                <a:lnTo>
                  <a:pt x="0" y="1861958"/>
                </a:lnTo>
                <a:lnTo>
                  <a:pt x="124598" y="1737360"/>
                </a:lnTo>
                <a:lnTo>
                  <a:pt x="0" y="1612762"/>
                </a:lnTo>
                <a:close/>
              </a:path>
            </a:pathLst>
          </a:custGeom>
          <a:solidFill>
            <a:srgbClr val="F0F0F0"/>
          </a:solidFill>
        </p:spPr>
        <p:txBody>
          <a:bodyPr wrap="square">
            <a:noAutofit/>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Tree>
    <p:extLst>
      <p:ext uri="{BB962C8B-B14F-4D97-AF65-F5344CB8AC3E}">
        <p14:creationId xmlns:p14="http://schemas.microsoft.com/office/powerpoint/2010/main" val="39610163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85020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p:cSld name="CONTENT + IMAG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C6A0CCC6-7BFA-B74B-BE8E-833BC82918F0}"/>
              </a:ext>
            </a:extLst>
          </p:cNvPr>
          <p:cNvSpPr txBox="1"/>
          <p:nvPr/>
        </p:nvSpPr>
        <p:spPr>
          <a:xfrm>
            <a:off x="374977" y="1582341"/>
            <a:ext cx="8423034" cy="3693319"/>
          </a:xfrm>
          <a:prstGeom prst="rect">
            <a:avLst/>
          </a:prstGeom>
          <a:noFill/>
        </p:spPr>
        <p:txBody>
          <a:bodyPr wrap="squar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Content +  images</a:t>
            </a:r>
          </a:p>
        </p:txBody>
      </p:sp>
    </p:spTree>
    <p:extLst>
      <p:ext uri="{BB962C8B-B14F-4D97-AF65-F5344CB8AC3E}">
        <p14:creationId xmlns:p14="http://schemas.microsoft.com/office/powerpoint/2010/main" val="20402422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Content + Image backgroun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735B67BB-4145-CB43-9042-99F21E43E2EB}"/>
              </a:ext>
            </a:extLst>
          </p:cNvPr>
          <p:cNvSpPr>
            <a:spLocks noGrp="1"/>
          </p:cNvSpPr>
          <p:nvPr>
            <p:ph type="pic" sz="quarter" idx="12" hasCustomPrompt="1"/>
          </p:nvPr>
        </p:nvSpPr>
        <p:spPr>
          <a:xfrm>
            <a:off x="1" y="0"/>
            <a:ext cx="12192000" cy="6858000"/>
          </a:xfrm>
          <a:solidFill>
            <a:srgbClr val="F0F0F0"/>
          </a:solidFill>
        </p:spPr>
        <p:txBody>
          <a:bodyPr/>
          <a:lstStyle>
            <a:lvl1pPr>
              <a:defRPr sz="1200">
                <a:solidFill>
                  <a:srgbClr val="FF0000"/>
                </a:solidFill>
              </a:defRPr>
            </a:lvl1pPr>
          </a:lstStyle>
          <a:p>
            <a:r>
              <a:rPr lang="en-US" dirty="0"/>
              <a:t>Bring picture placeholder to front. Click on picture icon to insert picture. Reset layout and send picture to back.</a:t>
            </a:r>
          </a:p>
        </p:txBody>
      </p:sp>
      <p:sp>
        <p:nvSpPr>
          <p:cNvPr id="8" name="Title 7">
            <a:extLst>
              <a:ext uri="{FF2B5EF4-FFF2-40B4-BE49-F238E27FC236}">
                <a16:creationId xmlns:a16="http://schemas.microsoft.com/office/drawing/2014/main" id="{F3F7DAD6-9BB0-734A-B0C2-5B0A76C9FD6E}"/>
              </a:ext>
            </a:extLst>
          </p:cNvPr>
          <p:cNvSpPr>
            <a:spLocks noGrp="1"/>
          </p:cNvSpPr>
          <p:nvPr>
            <p:ph type="title" hasCustomPrompt="1"/>
          </p:nvPr>
        </p:nvSpPr>
        <p:spPr>
          <a:xfrm>
            <a:off x="438912" y="1619247"/>
            <a:ext cx="5495924" cy="1495428"/>
          </a:xfrm>
        </p:spPr>
        <p:txBody>
          <a:bodyPr vert="horz"/>
          <a:lstStyle>
            <a:lvl1pPr>
              <a:defRPr sz="5600">
                <a:solidFill>
                  <a:schemeClr val="bg1"/>
                </a:solidFill>
              </a:defRPr>
            </a:lvl1pPr>
          </a:lstStyle>
          <a:p>
            <a:r>
              <a:rPr lang="en-US" dirty="0"/>
              <a:t>Click to add title</a:t>
            </a:r>
          </a:p>
        </p:txBody>
      </p:sp>
      <p:sp>
        <p:nvSpPr>
          <p:cNvPr id="26" name="Text Placeholder 25">
            <a:extLst>
              <a:ext uri="{FF2B5EF4-FFF2-40B4-BE49-F238E27FC236}">
                <a16:creationId xmlns:a16="http://schemas.microsoft.com/office/drawing/2014/main" id="{01D5F8C2-80B5-BD4F-91F7-1B8D6A3ACFB6}"/>
              </a:ext>
            </a:extLst>
          </p:cNvPr>
          <p:cNvSpPr>
            <a:spLocks noGrp="1"/>
          </p:cNvSpPr>
          <p:nvPr>
            <p:ph type="body" sz="quarter" idx="13"/>
          </p:nvPr>
        </p:nvSpPr>
        <p:spPr>
          <a:xfrm>
            <a:off x="485776" y="3315923"/>
            <a:ext cx="5495924" cy="2805477"/>
          </a:xfrm>
        </p:spPr>
        <p:txBody>
          <a:bodyPr/>
          <a:lstStyle>
            <a:lvl1pPr>
              <a:defRPr sz="2000" b="1">
                <a:solidFill>
                  <a:schemeClr val="bg1"/>
                </a:solidFill>
              </a:defRPr>
            </a:lvl1pPr>
            <a:lvl2pPr>
              <a:defRPr sz="2000">
                <a:solidFill>
                  <a:schemeClr val="bg1"/>
                </a:solidFill>
              </a:defRPr>
            </a:lvl2pPr>
          </a:lstStyle>
          <a:p>
            <a:pPr lvl="0"/>
            <a:r>
              <a:rPr lang="es-ES"/>
              <a:t>Editar el estilo de texto del patrón</a:t>
            </a:r>
          </a:p>
          <a:p>
            <a:pPr lvl="1"/>
            <a:r>
              <a:rPr lang="es-ES"/>
              <a:t>Segundo nivel</a:t>
            </a:r>
          </a:p>
        </p:txBody>
      </p:sp>
    </p:spTree>
    <p:extLst>
      <p:ext uri="{BB962C8B-B14F-4D97-AF65-F5344CB8AC3E}">
        <p14:creationId xmlns:p14="http://schemas.microsoft.com/office/powerpoint/2010/main" val="263602623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Content + 1up">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8AED69B9-B4F1-004C-A77F-27A6FA2E5B93}"/>
              </a:ext>
            </a:extLst>
          </p:cNvPr>
          <p:cNvSpPr>
            <a:spLocks noGrp="1"/>
          </p:cNvSpPr>
          <p:nvPr>
            <p:ph sz="quarter" idx="11"/>
          </p:nvPr>
        </p:nvSpPr>
        <p:spPr>
          <a:xfrm>
            <a:off x="485777" y="1609725"/>
            <a:ext cx="7400923" cy="4519867"/>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11" name="Picture Placeholder 10">
            <a:extLst>
              <a:ext uri="{FF2B5EF4-FFF2-40B4-BE49-F238E27FC236}">
                <a16:creationId xmlns:a16="http://schemas.microsoft.com/office/drawing/2014/main" id="{735B67BB-4145-CB43-9042-99F21E43E2EB}"/>
              </a:ext>
            </a:extLst>
          </p:cNvPr>
          <p:cNvSpPr>
            <a:spLocks noGrp="1"/>
          </p:cNvSpPr>
          <p:nvPr>
            <p:ph type="pic" sz="quarter" idx="12" hasCustomPrompt="1"/>
          </p:nvPr>
        </p:nvSpPr>
        <p:spPr>
          <a:xfrm>
            <a:off x="8128001" y="119959"/>
            <a:ext cx="3940174" cy="6618082"/>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0" name="Title 1">
            <a:extLst>
              <a:ext uri="{FF2B5EF4-FFF2-40B4-BE49-F238E27FC236}">
                <a16:creationId xmlns:a16="http://schemas.microsoft.com/office/drawing/2014/main" id="{EAEFB055-FB93-6449-B5E1-10B3AB4A19FD}"/>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E243AFB7-5041-9B4B-8CEB-9A5E8F8695ED}"/>
              </a:ext>
            </a:extLst>
          </p:cNvPr>
          <p:cNvSpPr>
            <a:spLocks noGrp="1"/>
          </p:cNvSpPr>
          <p:nvPr>
            <p:ph type="body" sz="half" idx="2" hasCustomPrompt="1"/>
          </p:nvPr>
        </p:nvSpPr>
        <p:spPr>
          <a:xfrm>
            <a:off x="485776" y="806807"/>
            <a:ext cx="7410633"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76499484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Content + 2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10">
            <a:extLst>
              <a:ext uri="{FF2B5EF4-FFF2-40B4-BE49-F238E27FC236}">
                <a16:creationId xmlns:a16="http://schemas.microsoft.com/office/drawing/2014/main" id="{1031E9E1-2938-814C-965B-19D14975B268}"/>
              </a:ext>
            </a:extLst>
          </p:cNvPr>
          <p:cNvSpPr>
            <a:spLocks noGrp="1"/>
          </p:cNvSpPr>
          <p:nvPr>
            <p:ph type="pic" sz="quarter" idx="12" hasCustomPrompt="1"/>
          </p:nvPr>
        </p:nvSpPr>
        <p:spPr>
          <a:xfrm>
            <a:off x="4305300" y="358775"/>
            <a:ext cx="7762875"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hasCustomPrompt="1"/>
          </p:nvPr>
        </p:nvSpPr>
        <p:spPr>
          <a:xfrm>
            <a:off x="4305300" y="3493742"/>
            <a:ext cx="7762875"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3" name="Content Placeholder 2"/>
          <p:cNvSpPr>
            <a:spLocks noGrp="1"/>
          </p:cNvSpPr>
          <p:nvPr>
            <p:ph sz="half" idx="1"/>
          </p:nvPr>
        </p:nvSpPr>
        <p:spPr>
          <a:xfrm>
            <a:off x="485776" y="1609725"/>
            <a:ext cx="3578224" cy="450850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p:txBody>
      </p:sp>
      <p:sp>
        <p:nvSpPr>
          <p:cNvPr id="9" name="Title 1">
            <a:extLst>
              <a:ext uri="{FF2B5EF4-FFF2-40B4-BE49-F238E27FC236}">
                <a16:creationId xmlns:a16="http://schemas.microsoft.com/office/drawing/2014/main" id="{189225C4-8365-8740-B93B-01403F28E601}"/>
              </a:ext>
            </a:extLst>
          </p:cNvPr>
          <p:cNvSpPr>
            <a:spLocks noGrp="1"/>
          </p:cNvSpPr>
          <p:nvPr>
            <p:ph type="title" hasCustomPrompt="1"/>
          </p:nvPr>
        </p:nvSpPr>
        <p:spPr>
          <a:xfrm>
            <a:off x="457201" y="355601"/>
            <a:ext cx="3606800" cy="752474"/>
          </a:xfrm>
        </p:spPr>
        <p:txBody>
          <a:bodyPr vert="horz"/>
          <a:lstStyle/>
          <a:p>
            <a:r>
              <a:rPr lang="en-US" dirty="0"/>
              <a:t>Click to add title</a:t>
            </a:r>
          </a:p>
        </p:txBody>
      </p:sp>
    </p:spTree>
    <p:extLst>
      <p:ext uri="{BB962C8B-B14F-4D97-AF65-F5344CB8AC3E}">
        <p14:creationId xmlns:p14="http://schemas.microsoft.com/office/powerpoint/2010/main" val="293080796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Content + 3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hasCustomPrompt="1"/>
          </p:nvPr>
        </p:nvSpPr>
        <p:spPr>
          <a:xfrm>
            <a:off x="4305300" y="3493742"/>
            <a:ext cx="7762875"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2" name="Picture Placeholder 10">
            <a:extLst>
              <a:ext uri="{FF2B5EF4-FFF2-40B4-BE49-F238E27FC236}">
                <a16:creationId xmlns:a16="http://schemas.microsoft.com/office/drawing/2014/main" id="{86D97FC1-1436-AE4B-A0BC-E2E020B6104B}"/>
              </a:ext>
            </a:extLst>
          </p:cNvPr>
          <p:cNvSpPr>
            <a:spLocks noGrp="1"/>
          </p:cNvSpPr>
          <p:nvPr>
            <p:ph type="pic" sz="quarter" idx="14" hasCustomPrompt="1"/>
          </p:nvPr>
        </p:nvSpPr>
        <p:spPr>
          <a:xfrm>
            <a:off x="8185678" y="358775"/>
            <a:ext cx="3882498"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5" name="Picture Placeholder 10">
            <a:extLst>
              <a:ext uri="{FF2B5EF4-FFF2-40B4-BE49-F238E27FC236}">
                <a16:creationId xmlns:a16="http://schemas.microsoft.com/office/drawing/2014/main" id="{BC987E18-8715-1944-B602-040A7437FAB6}"/>
              </a:ext>
            </a:extLst>
          </p:cNvPr>
          <p:cNvSpPr>
            <a:spLocks noGrp="1"/>
          </p:cNvSpPr>
          <p:nvPr>
            <p:ph type="pic" sz="quarter" idx="12" hasCustomPrompt="1"/>
          </p:nvPr>
        </p:nvSpPr>
        <p:spPr>
          <a:xfrm>
            <a:off x="4305300" y="358775"/>
            <a:ext cx="3742665"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3" name="Content Placeholder 2"/>
          <p:cNvSpPr>
            <a:spLocks noGrp="1"/>
          </p:cNvSpPr>
          <p:nvPr>
            <p:ph sz="half" idx="1"/>
          </p:nvPr>
        </p:nvSpPr>
        <p:spPr>
          <a:xfrm>
            <a:off x="485776" y="1609725"/>
            <a:ext cx="3578224" cy="450850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p:txBody>
      </p:sp>
      <p:sp>
        <p:nvSpPr>
          <p:cNvPr id="9" name="Title 1">
            <a:extLst>
              <a:ext uri="{FF2B5EF4-FFF2-40B4-BE49-F238E27FC236}">
                <a16:creationId xmlns:a16="http://schemas.microsoft.com/office/drawing/2014/main" id="{DAB781F8-68B2-BC49-8993-F85CEFB0A3B4}"/>
              </a:ext>
            </a:extLst>
          </p:cNvPr>
          <p:cNvSpPr>
            <a:spLocks noGrp="1"/>
          </p:cNvSpPr>
          <p:nvPr>
            <p:ph type="title" hasCustomPrompt="1"/>
          </p:nvPr>
        </p:nvSpPr>
        <p:spPr>
          <a:xfrm>
            <a:off x="457201" y="355601"/>
            <a:ext cx="3606800" cy="752474"/>
          </a:xfrm>
        </p:spPr>
        <p:txBody>
          <a:bodyPr vert="horz"/>
          <a:lstStyle/>
          <a:p>
            <a:r>
              <a:rPr lang="en-US" dirty="0"/>
              <a:t>Click to add title</a:t>
            </a:r>
          </a:p>
        </p:txBody>
      </p:sp>
    </p:spTree>
    <p:extLst>
      <p:ext uri="{BB962C8B-B14F-4D97-AF65-F5344CB8AC3E}">
        <p14:creationId xmlns:p14="http://schemas.microsoft.com/office/powerpoint/2010/main" val="19082025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Content + 3up modu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3" name="Picture Placeholder 10">
            <a:extLst>
              <a:ext uri="{FF2B5EF4-FFF2-40B4-BE49-F238E27FC236}">
                <a16:creationId xmlns:a16="http://schemas.microsoft.com/office/drawing/2014/main" id="{06D1C5D0-6FBD-DC40-BF13-9C09EFC9B450}"/>
              </a:ext>
            </a:extLst>
          </p:cNvPr>
          <p:cNvSpPr>
            <a:spLocks noGrp="1"/>
          </p:cNvSpPr>
          <p:nvPr>
            <p:ph type="pic" sz="quarter" idx="12" hasCustomPrompt="1"/>
          </p:nvPr>
        </p:nvSpPr>
        <p:spPr>
          <a:xfrm>
            <a:off x="4305300" y="358775"/>
            <a:ext cx="3822700"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4" name="Picture Placeholder 10">
            <a:extLst>
              <a:ext uri="{FF2B5EF4-FFF2-40B4-BE49-F238E27FC236}">
                <a16:creationId xmlns:a16="http://schemas.microsoft.com/office/drawing/2014/main" id="{52B98AD3-DEEF-4E4E-A5E7-207AD9EDE0A4}"/>
              </a:ext>
            </a:extLst>
          </p:cNvPr>
          <p:cNvSpPr>
            <a:spLocks noGrp="1"/>
          </p:cNvSpPr>
          <p:nvPr>
            <p:ph type="pic" sz="quarter" idx="14" hasCustomPrompt="1"/>
          </p:nvPr>
        </p:nvSpPr>
        <p:spPr>
          <a:xfrm>
            <a:off x="8226964" y="3493742"/>
            <a:ext cx="3841211"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5" name="Picture Placeholder 10">
            <a:extLst>
              <a:ext uri="{FF2B5EF4-FFF2-40B4-BE49-F238E27FC236}">
                <a16:creationId xmlns:a16="http://schemas.microsoft.com/office/drawing/2014/main" id="{05DBA6C8-E574-1C41-BF14-D1988A1F09BB}"/>
              </a:ext>
            </a:extLst>
          </p:cNvPr>
          <p:cNvSpPr>
            <a:spLocks noGrp="1"/>
          </p:cNvSpPr>
          <p:nvPr>
            <p:ph type="pic" sz="quarter" idx="15" hasCustomPrompt="1"/>
          </p:nvPr>
        </p:nvSpPr>
        <p:spPr>
          <a:xfrm>
            <a:off x="123826" y="3493742"/>
            <a:ext cx="4104142"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6" name="Text Placeholder 3">
            <a:extLst>
              <a:ext uri="{FF2B5EF4-FFF2-40B4-BE49-F238E27FC236}">
                <a16:creationId xmlns:a16="http://schemas.microsoft.com/office/drawing/2014/main" id="{450CA7BF-D868-9C46-B4DE-128E2C7369C1}"/>
              </a:ext>
            </a:extLst>
          </p:cNvPr>
          <p:cNvSpPr>
            <a:spLocks noGrp="1"/>
          </p:cNvSpPr>
          <p:nvPr>
            <p:ph type="body" sz="half" idx="2" hasCustomPrompt="1"/>
          </p:nvPr>
        </p:nvSpPr>
        <p:spPr>
          <a:xfrm>
            <a:off x="485777" y="358775"/>
            <a:ext cx="3578224" cy="3019424"/>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content</a:t>
            </a:r>
          </a:p>
        </p:txBody>
      </p:sp>
      <p:sp>
        <p:nvSpPr>
          <p:cNvPr id="17" name="Text Placeholder 3">
            <a:extLst>
              <a:ext uri="{FF2B5EF4-FFF2-40B4-BE49-F238E27FC236}">
                <a16:creationId xmlns:a16="http://schemas.microsoft.com/office/drawing/2014/main" id="{ABA9015E-F6D4-0A41-87F6-DE612B8F621A}"/>
              </a:ext>
            </a:extLst>
          </p:cNvPr>
          <p:cNvSpPr>
            <a:spLocks noGrp="1"/>
          </p:cNvSpPr>
          <p:nvPr>
            <p:ph type="body" sz="half" idx="16" hasCustomPrompt="1"/>
          </p:nvPr>
        </p:nvSpPr>
        <p:spPr>
          <a:xfrm>
            <a:off x="8289863" y="358774"/>
            <a:ext cx="3546537" cy="2965449"/>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content</a:t>
            </a:r>
          </a:p>
        </p:txBody>
      </p:sp>
      <p:sp>
        <p:nvSpPr>
          <p:cNvPr id="18" name="Text Placeholder 3">
            <a:extLst>
              <a:ext uri="{FF2B5EF4-FFF2-40B4-BE49-F238E27FC236}">
                <a16:creationId xmlns:a16="http://schemas.microsoft.com/office/drawing/2014/main" id="{9BFDCF20-88FB-6C4F-AD7A-8B859EBAB09C}"/>
              </a:ext>
            </a:extLst>
          </p:cNvPr>
          <p:cNvSpPr>
            <a:spLocks noGrp="1"/>
          </p:cNvSpPr>
          <p:nvPr>
            <p:ph type="body" sz="half" idx="17" hasCustomPrompt="1"/>
          </p:nvPr>
        </p:nvSpPr>
        <p:spPr>
          <a:xfrm>
            <a:off x="4396873" y="3811323"/>
            <a:ext cx="3657599" cy="2564078"/>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content</a:t>
            </a:r>
          </a:p>
        </p:txBody>
      </p:sp>
    </p:spTree>
    <p:extLst>
      <p:ext uri="{BB962C8B-B14F-4D97-AF65-F5344CB8AC3E}">
        <p14:creationId xmlns:p14="http://schemas.microsoft.com/office/powerpoint/2010/main" val="11930814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Content + 4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10">
            <a:extLst>
              <a:ext uri="{FF2B5EF4-FFF2-40B4-BE49-F238E27FC236}">
                <a16:creationId xmlns:a16="http://schemas.microsoft.com/office/drawing/2014/main" id="{1031E9E1-2938-814C-965B-19D14975B268}"/>
              </a:ext>
            </a:extLst>
          </p:cNvPr>
          <p:cNvSpPr>
            <a:spLocks noGrp="1"/>
          </p:cNvSpPr>
          <p:nvPr>
            <p:ph type="pic" sz="quarter" idx="12" hasCustomPrompt="1"/>
          </p:nvPr>
        </p:nvSpPr>
        <p:spPr>
          <a:xfrm>
            <a:off x="4305301" y="358775"/>
            <a:ext cx="3785416"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hasCustomPrompt="1"/>
          </p:nvPr>
        </p:nvSpPr>
        <p:spPr>
          <a:xfrm>
            <a:off x="4305300" y="3493742"/>
            <a:ext cx="3785415"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2" name="Picture Placeholder 10">
            <a:extLst>
              <a:ext uri="{FF2B5EF4-FFF2-40B4-BE49-F238E27FC236}">
                <a16:creationId xmlns:a16="http://schemas.microsoft.com/office/drawing/2014/main" id="{86D97FC1-1436-AE4B-A0BC-E2E020B6104B}"/>
              </a:ext>
            </a:extLst>
          </p:cNvPr>
          <p:cNvSpPr>
            <a:spLocks noGrp="1"/>
          </p:cNvSpPr>
          <p:nvPr>
            <p:ph type="pic" sz="quarter" idx="14" hasCustomPrompt="1"/>
          </p:nvPr>
        </p:nvSpPr>
        <p:spPr>
          <a:xfrm>
            <a:off x="8226964" y="358775"/>
            <a:ext cx="3841211"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8" name="Picture Placeholder 10">
            <a:extLst>
              <a:ext uri="{FF2B5EF4-FFF2-40B4-BE49-F238E27FC236}">
                <a16:creationId xmlns:a16="http://schemas.microsoft.com/office/drawing/2014/main" id="{B2831122-E8DB-534C-BD66-BD9BFD1BC822}"/>
              </a:ext>
            </a:extLst>
          </p:cNvPr>
          <p:cNvSpPr>
            <a:spLocks noGrp="1"/>
          </p:cNvSpPr>
          <p:nvPr>
            <p:ph type="pic" sz="quarter" idx="15" hasCustomPrompt="1"/>
          </p:nvPr>
        </p:nvSpPr>
        <p:spPr>
          <a:xfrm>
            <a:off x="8226964" y="3493742"/>
            <a:ext cx="3841211"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3" name="Content Placeholder 2"/>
          <p:cNvSpPr>
            <a:spLocks noGrp="1"/>
          </p:cNvSpPr>
          <p:nvPr>
            <p:ph sz="half" idx="1"/>
          </p:nvPr>
        </p:nvSpPr>
        <p:spPr>
          <a:xfrm>
            <a:off x="485776" y="1609725"/>
            <a:ext cx="3578224" cy="4508499"/>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s-ES"/>
              <a:t>Editar el estilo de texto del patrón</a:t>
            </a:r>
          </a:p>
          <a:p>
            <a:pPr lvl="1"/>
            <a:r>
              <a:rPr lang="es-ES"/>
              <a:t>Segundo nivel</a:t>
            </a:r>
          </a:p>
        </p:txBody>
      </p:sp>
      <p:sp>
        <p:nvSpPr>
          <p:cNvPr id="13" name="Title 1">
            <a:extLst>
              <a:ext uri="{FF2B5EF4-FFF2-40B4-BE49-F238E27FC236}">
                <a16:creationId xmlns:a16="http://schemas.microsoft.com/office/drawing/2014/main" id="{B329BC4F-7509-4849-AAA2-704C43361D2E}"/>
              </a:ext>
            </a:extLst>
          </p:cNvPr>
          <p:cNvSpPr>
            <a:spLocks noGrp="1"/>
          </p:cNvSpPr>
          <p:nvPr>
            <p:ph type="title" hasCustomPrompt="1"/>
          </p:nvPr>
        </p:nvSpPr>
        <p:spPr>
          <a:xfrm>
            <a:off x="457201" y="355601"/>
            <a:ext cx="3606800" cy="752474"/>
          </a:xfrm>
        </p:spPr>
        <p:txBody>
          <a:bodyPr vert="horz"/>
          <a:lstStyle/>
          <a:p>
            <a:r>
              <a:rPr lang="en-US" dirty="0"/>
              <a:t>Click to add title</a:t>
            </a:r>
          </a:p>
        </p:txBody>
      </p:sp>
    </p:spTree>
    <p:extLst>
      <p:ext uri="{BB962C8B-B14F-4D97-AF65-F5344CB8AC3E}">
        <p14:creationId xmlns:p14="http://schemas.microsoft.com/office/powerpoint/2010/main" val="34435146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x">
  <p:cSld name="1_Title slide A: image box">
    <p:bg>
      <p:bgPr>
        <a:solidFill>
          <a:srgbClr val="002C77"/>
        </a:solidFill>
        <a:effectLst/>
      </p:bgPr>
    </p:bg>
    <p:spTree>
      <p:nvGrpSpPr>
        <p:cNvPr id="1" name=""/>
        <p:cNvGrpSpPr/>
        <p:nvPr/>
      </p:nvGrpSpPr>
      <p:grpSpPr>
        <a:xfrm>
          <a:off x="0" y="0"/>
          <a:ext cx="0" cy="0"/>
          <a:chOff x="0" y="0"/>
          <a:chExt cx="0" cy="0"/>
        </a:xfrm>
      </p:grpSpPr>
      <p:sp>
        <p:nvSpPr>
          <p:cNvPr id="268" name="Shape 268"/>
          <p:cNvSpPr/>
          <p:nvPr/>
        </p:nvSpPr>
        <p:spPr>
          <a:xfrm>
            <a:off x="355599" y="6121400"/>
            <a:ext cx="2032001" cy="495300"/>
          </a:xfrm>
          <a:prstGeom prst="rect">
            <a:avLst/>
          </a:prstGeom>
          <a:solidFill>
            <a:srgbClr val="202020"/>
          </a:solidFill>
          <a:ln w="12700">
            <a:miter lim="400000"/>
          </a:ln>
        </p:spPr>
        <p:txBody>
          <a:bodyPr lIns="0" tIns="0" rIns="0" bIns="0" anchor="ctr"/>
          <a:lstStyle/>
          <a:p>
            <a:pPr algn="ctr">
              <a:defRPr>
                <a:solidFill>
                  <a:srgbClr val="FFFFFF"/>
                </a:solidFill>
              </a:defRPr>
            </a:pPr>
            <a:endParaRPr/>
          </a:p>
        </p:txBody>
      </p:sp>
      <p:sp>
        <p:nvSpPr>
          <p:cNvPr id="269" name="Shape 269"/>
          <p:cNvSpPr>
            <a:spLocks noGrp="1"/>
          </p:cNvSpPr>
          <p:nvPr>
            <p:ph type="pic" idx="13"/>
          </p:nvPr>
        </p:nvSpPr>
        <p:spPr>
          <a:xfrm>
            <a:off x="-2" y="-1"/>
            <a:ext cx="12192001" cy="6858001"/>
          </a:xfrm>
          <a:prstGeom prst="rect">
            <a:avLst/>
          </a:prstGeom>
        </p:spPr>
        <p:txBody>
          <a:bodyPr lIns="91439" tIns="45719" rIns="91439" bIns="45719"/>
          <a:lstStyle/>
          <a:p>
            <a:endParaRPr/>
          </a:p>
        </p:txBody>
      </p:sp>
      <p:sp>
        <p:nvSpPr>
          <p:cNvPr id="270" name="Shape 270"/>
          <p:cNvSpPr>
            <a:spLocks noGrp="1"/>
          </p:cNvSpPr>
          <p:nvPr>
            <p:ph type="pic" sz="quarter" idx="14"/>
          </p:nvPr>
        </p:nvSpPr>
        <p:spPr>
          <a:xfrm>
            <a:off x="8133618" y="361950"/>
            <a:ext cx="3575783" cy="495301"/>
          </a:xfrm>
          <a:prstGeom prst="rect">
            <a:avLst/>
          </a:prstGeom>
        </p:spPr>
        <p:txBody>
          <a:bodyPr lIns="91439" tIns="45719" rIns="91439" bIns="45719"/>
          <a:lstStyle/>
          <a:p>
            <a:endParaRPr/>
          </a:p>
        </p:txBody>
      </p:sp>
      <p:sp>
        <p:nvSpPr>
          <p:cNvPr id="271" name="Shape 271"/>
          <p:cNvSpPr>
            <a:spLocks noGrp="1"/>
          </p:cNvSpPr>
          <p:nvPr>
            <p:ph type="body" sz="quarter" idx="15"/>
          </p:nvPr>
        </p:nvSpPr>
        <p:spPr>
          <a:xfrm>
            <a:off x="485775" y="4429126"/>
            <a:ext cx="6448425" cy="1038526"/>
          </a:xfrm>
          <a:prstGeom prst="rect">
            <a:avLst/>
          </a:prstGeom>
        </p:spPr>
        <p:txBody>
          <a:bodyPr anchor="b"/>
          <a:lstStyle>
            <a:lvl1pPr>
              <a:spcBef>
                <a:spcPts val="0"/>
              </a:spcBef>
              <a:defRPr sz="1400"/>
            </a:lvl1pPr>
          </a:lstStyle>
          <a:p>
            <a:r>
              <a:t> </a:t>
            </a:r>
          </a:p>
        </p:txBody>
      </p:sp>
      <p:sp>
        <p:nvSpPr>
          <p:cNvPr id="272" name="Shape 272"/>
          <p:cNvSpPr>
            <a:spLocks noGrp="1"/>
          </p:cNvSpPr>
          <p:nvPr>
            <p:ph type="title"/>
          </p:nvPr>
        </p:nvSpPr>
        <p:spPr>
          <a:xfrm>
            <a:off x="448437" y="1609725"/>
            <a:ext cx="6485764" cy="1600200"/>
          </a:xfrm>
          <a:prstGeom prst="rect">
            <a:avLst/>
          </a:prstGeom>
        </p:spPr>
        <p:txBody>
          <a:bodyPr anchor="b">
            <a:normAutofit/>
          </a:bodyPr>
          <a:lstStyle>
            <a:lvl1pPr>
              <a:lnSpc>
                <a:spcPct val="90000"/>
              </a:lnSpc>
              <a:defRPr sz="4800">
                <a:solidFill>
                  <a:srgbClr val="202020"/>
                </a:solidFill>
              </a:defRPr>
            </a:lvl1pPr>
          </a:lstStyle>
          <a:p>
            <a:r>
              <a:t>Texto del título</a:t>
            </a:r>
          </a:p>
        </p:txBody>
      </p:sp>
      <p:sp>
        <p:nvSpPr>
          <p:cNvPr id="273" name="Shape 273"/>
          <p:cNvSpPr>
            <a:spLocks noGrp="1"/>
          </p:cNvSpPr>
          <p:nvPr>
            <p:ph type="body" sz="quarter" idx="1"/>
          </p:nvPr>
        </p:nvSpPr>
        <p:spPr>
          <a:xfrm>
            <a:off x="462026" y="3405820"/>
            <a:ext cx="6447769" cy="807914"/>
          </a:xfrm>
          <a:prstGeom prst="rect">
            <a:avLst/>
          </a:prstGeom>
        </p:spPr>
        <p:txBody>
          <a:bodyPr>
            <a:normAutofit/>
          </a:bodyPr>
          <a:lstStyle>
            <a:lvl1pPr>
              <a:defRPr sz="2400"/>
            </a:lvl1pPr>
            <a:lvl2pPr marL="0" indent="457200">
              <a:buSzTx/>
              <a:buNone/>
              <a:defRPr sz="2400"/>
            </a:lvl2pPr>
            <a:lvl3pPr marL="0" indent="914400">
              <a:buSzTx/>
              <a:buNone/>
              <a:defRPr sz="2400"/>
            </a:lvl3pPr>
            <a:lvl4pPr marL="0" indent="1371600">
              <a:buSzTx/>
              <a:buNone/>
              <a:defRPr sz="2400"/>
            </a:lvl4pPr>
            <a:lvl5pPr marL="0" indent="1828800">
              <a:buSzTx/>
              <a:buNone/>
              <a:defRPr sz="2400"/>
            </a:lvl5pPr>
          </a:lstStyle>
          <a:p>
            <a:r>
              <a:t>Nivel de texto 1</a:t>
            </a:r>
          </a:p>
          <a:p>
            <a:pPr lvl="1"/>
            <a:r>
              <a:t>Nivel de texto 2</a:t>
            </a:r>
          </a:p>
          <a:p>
            <a:pPr lvl="2"/>
            <a:r>
              <a:t>Nivel de texto 3</a:t>
            </a:r>
          </a:p>
          <a:p>
            <a:pPr lvl="3"/>
            <a:r>
              <a:t>Nivel de texto 4</a:t>
            </a:r>
          </a:p>
          <a:p>
            <a:pPr lvl="4"/>
            <a:r>
              <a:t>Nivel de texto 5</a:t>
            </a:r>
          </a:p>
        </p:txBody>
      </p:sp>
      <p:sp>
        <p:nvSpPr>
          <p:cNvPr id="274" name="Shape 274"/>
          <p:cNvSpPr>
            <a:spLocks noGrp="1"/>
          </p:cNvSpPr>
          <p:nvPr>
            <p:ph type="sldNum" sz="quarter" idx="2"/>
          </p:nvPr>
        </p:nvSpPr>
        <p:spPr>
          <a:prstGeom prst="rect">
            <a:avLst/>
          </a:prstGeom>
        </p:spPr>
        <p:txBody>
          <a:bodyPr/>
          <a:lstStyle/>
          <a:p>
            <a:fld id="{86CB4B4D-7CA3-9044-876B-883B54F8677D}" type="slidenum">
              <a:t>‹Nº›</a:t>
            </a:fld>
            <a:endParaRPr/>
          </a:p>
        </p:txBody>
      </p:sp>
    </p:spTree>
  </p:cSld>
  <p:clrMapOvr>
    <a:masterClrMapping/>
  </p:clrMapOvr>
  <p:transition spd="med"/>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p:cSld name="COV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BA7BA343-6086-A542-94F9-DEB6382B60AA}"/>
              </a:ext>
            </a:extLst>
          </p:cNvPr>
          <p:cNvSpPr txBox="1"/>
          <p:nvPr/>
        </p:nvSpPr>
        <p:spPr>
          <a:xfrm>
            <a:off x="374977" y="2505671"/>
            <a:ext cx="5217775" cy="184665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Covers</a:t>
            </a:r>
          </a:p>
        </p:txBody>
      </p:sp>
    </p:spTree>
    <p:extLst>
      <p:ext uri="{BB962C8B-B14F-4D97-AF65-F5344CB8AC3E}">
        <p14:creationId xmlns:p14="http://schemas.microsoft.com/office/powerpoint/2010/main" val="3239509268"/>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Title slide A: image box">
    <p:bg>
      <p:bgPr>
        <a:solidFill>
          <a:schemeClr val="tx2"/>
        </a:solidFill>
        <a:effectLst/>
      </p:bgPr>
    </p:bg>
    <p:spTree>
      <p:nvGrpSpPr>
        <p:cNvPr id="1" name=""/>
        <p:cNvGrpSpPr/>
        <p:nvPr/>
      </p:nvGrpSpPr>
      <p:grpSpPr>
        <a:xfrm>
          <a:off x="0" y="0"/>
          <a:ext cx="0" cy="0"/>
          <a:chOff x="0" y="0"/>
          <a:chExt cx="0" cy="0"/>
        </a:xfrm>
      </p:grpSpPr>
      <p:sp>
        <p:nvSpPr>
          <p:cNvPr id="69" name="Rectangle 68"/>
          <p:cNvSpPr/>
          <p:nvPr userDrawn="1"/>
        </p:nvSpPr>
        <p:spPr>
          <a:xfrm>
            <a:off x="355599" y="6121400"/>
            <a:ext cx="2032001" cy="4953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2" name="Picture Placeholder 71">
            <a:extLst>
              <a:ext uri="{FF2B5EF4-FFF2-40B4-BE49-F238E27FC236}">
                <a16:creationId xmlns:a16="http://schemas.microsoft.com/office/drawing/2014/main" id="{73319BE5-0EF3-DD4B-B826-A8E9F0755285}"/>
              </a:ext>
            </a:extLst>
          </p:cNvPr>
          <p:cNvSpPr>
            <a:spLocks noGrp="1"/>
          </p:cNvSpPr>
          <p:nvPr>
            <p:ph type="pic" sz="quarter" idx="10" hasCustomPrompt="1"/>
          </p:nvPr>
        </p:nvSpPr>
        <p:spPr>
          <a:xfrm>
            <a:off x="-1" y="-1"/>
            <a:ext cx="12191999" cy="6858001"/>
          </a:xfrm>
          <a:custGeom>
            <a:avLst/>
            <a:gdLst>
              <a:gd name="connsiteX0" fmla="*/ 2154182 w 12191999"/>
              <a:gd name="connsiteY0" fmla="*/ 6348735 h 6858001"/>
              <a:gd name="connsiteX1" fmla="*/ 2154182 w 12191999"/>
              <a:gd name="connsiteY1" fmla="*/ 6352726 h 6858001"/>
              <a:gd name="connsiteX2" fmla="*/ 2152428 w 12191999"/>
              <a:gd name="connsiteY2" fmla="*/ 6363609 h 6858001"/>
              <a:gd name="connsiteX3" fmla="*/ 2145233 w 12191999"/>
              <a:gd name="connsiteY3" fmla="*/ 6371136 h 6858001"/>
              <a:gd name="connsiteX4" fmla="*/ 2134048 w 12191999"/>
              <a:gd name="connsiteY4" fmla="*/ 6373887 h 6858001"/>
              <a:gd name="connsiteX5" fmla="*/ 2124404 w 12191999"/>
              <a:gd name="connsiteY5" fmla="*/ 6370985 h 6858001"/>
              <a:gd name="connsiteX6" fmla="*/ 2121109 w 12191999"/>
              <a:gd name="connsiteY6" fmla="*/ 6363730 h 6858001"/>
              <a:gd name="connsiteX7" fmla="*/ 2122621 w 12191999"/>
              <a:gd name="connsiteY7" fmla="*/ 6358560 h 6858001"/>
              <a:gd name="connsiteX8" fmla="*/ 2126913 w 12191999"/>
              <a:gd name="connsiteY8" fmla="*/ 6355023 h 6858001"/>
              <a:gd name="connsiteX9" fmla="*/ 2136406 w 12191999"/>
              <a:gd name="connsiteY9" fmla="*/ 6352847 h 6858001"/>
              <a:gd name="connsiteX10" fmla="*/ 2154182 w 12191999"/>
              <a:gd name="connsiteY10" fmla="*/ 6348735 h 6858001"/>
              <a:gd name="connsiteX11" fmla="*/ 1430281 w 12191999"/>
              <a:gd name="connsiteY11" fmla="*/ 6348735 h 6858001"/>
              <a:gd name="connsiteX12" fmla="*/ 1430281 w 12191999"/>
              <a:gd name="connsiteY12" fmla="*/ 6352726 h 6858001"/>
              <a:gd name="connsiteX13" fmla="*/ 1428528 w 12191999"/>
              <a:gd name="connsiteY13" fmla="*/ 6363609 h 6858001"/>
              <a:gd name="connsiteX14" fmla="*/ 1421333 w 12191999"/>
              <a:gd name="connsiteY14" fmla="*/ 6371136 h 6858001"/>
              <a:gd name="connsiteX15" fmla="*/ 1410148 w 12191999"/>
              <a:gd name="connsiteY15" fmla="*/ 6373887 h 6858001"/>
              <a:gd name="connsiteX16" fmla="*/ 1400504 w 12191999"/>
              <a:gd name="connsiteY16" fmla="*/ 6370985 h 6858001"/>
              <a:gd name="connsiteX17" fmla="*/ 1397209 w 12191999"/>
              <a:gd name="connsiteY17" fmla="*/ 6363730 h 6858001"/>
              <a:gd name="connsiteX18" fmla="*/ 1398721 w 12191999"/>
              <a:gd name="connsiteY18" fmla="*/ 6358560 h 6858001"/>
              <a:gd name="connsiteX19" fmla="*/ 1403013 w 12191999"/>
              <a:gd name="connsiteY19" fmla="*/ 6355023 h 6858001"/>
              <a:gd name="connsiteX20" fmla="*/ 1412506 w 12191999"/>
              <a:gd name="connsiteY20" fmla="*/ 6352847 h 6858001"/>
              <a:gd name="connsiteX21" fmla="*/ 1430281 w 12191999"/>
              <a:gd name="connsiteY21" fmla="*/ 6348735 h 6858001"/>
              <a:gd name="connsiteX22" fmla="*/ 1167698 w 12191999"/>
              <a:gd name="connsiteY22" fmla="*/ 6324309 h 6858001"/>
              <a:gd name="connsiteX23" fmla="*/ 1181150 w 12191999"/>
              <a:gd name="connsiteY23" fmla="*/ 6330446 h 6858001"/>
              <a:gd name="connsiteX24" fmla="*/ 1186561 w 12191999"/>
              <a:gd name="connsiteY24" fmla="*/ 6348493 h 6858001"/>
              <a:gd name="connsiteX25" fmla="*/ 1181180 w 12191999"/>
              <a:gd name="connsiteY25" fmla="*/ 6367297 h 6858001"/>
              <a:gd name="connsiteX26" fmla="*/ 1167698 w 12191999"/>
              <a:gd name="connsiteY26" fmla="*/ 6373464 h 6858001"/>
              <a:gd name="connsiteX27" fmla="*/ 1154154 w 12191999"/>
              <a:gd name="connsiteY27" fmla="*/ 6367327 h 6858001"/>
              <a:gd name="connsiteX28" fmla="*/ 1148773 w 12191999"/>
              <a:gd name="connsiteY28" fmla="*/ 6348856 h 6858001"/>
              <a:gd name="connsiteX29" fmla="*/ 1154154 w 12191999"/>
              <a:gd name="connsiteY29" fmla="*/ 6330415 h 6858001"/>
              <a:gd name="connsiteX30" fmla="*/ 1167698 w 12191999"/>
              <a:gd name="connsiteY30" fmla="*/ 6324309 h 6858001"/>
              <a:gd name="connsiteX31" fmla="*/ 1939646 w 12191999"/>
              <a:gd name="connsiteY31" fmla="*/ 6324248 h 6858001"/>
              <a:gd name="connsiteX32" fmla="*/ 1953129 w 12191999"/>
              <a:gd name="connsiteY32" fmla="*/ 6330536 h 6858001"/>
              <a:gd name="connsiteX33" fmla="*/ 1957240 w 12191999"/>
              <a:gd name="connsiteY33" fmla="*/ 6342689 h 6858001"/>
              <a:gd name="connsiteX34" fmla="*/ 1921387 w 12191999"/>
              <a:gd name="connsiteY34" fmla="*/ 6342689 h 6858001"/>
              <a:gd name="connsiteX35" fmla="*/ 1927040 w 12191999"/>
              <a:gd name="connsiteY35" fmla="*/ 6329267 h 6858001"/>
              <a:gd name="connsiteX36" fmla="*/ 1939646 w 12191999"/>
              <a:gd name="connsiteY36" fmla="*/ 6324248 h 6858001"/>
              <a:gd name="connsiteX37" fmla="*/ 929996 w 12191999"/>
              <a:gd name="connsiteY37" fmla="*/ 6324248 h 6858001"/>
              <a:gd name="connsiteX38" fmla="*/ 943479 w 12191999"/>
              <a:gd name="connsiteY38" fmla="*/ 6330536 h 6858001"/>
              <a:gd name="connsiteX39" fmla="*/ 947590 w 12191999"/>
              <a:gd name="connsiteY39" fmla="*/ 6342689 h 6858001"/>
              <a:gd name="connsiteX40" fmla="*/ 911736 w 12191999"/>
              <a:gd name="connsiteY40" fmla="*/ 6342689 h 6858001"/>
              <a:gd name="connsiteX41" fmla="*/ 917389 w 12191999"/>
              <a:gd name="connsiteY41" fmla="*/ 6329267 h 6858001"/>
              <a:gd name="connsiteX42" fmla="*/ 929996 w 12191999"/>
              <a:gd name="connsiteY42" fmla="*/ 6324248 h 6858001"/>
              <a:gd name="connsiteX43" fmla="*/ 635688 w 12191999"/>
              <a:gd name="connsiteY43" fmla="*/ 6324248 h 6858001"/>
              <a:gd name="connsiteX44" fmla="*/ 647750 w 12191999"/>
              <a:gd name="connsiteY44" fmla="*/ 6330234 h 6858001"/>
              <a:gd name="connsiteX45" fmla="*/ 652738 w 12191999"/>
              <a:gd name="connsiteY45" fmla="*/ 6348796 h 6858001"/>
              <a:gd name="connsiteX46" fmla="*/ 647538 w 12191999"/>
              <a:gd name="connsiteY46" fmla="*/ 6367267 h 6858001"/>
              <a:gd name="connsiteX47" fmla="*/ 635204 w 12191999"/>
              <a:gd name="connsiteY47" fmla="*/ 6373464 h 6858001"/>
              <a:gd name="connsiteX48" fmla="*/ 621298 w 12191999"/>
              <a:gd name="connsiteY48" fmla="*/ 6365060 h 6858001"/>
              <a:gd name="connsiteX49" fmla="*/ 618154 w 12191999"/>
              <a:gd name="connsiteY49" fmla="*/ 6348373 h 6858001"/>
              <a:gd name="connsiteX50" fmla="*/ 623354 w 12191999"/>
              <a:gd name="connsiteY50" fmla="*/ 6330446 h 6858001"/>
              <a:gd name="connsiteX51" fmla="*/ 635688 w 12191999"/>
              <a:gd name="connsiteY51" fmla="*/ 6324248 h 6858001"/>
              <a:gd name="connsiteX52" fmla="*/ 808324 w 12191999"/>
              <a:gd name="connsiteY52" fmla="*/ 6316751 h 6858001"/>
              <a:gd name="connsiteX53" fmla="*/ 808324 w 12191999"/>
              <a:gd name="connsiteY53" fmla="*/ 6380961 h 6858001"/>
              <a:gd name="connsiteX54" fmla="*/ 819207 w 12191999"/>
              <a:gd name="connsiteY54" fmla="*/ 6380961 h 6858001"/>
              <a:gd name="connsiteX55" fmla="*/ 819207 w 12191999"/>
              <a:gd name="connsiteY55" fmla="*/ 6316751 h 6858001"/>
              <a:gd name="connsiteX56" fmla="*/ 674672 w 12191999"/>
              <a:gd name="connsiteY56" fmla="*/ 6316751 h 6858001"/>
              <a:gd name="connsiteX57" fmla="*/ 674672 w 12191999"/>
              <a:gd name="connsiteY57" fmla="*/ 6356535 h 6858001"/>
              <a:gd name="connsiteX58" fmla="*/ 675337 w 12191999"/>
              <a:gd name="connsiteY58" fmla="*/ 6366692 h 6858001"/>
              <a:gd name="connsiteX59" fmla="*/ 678692 w 12191999"/>
              <a:gd name="connsiteY59" fmla="*/ 6374764 h 6858001"/>
              <a:gd name="connsiteX60" fmla="*/ 686008 w 12191999"/>
              <a:gd name="connsiteY60" fmla="*/ 6380236 h 6858001"/>
              <a:gd name="connsiteX61" fmla="*/ 696619 w 12191999"/>
              <a:gd name="connsiteY61" fmla="*/ 6382412 h 6858001"/>
              <a:gd name="connsiteX62" fmla="*/ 716995 w 12191999"/>
              <a:gd name="connsiteY62" fmla="*/ 6371529 h 6858001"/>
              <a:gd name="connsiteX63" fmla="*/ 716995 w 12191999"/>
              <a:gd name="connsiteY63" fmla="*/ 6380961 h 6858001"/>
              <a:gd name="connsiteX64" fmla="*/ 726729 w 12191999"/>
              <a:gd name="connsiteY64" fmla="*/ 6380961 h 6858001"/>
              <a:gd name="connsiteX65" fmla="*/ 726729 w 12191999"/>
              <a:gd name="connsiteY65" fmla="*/ 6316751 h 6858001"/>
              <a:gd name="connsiteX66" fmla="*/ 715846 w 12191999"/>
              <a:gd name="connsiteY66" fmla="*/ 6316751 h 6858001"/>
              <a:gd name="connsiteX67" fmla="*/ 715846 w 12191999"/>
              <a:gd name="connsiteY67" fmla="*/ 6351154 h 6858001"/>
              <a:gd name="connsiteX68" fmla="*/ 714062 w 12191999"/>
              <a:gd name="connsiteY68" fmla="*/ 6363700 h 6858001"/>
              <a:gd name="connsiteX69" fmla="*/ 707986 w 12191999"/>
              <a:gd name="connsiteY69" fmla="*/ 6370532 h 6858001"/>
              <a:gd name="connsiteX70" fmla="*/ 698796 w 12191999"/>
              <a:gd name="connsiteY70" fmla="*/ 6373041 h 6858001"/>
              <a:gd name="connsiteX71" fmla="*/ 690573 w 12191999"/>
              <a:gd name="connsiteY71" fmla="*/ 6370592 h 6858001"/>
              <a:gd name="connsiteX72" fmla="*/ 686220 w 12191999"/>
              <a:gd name="connsiteY72" fmla="*/ 6363851 h 6858001"/>
              <a:gd name="connsiteX73" fmla="*/ 685555 w 12191999"/>
              <a:gd name="connsiteY73" fmla="*/ 6352363 h 6858001"/>
              <a:gd name="connsiteX74" fmla="*/ 685555 w 12191999"/>
              <a:gd name="connsiteY74" fmla="*/ 6316751 h 6858001"/>
              <a:gd name="connsiteX75" fmla="*/ 2210094 w 12191999"/>
              <a:gd name="connsiteY75" fmla="*/ 6315300 h 6858001"/>
              <a:gd name="connsiteX76" fmla="*/ 2189659 w 12191999"/>
              <a:gd name="connsiteY76" fmla="*/ 6325881 h 6858001"/>
              <a:gd name="connsiteX77" fmla="*/ 2189659 w 12191999"/>
              <a:gd name="connsiteY77" fmla="*/ 6316751 h 6858001"/>
              <a:gd name="connsiteX78" fmla="*/ 2179864 w 12191999"/>
              <a:gd name="connsiteY78" fmla="*/ 6316751 h 6858001"/>
              <a:gd name="connsiteX79" fmla="*/ 2179864 w 12191999"/>
              <a:gd name="connsiteY79" fmla="*/ 6380961 h 6858001"/>
              <a:gd name="connsiteX80" fmla="*/ 2190747 w 12191999"/>
              <a:gd name="connsiteY80" fmla="*/ 6380961 h 6858001"/>
              <a:gd name="connsiteX81" fmla="*/ 2190747 w 12191999"/>
              <a:gd name="connsiteY81" fmla="*/ 6345894 h 6858001"/>
              <a:gd name="connsiteX82" fmla="*/ 2195795 w 12191999"/>
              <a:gd name="connsiteY82" fmla="*/ 6329146 h 6858001"/>
              <a:gd name="connsiteX83" fmla="*/ 2207797 w 12191999"/>
              <a:gd name="connsiteY83" fmla="*/ 6324732 h 6858001"/>
              <a:gd name="connsiteX84" fmla="*/ 2215385 w 12191999"/>
              <a:gd name="connsiteY84" fmla="*/ 6326697 h 6858001"/>
              <a:gd name="connsiteX85" fmla="*/ 2219889 w 12191999"/>
              <a:gd name="connsiteY85" fmla="*/ 6331957 h 6858001"/>
              <a:gd name="connsiteX86" fmla="*/ 2221159 w 12191999"/>
              <a:gd name="connsiteY86" fmla="*/ 6341903 h 6858001"/>
              <a:gd name="connsiteX87" fmla="*/ 2221159 w 12191999"/>
              <a:gd name="connsiteY87" fmla="*/ 6380961 h 6858001"/>
              <a:gd name="connsiteX88" fmla="*/ 2232042 w 12191999"/>
              <a:gd name="connsiteY88" fmla="*/ 6380961 h 6858001"/>
              <a:gd name="connsiteX89" fmla="*/ 2232042 w 12191999"/>
              <a:gd name="connsiteY89" fmla="*/ 6341480 h 6858001"/>
              <a:gd name="connsiteX90" fmla="*/ 2231437 w 12191999"/>
              <a:gd name="connsiteY90" fmla="*/ 6330899 h 6858001"/>
              <a:gd name="connsiteX91" fmla="*/ 2228052 w 12191999"/>
              <a:gd name="connsiteY91" fmla="*/ 6322858 h 6858001"/>
              <a:gd name="connsiteX92" fmla="*/ 2220766 w 12191999"/>
              <a:gd name="connsiteY92" fmla="*/ 6317386 h 6858001"/>
              <a:gd name="connsiteX93" fmla="*/ 2210094 w 12191999"/>
              <a:gd name="connsiteY93" fmla="*/ 6315300 h 6858001"/>
              <a:gd name="connsiteX94" fmla="*/ 2140336 w 12191999"/>
              <a:gd name="connsiteY94" fmla="*/ 6315300 h 6858001"/>
              <a:gd name="connsiteX95" fmla="*/ 2125765 w 12191999"/>
              <a:gd name="connsiteY95" fmla="*/ 6317567 h 6858001"/>
              <a:gd name="connsiteX96" fmla="*/ 2116151 w 12191999"/>
              <a:gd name="connsiteY96" fmla="*/ 6324037 h 6858001"/>
              <a:gd name="connsiteX97" fmla="*/ 2111375 w 12191999"/>
              <a:gd name="connsiteY97" fmla="*/ 6335071 h 6858001"/>
              <a:gd name="connsiteX98" fmla="*/ 2122016 w 12191999"/>
              <a:gd name="connsiteY98" fmla="*/ 6336522 h 6858001"/>
              <a:gd name="connsiteX99" fmla="*/ 2127427 w 12191999"/>
              <a:gd name="connsiteY99" fmla="*/ 6326999 h 6858001"/>
              <a:gd name="connsiteX100" fmla="*/ 2138764 w 12191999"/>
              <a:gd name="connsiteY100" fmla="*/ 6324309 h 6858001"/>
              <a:gd name="connsiteX101" fmla="*/ 2151159 w 12191999"/>
              <a:gd name="connsiteY101" fmla="*/ 6327997 h 6858001"/>
              <a:gd name="connsiteX102" fmla="*/ 2154242 w 12191999"/>
              <a:gd name="connsiteY102" fmla="*/ 6337369 h 6858001"/>
              <a:gd name="connsiteX103" fmla="*/ 2154182 w 12191999"/>
              <a:gd name="connsiteY103" fmla="*/ 6340210 h 6858001"/>
              <a:gd name="connsiteX104" fmla="*/ 2134773 w 12191999"/>
              <a:gd name="connsiteY104" fmla="*/ 6343959 h 6858001"/>
              <a:gd name="connsiteX105" fmla="*/ 2125100 w 12191999"/>
              <a:gd name="connsiteY105" fmla="*/ 6345591 h 6858001"/>
              <a:gd name="connsiteX106" fmla="*/ 2117270 w 12191999"/>
              <a:gd name="connsiteY106" fmla="*/ 6349159 h 6858001"/>
              <a:gd name="connsiteX107" fmla="*/ 2111647 w 12191999"/>
              <a:gd name="connsiteY107" fmla="*/ 6355416 h 6858001"/>
              <a:gd name="connsiteX108" fmla="*/ 2109500 w 12191999"/>
              <a:gd name="connsiteY108" fmla="*/ 6364032 h 6858001"/>
              <a:gd name="connsiteX109" fmla="*/ 2115184 w 12191999"/>
              <a:gd name="connsiteY109" fmla="*/ 6377243 h 6858001"/>
              <a:gd name="connsiteX110" fmla="*/ 2131448 w 12191999"/>
              <a:gd name="connsiteY110" fmla="*/ 6382412 h 6858001"/>
              <a:gd name="connsiteX111" fmla="*/ 2143450 w 12191999"/>
              <a:gd name="connsiteY111" fmla="*/ 6380296 h 6858001"/>
              <a:gd name="connsiteX112" fmla="*/ 2155089 w 12191999"/>
              <a:gd name="connsiteY112" fmla="*/ 6373041 h 6858001"/>
              <a:gd name="connsiteX113" fmla="*/ 2157265 w 12191999"/>
              <a:gd name="connsiteY113" fmla="*/ 6380961 h 6858001"/>
              <a:gd name="connsiteX114" fmla="*/ 2168632 w 12191999"/>
              <a:gd name="connsiteY114" fmla="*/ 6380961 h 6858001"/>
              <a:gd name="connsiteX115" fmla="*/ 2165881 w 12191999"/>
              <a:gd name="connsiteY115" fmla="*/ 6373252 h 6858001"/>
              <a:gd name="connsiteX116" fmla="*/ 2165185 w 12191999"/>
              <a:gd name="connsiteY116" fmla="*/ 6354056 h 6858001"/>
              <a:gd name="connsiteX117" fmla="*/ 2165185 w 12191999"/>
              <a:gd name="connsiteY117" fmla="*/ 6339545 h 6858001"/>
              <a:gd name="connsiteX118" fmla="*/ 2164641 w 12191999"/>
              <a:gd name="connsiteY118" fmla="*/ 6329509 h 6858001"/>
              <a:gd name="connsiteX119" fmla="*/ 2161255 w 12191999"/>
              <a:gd name="connsiteY119" fmla="*/ 6322102 h 6858001"/>
              <a:gd name="connsiteX120" fmla="*/ 2153698 w 12191999"/>
              <a:gd name="connsiteY120" fmla="*/ 6317235 h 6858001"/>
              <a:gd name="connsiteX121" fmla="*/ 2140336 w 12191999"/>
              <a:gd name="connsiteY121" fmla="*/ 6315300 h 6858001"/>
              <a:gd name="connsiteX122" fmla="*/ 2076744 w 12191999"/>
              <a:gd name="connsiteY122" fmla="*/ 6315300 h 6858001"/>
              <a:gd name="connsiteX123" fmla="*/ 2056309 w 12191999"/>
              <a:gd name="connsiteY123" fmla="*/ 6325881 h 6858001"/>
              <a:gd name="connsiteX124" fmla="*/ 2056309 w 12191999"/>
              <a:gd name="connsiteY124" fmla="*/ 6316751 h 6858001"/>
              <a:gd name="connsiteX125" fmla="*/ 2046514 w 12191999"/>
              <a:gd name="connsiteY125" fmla="*/ 6316751 h 6858001"/>
              <a:gd name="connsiteX126" fmla="*/ 2046514 w 12191999"/>
              <a:gd name="connsiteY126" fmla="*/ 6380961 h 6858001"/>
              <a:gd name="connsiteX127" fmla="*/ 2057397 w 12191999"/>
              <a:gd name="connsiteY127" fmla="*/ 6380961 h 6858001"/>
              <a:gd name="connsiteX128" fmla="*/ 2057397 w 12191999"/>
              <a:gd name="connsiteY128" fmla="*/ 6345894 h 6858001"/>
              <a:gd name="connsiteX129" fmla="*/ 2062445 w 12191999"/>
              <a:gd name="connsiteY129" fmla="*/ 6329146 h 6858001"/>
              <a:gd name="connsiteX130" fmla="*/ 2074447 w 12191999"/>
              <a:gd name="connsiteY130" fmla="*/ 6324732 h 6858001"/>
              <a:gd name="connsiteX131" fmla="*/ 2082035 w 12191999"/>
              <a:gd name="connsiteY131" fmla="*/ 6326697 h 6858001"/>
              <a:gd name="connsiteX132" fmla="*/ 2086539 w 12191999"/>
              <a:gd name="connsiteY132" fmla="*/ 6331957 h 6858001"/>
              <a:gd name="connsiteX133" fmla="*/ 2087809 w 12191999"/>
              <a:gd name="connsiteY133" fmla="*/ 6341903 h 6858001"/>
              <a:gd name="connsiteX134" fmla="*/ 2087809 w 12191999"/>
              <a:gd name="connsiteY134" fmla="*/ 6380961 h 6858001"/>
              <a:gd name="connsiteX135" fmla="*/ 2098692 w 12191999"/>
              <a:gd name="connsiteY135" fmla="*/ 6380961 h 6858001"/>
              <a:gd name="connsiteX136" fmla="*/ 2098692 w 12191999"/>
              <a:gd name="connsiteY136" fmla="*/ 6341480 h 6858001"/>
              <a:gd name="connsiteX137" fmla="*/ 2098087 w 12191999"/>
              <a:gd name="connsiteY137" fmla="*/ 6330899 h 6858001"/>
              <a:gd name="connsiteX138" fmla="*/ 2094702 w 12191999"/>
              <a:gd name="connsiteY138" fmla="*/ 6322858 h 6858001"/>
              <a:gd name="connsiteX139" fmla="*/ 2087416 w 12191999"/>
              <a:gd name="connsiteY139" fmla="*/ 6317386 h 6858001"/>
              <a:gd name="connsiteX140" fmla="*/ 2076744 w 12191999"/>
              <a:gd name="connsiteY140" fmla="*/ 6315300 h 6858001"/>
              <a:gd name="connsiteX141" fmla="*/ 2010069 w 12191999"/>
              <a:gd name="connsiteY141" fmla="*/ 6315300 h 6858001"/>
              <a:gd name="connsiteX142" fmla="*/ 1989633 w 12191999"/>
              <a:gd name="connsiteY142" fmla="*/ 6325881 h 6858001"/>
              <a:gd name="connsiteX143" fmla="*/ 1989633 w 12191999"/>
              <a:gd name="connsiteY143" fmla="*/ 6316751 h 6858001"/>
              <a:gd name="connsiteX144" fmla="*/ 1979839 w 12191999"/>
              <a:gd name="connsiteY144" fmla="*/ 6316751 h 6858001"/>
              <a:gd name="connsiteX145" fmla="*/ 1979839 w 12191999"/>
              <a:gd name="connsiteY145" fmla="*/ 6380961 h 6858001"/>
              <a:gd name="connsiteX146" fmla="*/ 1990722 w 12191999"/>
              <a:gd name="connsiteY146" fmla="*/ 6380961 h 6858001"/>
              <a:gd name="connsiteX147" fmla="*/ 1990722 w 12191999"/>
              <a:gd name="connsiteY147" fmla="*/ 6345894 h 6858001"/>
              <a:gd name="connsiteX148" fmla="*/ 1995770 w 12191999"/>
              <a:gd name="connsiteY148" fmla="*/ 6329146 h 6858001"/>
              <a:gd name="connsiteX149" fmla="*/ 2007772 w 12191999"/>
              <a:gd name="connsiteY149" fmla="*/ 6324732 h 6858001"/>
              <a:gd name="connsiteX150" fmla="*/ 2015360 w 12191999"/>
              <a:gd name="connsiteY150" fmla="*/ 6326697 h 6858001"/>
              <a:gd name="connsiteX151" fmla="*/ 2019864 w 12191999"/>
              <a:gd name="connsiteY151" fmla="*/ 6331957 h 6858001"/>
              <a:gd name="connsiteX152" fmla="*/ 2021134 w 12191999"/>
              <a:gd name="connsiteY152" fmla="*/ 6341903 h 6858001"/>
              <a:gd name="connsiteX153" fmla="*/ 2021134 w 12191999"/>
              <a:gd name="connsiteY153" fmla="*/ 6380961 h 6858001"/>
              <a:gd name="connsiteX154" fmla="*/ 2032017 w 12191999"/>
              <a:gd name="connsiteY154" fmla="*/ 6380961 h 6858001"/>
              <a:gd name="connsiteX155" fmla="*/ 2032017 w 12191999"/>
              <a:gd name="connsiteY155" fmla="*/ 6341480 h 6858001"/>
              <a:gd name="connsiteX156" fmla="*/ 2031412 w 12191999"/>
              <a:gd name="connsiteY156" fmla="*/ 6330899 h 6858001"/>
              <a:gd name="connsiteX157" fmla="*/ 2028026 w 12191999"/>
              <a:gd name="connsiteY157" fmla="*/ 6322858 h 6858001"/>
              <a:gd name="connsiteX158" fmla="*/ 2020741 w 12191999"/>
              <a:gd name="connsiteY158" fmla="*/ 6317386 h 6858001"/>
              <a:gd name="connsiteX159" fmla="*/ 2010069 w 12191999"/>
              <a:gd name="connsiteY159" fmla="*/ 6315300 h 6858001"/>
              <a:gd name="connsiteX160" fmla="*/ 1939525 w 12191999"/>
              <a:gd name="connsiteY160" fmla="*/ 6315300 h 6858001"/>
              <a:gd name="connsiteX161" fmla="*/ 1917880 w 12191999"/>
              <a:gd name="connsiteY161" fmla="*/ 6324248 h 6858001"/>
              <a:gd name="connsiteX162" fmla="*/ 1909536 w 12191999"/>
              <a:gd name="connsiteY162" fmla="*/ 6349400 h 6858001"/>
              <a:gd name="connsiteX163" fmla="*/ 1917789 w 12191999"/>
              <a:gd name="connsiteY163" fmla="*/ 6373736 h 6858001"/>
              <a:gd name="connsiteX164" fmla="*/ 1940129 w 12191999"/>
              <a:gd name="connsiteY164" fmla="*/ 6382412 h 6858001"/>
              <a:gd name="connsiteX165" fmla="*/ 1958510 w 12191999"/>
              <a:gd name="connsiteY165" fmla="*/ 6376971 h 6858001"/>
              <a:gd name="connsiteX166" fmla="*/ 1968365 w 12191999"/>
              <a:gd name="connsiteY166" fmla="*/ 6361674 h 6858001"/>
              <a:gd name="connsiteX167" fmla="*/ 1957119 w 12191999"/>
              <a:gd name="connsiteY167" fmla="*/ 6360283 h 6858001"/>
              <a:gd name="connsiteX168" fmla="*/ 1950408 w 12191999"/>
              <a:gd name="connsiteY168" fmla="*/ 6370320 h 6858001"/>
              <a:gd name="connsiteX169" fmla="*/ 1940190 w 12191999"/>
              <a:gd name="connsiteY169" fmla="*/ 6373464 h 6858001"/>
              <a:gd name="connsiteX170" fmla="*/ 1926767 w 12191999"/>
              <a:gd name="connsiteY170" fmla="*/ 6367841 h 6858001"/>
              <a:gd name="connsiteX171" fmla="*/ 1920782 w 12191999"/>
              <a:gd name="connsiteY171" fmla="*/ 6351637 h 6858001"/>
              <a:gd name="connsiteX172" fmla="*/ 1968667 w 12191999"/>
              <a:gd name="connsiteY172" fmla="*/ 6351637 h 6858001"/>
              <a:gd name="connsiteX173" fmla="*/ 1968728 w 12191999"/>
              <a:gd name="connsiteY173" fmla="*/ 6348735 h 6858001"/>
              <a:gd name="connsiteX174" fmla="*/ 1960565 w 12191999"/>
              <a:gd name="connsiteY174" fmla="*/ 6324067 h 6858001"/>
              <a:gd name="connsiteX175" fmla="*/ 1939525 w 12191999"/>
              <a:gd name="connsiteY175" fmla="*/ 6315300 h 6858001"/>
              <a:gd name="connsiteX176" fmla="*/ 1805752 w 12191999"/>
              <a:gd name="connsiteY176" fmla="*/ 6315300 h 6858001"/>
              <a:gd name="connsiteX177" fmla="*/ 1790425 w 12191999"/>
              <a:gd name="connsiteY177" fmla="*/ 6319200 h 6858001"/>
              <a:gd name="connsiteX178" fmla="*/ 1779935 w 12191999"/>
              <a:gd name="connsiteY178" fmla="*/ 6330899 h 6858001"/>
              <a:gd name="connsiteX179" fmla="*/ 1776488 w 12191999"/>
              <a:gd name="connsiteY179" fmla="*/ 6349098 h 6858001"/>
              <a:gd name="connsiteX180" fmla="*/ 1784499 w 12191999"/>
              <a:gd name="connsiteY180" fmla="*/ 6373797 h 6858001"/>
              <a:gd name="connsiteX181" fmla="*/ 1805691 w 12191999"/>
              <a:gd name="connsiteY181" fmla="*/ 6382412 h 6858001"/>
              <a:gd name="connsiteX182" fmla="*/ 1823437 w 12191999"/>
              <a:gd name="connsiteY182" fmla="*/ 6376155 h 6858001"/>
              <a:gd name="connsiteX183" fmla="*/ 1832415 w 12191999"/>
              <a:gd name="connsiteY183" fmla="*/ 6358832 h 6858001"/>
              <a:gd name="connsiteX184" fmla="*/ 1821714 w 12191999"/>
              <a:gd name="connsiteY184" fmla="*/ 6357442 h 6858001"/>
              <a:gd name="connsiteX185" fmla="*/ 1816272 w 12191999"/>
              <a:gd name="connsiteY185" fmla="*/ 6369534 h 6858001"/>
              <a:gd name="connsiteX186" fmla="*/ 1805570 w 12191999"/>
              <a:gd name="connsiteY186" fmla="*/ 6373464 h 6858001"/>
              <a:gd name="connsiteX187" fmla="*/ 1792632 w 12191999"/>
              <a:gd name="connsiteY187" fmla="*/ 6367599 h 6858001"/>
              <a:gd name="connsiteX188" fmla="*/ 1787674 w 12191999"/>
              <a:gd name="connsiteY188" fmla="*/ 6348796 h 6858001"/>
              <a:gd name="connsiteX189" fmla="*/ 1792813 w 12191999"/>
              <a:gd name="connsiteY189" fmla="*/ 6330143 h 6858001"/>
              <a:gd name="connsiteX190" fmla="*/ 1806175 w 12191999"/>
              <a:gd name="connsiteY190" fmla="*/ 6324248 h 6858001"/>
              <a:gd name="connsiteX191" fmla="*/ 1815456 w 12191999"/>
              <a:gd name="connsiteY191" fmla="*/ 6327513 h 6858001"/>
              <a:gd name="connsiteX192" fmla="*/ 1820806 w 12191999"/>
              <a:gd name="connsiteY192" fmla="*/ 6337248 h 6858001"/>
              <a:gd name="connsiteX193" fmla="*/ 1831387 w 12191999"/>
              <a:gd name="connsiteY193" fmla="*/ 6335615 h 6858001"/>
              <a:gd name="connsiteX194" fmla="*/ 1822862 w 12191999"/>
              <a:gd name="connsiteY194" fmla="*/ 6320591 h 6858001"/>
              <a:gd name="connsiteX195" fmla="*/ 1805752 w 12191999"/>
              <a:gd name="connsiteY195" fmla="*/ 6315300 h 6858001"/>
              <a:gd name="connsiteX196" fmla="*/ 1515165 w 12191999"/>
              <a:gd name="connsiteY196" fmla="*/ 6315300 h 6858001"/>
              <a:gd name="connsiteX197" fmla="*/ 1505763 w 12191999"/>
              <a:gd name="connsiteY197" fmla="*/ 6316600 h 6858001"/>
              <a:gd name="connsiteX198" fmla="*/ 1498840 w 12191999"/>
              <a:gd name="connsiteY198" fmla="*/ 6319774 h 6858001"/>
              <a:gd name="connsiteX199" fmla="*/ 1493489 w 12191999"/>
              <a:gd name="connsiteY199" fmla="*/ 6325851 h 6858001"/>
              <a:gd name="connsiteX200" fmla="*/ 1491524 w 12191999"/>
              <a:gd name="connsiteY200" fmla="*/ 6333801 h 6858001"/>
              <a:gd name="connsiteX201" fmla="*/ 1493913 w 12191999"/>
              <a:gd name="connsiteY201" fmla="*/ 6342417 h 6858001"/>
              <a:gd name="connsiteX202" fmla="*/ 1500926 w 12191999"/>
              <a:gd name="connsiteY202" fmla="*/ 6348524 h 6858001"/>
              <a:gd name="connsiteX203" fmla="*/ 1517523 w 12191999"/>
              <a:gd name="connsiteY203" fmla="*/ 6353754 h 6858001"/>
              <a:gd name="connsiteX204" fmla="*/ 1528648 w 12191999"/>
              <a:gd name="connsiteY204" fmla="*/ 6357442 h 6858001"/>
              <a:gd name="connsiteX205" fmla="*/ 1531852 w 12191999"/>
              <a:gd name="connsiteY205" fmla="*/ 6363246 h 6858001"/>
              <a:gd name="connsiteX206" fmla="*/ 1528224 w 12191999"/>
              <a:gd name="connsiteY206" fmla="*/ 6370411 h 6858001"/>
              <a:gd name="connsiteX207" fmla="*/ 1517100 w 12191999"/>
              <a:gd name="connsiteY207" fmla="*/ 6373464 h 6858001"/>
              <a:gd name="connsiteX208" fmla="*/ 1505521 w 12191999"/>
              <a:gd name="connsiteY208" fmla="*/ 6370018 h 6858001"/>
              <a:gd name="connsiteX209" fmla="*/ 1500472 w 12191999"/>
              <a:gd name="connsiteY209" fmla="*/ 6360102 h 6858001"/>
              <a:gd name="connsiteX210" fmla="*/ 1489710 w 12191999"/>
              <a:gd name="connsiteY210" fmla="*/ 6361795 h 6858001"/>
              <a:gd name="connsiteX211" fmla="*/ 1498084 w 12191999"/>
              <a:gd name="connsiteY211" fmla="*/ 6377213 h 6858001"/>
              <a:gd name="connsiteX212" fmla="*/ 1517160 w 12191999"/>
              <a:gd name="connsiteY212" fmla="*/ 6382412 h 6858001"/>
              <a:gd name="connsiteX213" fmla="*/ 1530703 w 12191999"/>
              <a:gd name="connsiteY213" fmla="*/ 6379782 h 6858001"/>
              <a:gd name="connsiteX214" fmla="*/ 1539863 w 12191999"/>
              <a:gd name="connsiteY214" fmla="*/ 6372345 h 6858001"/>
              <a:gd name="connsiteX215" fmla="*/ 1543037 w 12191999"/>
              <a:gd name="connsiteY215" fmla="*/ 6362097 h 6858001"/>
              <a:gd name="connsiteX216" fmla="*/ 1540437 w 12191999"/>
              <a:gd name="connsiteY216" fmla="*/ 6352786 h 6858001"/>
              <a:gd name="connsiteX217" fmla="*/ 1533273 w 12191999"/>
              <a:gd name="connsiteY217" fmla="*/ 6347073 h 6858001"/>
              <a:gd name="connsiteX218" fmla="*/ 1517160 w 12191999"/>
              <a:gd name="connsiteY218" fmla="*/ 6342024 h 6858001"/>
              <a:gd name="connsiteX219" fmla="*/ 1507547 w 12191999"/>
              <a:gd name="connsiteY219" fmla="*/ 6339243 h 6858001"/>
              <a:gd name="connsiteX220" fmla="*/ 1503375 w 12191999"/>
              <a:gd name="connsiteY220" fmla="*/ 6336341 h 6858001"/>
              <a:gd name="connsiteX221" fmla="*/ 1502044 w 12191999"/>
              <a:gd name="connsiteY221" fmla="*/ 6332532 h 6858001"/>
              <a:gd name="connsiteX222" fmla="*/ 1505249 w 12191999"/>
              <a:gd name="connsiteY222" fmla="*/ 6326727 h 6858001"/>
              <a:gd name="connsiteX223" fmla="*/ 1515951 w 12191999"/>
              <a:gd name="connsiteY223" fmla="*/ 6324248 h 6858001"/>
              <a:gd name="connsiteX224" fmla="*/ 1525776 w 12191999"/>
              <a:gd name="connsiteY224" fmla="*/ 6327030 h 6858001"/>
              <a:gd name="connsiteX225" fmla="*/ 1529978 w 12191999"/>
              <a:gd name="connsiteY225" fmla="*/ 6334769 h 6858001"/>
              <a:gd name="connsiteX226" fmla="*/ 1540619 w 12191999"/>
              <a:gd name="connsiteY226" fmla="*/ 6333318 h 6858001"/>
              <a:gd name="connsiteX227" fmla="*/ 1536870 w 12191999"/>
              <a:gd name="connsiteY227" fmla="*/ 6323372 h 6858001"/>
              <a:gd name="connsiteX228" fmla="*/ 1528436 w 12191999"/>
              <a:gd name="connsiteY228" fmla="*/ 6317477 h 6858001"/>
              <a:gd name="connsiteX229" fmla="*/ 1515165 w 12191999"/>
              <a:gd name="connsiteY229" fmla="*/ 6315300 h 6858001"/>
              <a:gd name="connsiteX230" fmla="*/ 1479544 w 12191999"/>
              <a:gd name="connsiteY230" fmla="*/ 6315300 h 6858001"/>
              <a:gd name="connsiteX231" fmla="*/ 1472560 w 12191999"/>
              <a:gd name="connsiteY231" fmla="*/ 6317477 h 6858001"/>
              <a:gd name="connsiteX232" fmla="*/ 1465638 w 12191999"/>
              <a:gd name="connsiteY232" fmla="*/ 6326486 h 6858001"/>
              <a:gd name="connsiteX233" fmla="*/ 1465638 w 12191999"/>
              <a:gd name="connsiteY233" fmla="*/ 6316751 h 6858001"/>
              <a:gd name="connsiteX234" fmla="*/ 1455843 w 12191999"/>
              <a:gd name="connsiteY234" fmla="*/ 6316751 h 6858001"/>
              <a:gd name="connsiteX235" fmla="*/ 1455843 w 12191999"/>
              <a:gd name="connsiteY235" fmla="*/ 6380961 h 6858001"/>
              <a:gd name="connsiteX236" fmla="*/ 1466726 w 12191999"/>
              <a:gd name="connsiteY236" fmla="*/ 6380961 h 6858001"/>
              <a:gd name="connsiteX237" fmla="*/ 1466726 w 12191999"/>
              <a:gd name="connsiteY237" fmla="*/ 6347345 h 6858001"/>
              <a:gd name="connsiteX238" fmla="*/ 1468540 w 12191999"/>
              <a:gd name="connsiteY238" fmla="*/ 6334648 h 6858001"/>
              <a:gd name="connsiteX239" fmla="*/ 1472590 w 12191999"/>
              <a:gd name="connsiteY239" fmla="*/ 6328692 h 6858001"/>
              <a:gd name="connsiteX240" fmla="*/ 1479000 w 12191999"/>
              <a:gd name="connsiteY240" fmla="*/ 6326546 h 6858001"/>
              <a:gd name="connsiteX241" fmla="*/ 1486980 w 12191999"/>
              <a:gd name="connsiteY241" fmla="*/ 6328904 h 6858001"/>
              <a:gd name="connsiteX242" fmla="*/ 1490729 w 12191999"/>
              <a:gd name="connsiteY242" fmla="*/ 6318807 h 6858001"/>
              <a:gd name="connsiteX243" fmla="*/ 1479544 w 12191999"/>
              <a:gd name="connsiteY243" fmla="*/ 6315300 h 6858001"/>
              <a:gd name="connsiteX244" fmla="*/ 1416436 w 12191999"/>
              <a:gd name="connsiteY244" fmla="*/ 6315300 h 6858001"/>
              <a:gd name="connsiteX245" fmla="*/ 1401865 w 12191999"/>
              <a:gd name="connsiteY245" fmla="*/ 6317567 h 6858001"/>
              <a:gd name="connsiteX246" fmla="*/ 1392251 w 12191999"/>
              <a:gd name="connsiteY246" fmla="*/ 6324037 h 6858001"/>
              <a:gd name="connsiteX247" fmla="*/ 1387475 w 12191999"/>
              <a:gd name="connsiteY247" fmla="*/ 6335071 h 6858001"/>
              <a:gd name="connsiteX248" fmla="*/ 1398116 w 12191999"/>
              <a:gd name="connsiteY248" fmla="*/ 6336522 h 6858001"/>
              <a:gd name="connsiteX249" fmla="*/ 1403527 w 12191999"/>
              <a:gd name="connsiteY249" fmla="*/ 6326999 h 6858001"/>
              <a:gd name="connsiteX250" fmla="*/ 1414864 w 12191999"/>
              <a:gd name="connsiteY250" fmla="*/ 6324309 h 6858001"/>
              <a:gd name="connsiteX251" fmla="*/ 1427258 w 12191999"/>
              <a:gd name="connsiteY251" fmla="*/ 6327997 h 6858001"/>
              <a:gd name="connsiteX252" fmla="*/ 1430342 w 12191999"/>
              <a:gd name="connsiteY252" fmla="*/ 6337369 h 6858001"/>
              <a:gd name="connsiteX253" fmla="*/ 1430281 w 12191999"/>
              <a:gd name="connsiteY253" fmla="*/ 6340210 h 6858001"/>
              <a:gd name="connsiteX254" fmla="*/ 1410873 w 12191999"/>
              <a:gd name="connsiteY254" fmla="*/ 6343959 h 6858001"/>
              <a:gd name="connsiteX255" fmla="*/ 1401199 w 12191999"/>
              <a:gd name="connsiteY255" fmla="*/ 6345591 h 6858001"/>
              <a:gd name="connsiteX256" fmla="*/ 1393370 w 12191999"/>
              <a:gd name="connsiteY256" fmla="*/ 6349159 h 6858001"/>
              <a:gd name="connsiteX257" fmla="*/ 1387747 w 12191999"/>
              <a:gd name="connsiteY257" fmla="*/ 6355416 h 6858001"/>
              <a:gd name="connsiteX258" fmla="*/ 1385600 w 12191999"/>
              <a:gd name="connsiteY258" fmla="*/ 6364032 h 6858001"/>
              <a:gd name="connsiteX259" fmla="*/ 1391284 w 12191999"/>
              <a:gd name="connsiteY259" fmla="*/ 6377243 h 6858001"/>
              <a:gd name="connsiteX260" fmla="*/ 1407548 w 12191999"/>
              <a:gd name="connsiteY260" fmla="*/ 6382412 h 6858001"/>
              <a:gd name="connsiteX261" fmla="*/ 1419550 w 12191999"/>
              <a:gd name="connsiteY261" fmla="*/ 6380296 h 6858001"/>
              <a:gd name="connsiteX262" fmla="*/ 1431188 w 12191999"/>
              <a:gd name="connsiteY262" fmla="*/ 6373041 h 6858001"/>
              <a:gd name="connsiteX263" fmla="*/ 1433365 w 12191999"/>
              <a:gd name="connsiteY263" fmla="*/ 6380961 h 6858001"/>
              <a:gd name="connsiteX264" fmla="*/ 1444732 w 12191999"/>
              <a:gd name="connsiteY264" fmla="*/ 6380961 h 6858001"/>
              <a:gd name="connsiteX265" fmla="*/ 1441981 w 12191999"/>
              <a:gd name="connsiteY265" fmla="*/ 6373252 h 6858001"/>
              <a:gd name="connsiteX266" fmla="*/ 1441285 w 12191999"/>
              <a:gd name="connsiteY266" fmla="*/ 6354056 h 6858001"/>
              <a:gd name="connsiteX267" fmla="*/ 1441285 w 12191999"/>
              <a:gd name="connsiteY267" fmla="*/ 6339545 h 6858001"/>
              <a:gd name="connsiteX268" fmla="*/ 1440741 w 12191999"/>
              <a:gd name="connsiteY268" fmla="*/ 6329509 h 6858001"/>
              <a:gd name="connsiteX269" fmla="*/ 1437355 w 12191999"/>
              <a:gd name="connsiteY269" fmla="*/ 6322102 h 6858001"/>
              <a:gd name="connsiteX270" fmla="*/ 1429798 w 12191999"/>
              <a:gd name="connsiteY270" fmla="*/ 6317235 h 6858001"/>
              <a:gd name="connsiteX271" fmla="*/ 1416436 w 12191999"/>
              <a:gd name="connsiteY271" fmla="*/ 6315300 h 6858001"/>
              <a:gd name="connsiteX272" fmla="*/ 1167698 w 12191999"/>
              <a:gd name="connsiteY272" fmla="*/ 6315300 h 6858001"/>
              <a:gd name="connsiteX273" fmla="*/ 1147503 w 12191999"/>
              <a:gd name="connsiteY273" fmla="*/ 6322435 h 6858001"/>
              <a:gd name="connsiteX274" fmla="*/ 1137588 w 12191999"/>
              <a:gd name="connsiteY274" fmla="*/ 6348856 h 6858001"/>
              <a:gd name="connsiteX275" fmla="*/ 1145901 w 12191999"/>
              <a:gd name="connsiteY275" fmla="*/ 6373766 h 6858001"/>
              <a:gd name="connsiteX276" fmla="*/ 1167698 w 12191999"/>
              <a:gd name="connsiteY276" fmla="*/ 6382412 h 6858001"/>
              <a:gd name="connsiteX277" fmla="*/ 1183206 w 12191999"/>
              <a:gd name="connsiteY277" fmla="*/ 6378482 h 6858001"/>
              <a:gd name="connsiteX278" fmla="*/ 1194028 w 12191999"/>
              <a:gd name="connsiteY278" fmla="*/ 6367448 h 6858001"/>
              <a:gd name="connsiteX279" fmla="*/ 1197747 w 12191999"/>
              <a:gd name="connsiteY279" fmla="*/ 6347949 h 6858001"/>
              <a:gd name="connsiteX280" fmla="*/ 1189343 w 12191999"/>
              <a:gd name="connsiteY280" fmla="*/ 6323976 h 6858001"/>
              <a:gd name="connsiteX281" fmla="*/ 1167698 w 12191999"/>
              <a:gd name="connsiteY281" fmla="*/ 6315300 h 6858001"/>
              <a:gd name="connsiteX282" fmla="*/ 1057965 w 12191999"/>
              <a:gd name="connsiteY282" fmla="*/ 6315300 h 6858001"/>
              <a:gd name="connsiteX283" fmla="*/ 1048563 w 12191999"/>
              <a:gd name="connsiteY283" fmla="*/ 6316600 h 6858001"/>
              <a:gd name="connsiteX284" fmla="*/ 1041640 w 12191999"/>
              <a:gd name="connsiteY284" fmla="*/ 6319774 h 6858001"/>
              <a:gd name="connsiteX285" fmla="*/ 1036289 w 12191999"/>
              <a:gd name="connsiteY285" fmla="*/ 6325851 h 6858001"/>
              <a:gd name="connsiteX286" fmla="*/ 1034324 w 12191999"/>
              <a:gd name="connsiteY286" fmla="*/ 6333801 h 6858001"/>
              <a:gd name="connsiteX287" fmla="*/ 1036712 w 12191999"/>
              <a:gd name="connsiteY287" fmla="*/ 6342417 h 6858001"/>
              <a:gd name="connsiteX288" fmla="*/ 1043726 w 12191999"/>
              <a:gd name="connsiteY288" fmla="*/ 6348524 h 6858001"/>
              <a:gd name="connsiteX289" fmla="*/ 1060323 w 12191999"/>
              <a:gd name="connsiteY289" fmla="*/ 6353754 h 6858001"/>
              <a:gd name="connsiteX290" fmla="*/ 1071447 w 12191999"/>
              <a:gd name="connsiteY290" fmla="*/ 6357442 h 6858001"/>
              <a:gd name="connsiteX291" fmla="*/ 1074652 w 12191999"/>
              <a:gd name="connsiteY291" fmla="*/ 6363246 h 6858001"/>
              <a:gd name="connsiteX292" fmla="*/ 1071024 w 12191999"/>
              <a:gd name="connsiteY292" fmla="*/ 6370411 h 6858001"/>
              <a:gd name="connsiteX293" fmla="*/ 1059899 w 12191999"/>
              <a:gd name="connsiteY293" fmla="*/ 6373464 h 6858001"/>
              <a:gd name="connsiteX294" fmla="*/ 1048321 w 12191999"/>
              <a:gd name="connsiteY294" fmla="*/ 6370018 h 6858001"/>
              <a:gd name="connsiteX295" fmla="*/ 1043272 w 12191999"/>
              <a:gd name="connsiteY295" fmla="*/ 6360102 h 6858001"/>
              <a:gd name="connsiteX296" fmla="*/ 1032510 w 12191999"/>
              <a:gd name="connsiteY296" fmla="*/ 6361795 h 6858001"/>
              <a:gd name="connsiteX297" fmla="*/ 1040884 w 12191999"/>
              <a:gd name="connsiteY297" fmla="*/ 6377213 h 6858001"/>
              <a:gd name="connsiteX298" fmla="*/ 1059960 w 12191999"/>
              <a:gd name="connsiteY298" fmla="*/ 6382412 h 6858001"/>
              <a:gd name="connsiteX299" fmla="*/ 1073503 w 12191999"/>
              <a:gd name="connsiteY299" fmla="*/ 6379782 h 6858001"/>
              <a:gd name="connsiteX300" fmla="*/ 1082663 w 12191999"/>
              <a:gd name="connsiteY300" fmla="*/ 6372345 h 6858001"/>
              <a:gd name="connsiteX301" fmla="*/ 1085837 w 12191999"/>
              <a:gd name="connsiteY301" fmla="*/ 6362097 h 6858001"/>
              <a:gd name="connsiteX302" fmla="*/ 1083237 w 12191999"/>
              <a:gd name="connsiteY302" fmla="*/ 6352786 h 6858001"/>
              <a:gd name="connsiteX303" fmla="*/ 1076073 w 12191999"/>
              <a:gd name="connsiteY303" fmla="*/ 6347073 h 6858001"/>
              <a:gd name="connsiteX304" fmla="*/ 1059960 w 12191999"/>
              <a:gd name="connsiteY304" fmla="*/ 6342024 h 6858001"/>
              <a:gd name="connsiteX305" fmla="*/ 1050346 w 12191999"/>
              <a:gd name="connsiteY305" fmla="*/ 6339243 h 6858001"/>
              <a:gd name="connsiteX306" fmla="*/ 1046175 w 12191999"/>
              <a:gd name="connsiteY306" fmla="*/ 6336341 h 6858001"/>
              <a:gd name="connsiteX307" fmla="*/ 1044844 w 12191999"/>
              <a:gd name="connsiteY307" fmla="*/ 6332532 h 6858001"/>
              <a:gd name="connsiteX308" fmla="*/ 1048049 w 12191999"/>
              <a:gd name="connsiteY308" fmla="*/ 6326727 h 6858001"/>
              <a:gd name="connsiteX309" fmla="*/ 1058751 w 12191999"/>
              <a:gd name="connsiteY309" fmla="*/ 6324248 h 6858001"/>
              <a:gd name="connsiteX310" fmla="*/ 1068576 w 12191999"/>
              <a:gd name="connsiteY310" fmla="*/ 6327030 h 6858001"/>
              <a:gd name="connsiteX311" fmla="*/ 1072778 w 12191999"/>
              <a:gd name="connsiteY311" fmla="*/ 6334769 h 6858001"/>
              <a:gd name="connsiteX312" fmla="*/ 1083419 w 12191999"/>
              <a:gd name="connsiteY312" fmla="*/ 6333318 h 6858001"/>
              <a:gd name="connsiteX313" fmla="*/ 1079670 w 12191999"/>
              <a:gd name="connsiteY313" fmla="*/ 6323372 h 6858001"/>
              <a:gd name="connsiteX314" fmla="*/ 1071236 w 12191999"/>
              <a:gd name="connsiteY314" fmla="*/ 6317477 h 6858001"/>
              <a:gd name="connsiteX315" fmla="*/ 1057965 w 12191999"/>
              <a:gd name="connsiteY315" fmla="*/ 6315300 h 6858001"/>
              <a:gd name="connsiteX316" fmla="*/ 991290 w 12191999"/>
              <a:gd name="connsiteY316" fmla="*/ 6315300 h 6858001"/>
              <a:gd name="connsiteX317" fmla="*/ 981888 w 12191999"/>
              <a:gd name="connsiteY317" fmla="*/ 6316600 h 6858001"/>
              <a:gd name="connsiteX318" fmla="*/ 974965 w 12191999"/>
              <a:gd name="connsiteY318" fmla="*/ 6319774 h 6858001"/>
              <a:gd name="connsiteX319" fmla="*/ 969614 w 12191999"/>
              <a:gd name="connsiteY319" fmla="*/ 6325851 h 6858001"/>
              <a:gd name="connsiteX320" fmla="*/ 967649 w 12191999"/>
              <a:gd name="connsiteY320" fmla="*/ 6333801 h 6858001"/>
              <a:gd name="connsiteX321" fmla="*/ 970037 w 12191999"/>
              <a:gd name="connsiteY321" fmla="*/ 6342417 h 6858001"/>
              <a:gd name="connsiteX322" fmla="*/ 977051 w 12191999"/>
              <a:gd name="connsiteY322" fmla="*/ 6348524 h 6858001"/>
              <a:gd name="connsiteX323" fmla="*/ 993648 w 12191999"/>
              <a:gd name="connsiteY323" fmla="*/ 6353754 h 6858001"/>
              <a:gd name="connsiteX324" fmla="*/ 1004772 w 12191999"/>
              <a:gd name="connsiteY324" fmla="*/ 6357442 h 6858001"/>
              <a:gd name="connsiteX325" fmla="*/ 1007977 w 12191999"/>
              <a:gd name="connsiteY325" fmla="*/ 6363246 h 6858001"/>
              <a:gd name="connsiteX326" fmla="*/ 1004349 w 12191999"/>
              <a:gd name="connsiteY326" fmla="*/ 6370411 h 6858001"/>
              <a:gd name="connsiteX327" fmla="*/ 993224 w 12191999"/>
              <a:gd name="connsiteY327" fmla="*/ 6373464 h 6858001"/>
              <a:gd name="connsiteX328" fmla="*/ 981646 w 12191999"/>
              <a:gd name="connsiteY328" fmla="*/ 6370018 h 6858001"/>
              <a:gd name="connsiteX329" fmla="*/ 976598 w 12191999"/>
              <a:gd name="connsiteY329" fmla="*/ 6360102 h 6858001"/>
              <a:gd name="connsiteX330" fmla="*/ 965835 w 12191999"/>
              <a:gd name="connsiteY330" fmla="*/ 6361795 h 6858001"/>
              <a:gd name="connsiteX331" fmla="*/ 974209 w 12191999"/>
              <a:gd name="connsiteY331" fmla="*/ 6377213 h 6858001"/>
              <a:gd name="connsiteX332" fmla="*/ 993285 w 12191999"/>
              <a:gd name="connsiteY332" fmla="*/ 6382412 h 6858001"/>
              <a:gd name="connsiteX333" fmla="*/ 1006828 w 12191999"/>
              <a:gd name="connsiteY333" fmla="*/ 6379782 h 6858001"/>
              <a:gd name="connsiteX334" fmla="*/ 1015988 w 12191999"/>
              <a:gd name="connsiteY334" fmla="*/ 6372345 h 6858001"/>
              <a:gd name="connsiteX335" fmla="*/ 1019162 w 12191999"/>
              <a:gd name="connsiteY335" fmla="*/ 6362097 h 6858001"/>
              <a:gd name="connsiteX336" fmla="*/ 1016562 w 12191999"/>
              <a:gd name="connsiteY336" fmla="*/ 6352786 h 6858001"/>
              <a:gd name="connsiteX337" fmla="*/ 1009398 w 12191999"/>
              <a:gd name="connsiteY337" fmla="*/ 6347073 h 6858001"/>
              <a:gd name="connsiteX338" fmla="*/ 993285 w 12191999"/>
              <a:gd name="connsiteY338" fmla="*/ 6342024 h 6858001"/>
              <a:gd name="connsiteX339" fmla="*/ 983671 w 12191999"/>
              <a:gd name="connsiteY339" fmla="*/ 6339243 h 6858001"/>
              <a:gd name="connsiteX340" fmla="*/ 979500 w 12191999"/>
              <a:gd name="connsiteY340" fmla="*/ 6336341 h 6858001"/>
              <a:gd name="connsiteX341" fmla="*/ 978170 w 12191999"/>
              <a:gd name="connsiteY341" fmla="*/ 6332532 h 6858001"/>
              <a:gd name="connsiteX342" fmla="*/ 981374 w 12191999"/>
              <a:gd name="connsiteY342" fmla="*/ 6326727 h 6858001"/>
              <a:gd name="connsiteX343" fmla="*/ 992076 w 12191999"/>
              <a:gd name="connsiteY343" fmla="*/ 6324248 h 6858001"/>
              <a:gd name="connsiteX344" fmla="*/ 1001900 w 12191999"/>
              <a:gd name="connsiteY344" fmla="*/ 6327030 h 6858001"/>
              <a:gd name="connsiteX345" fmla="*/ 1006103 w 12191999"/>
              <a:gd name="connsiteY345" fmla="*/ 6334769 h 6858001"/>
              <a:gd name="connsiteX346" fmla="*/ 1016744 w 12191999"/>
              <a:gd name="connsiteY346" fmla="*/ 6333318 h 6858001"/>
              <a:gd name="connsiteX347" fmla="*/ 1012995 w 12191999"/>
              <a:gd name="connsiteY347" fmla="*/ 6323372 h 6858001"/>
              <a:gd name="connsiteX348" fmla="*/ 1004561 w 12191999"/>
              <a:gd name="connsiteY348" fmla="*/ 6317477 h 6858001"/>
              <a:gd name="connsiteX349" fmla="*/ 991290 w 12191999"/>
              <a:gd name="connsiteY349" fmla="*/ 6315300 h 6858001"/>
              <a:gd name="connsiteX350" fmla="*/ 929875 w 12191999"/>
              <a:gd name="connsiteY350" fmla="*/ 6315300 h 6858001"/>
              <a:gd name="connsiteX351" fmla="*/ 908229 w 12191999"/>
              <a:gd name="connsiteY351" fmla="*/ 6324248 h 6858001"/>
              <a:gd name="connsiteX352" fmla="*/ 899886 w 12191999"/>
              <a:gd name="connsiteY352" fmla="*/ 6349400 h 6858001"/>
              <a:gd name="connsiteX353" fmla="*/ 908139 w 12191999"/>
              <a:gd name="connsiteY353" fmla="*/ 6373736 h 6858001"/>
              <a:gd name="connsiteX354" fmla="*/ 930479 w 12191999"/>
              <a:gd name="connsiteY354" fmla="*/ 6382412 h 6858001"/>
              <a:gd name="connsiteX355" fmla="*/ 948860 w 12191999"/>
              <a:gd name="connsiteY355" fmla="*/ 6376971 h 6858001"/>
              <a:gd name="connsiteX356" fmla="*/ 958715 w 12191999"/>
              <a:gd name="connsiteY356" fmla="*/ 6361674 h 6858001"/>
              <a:gd name="connsiteX357" fmla="*/ 947469 w 12191999"/>
              <a:gd name="connsiteY357" fmla="*/ 6360283 h 6858001"/>
              <a:gd name="connsiteX358" fmla="*/ 940758 w 12191999"/>
              <a:gd name="connsiteY358" fmla="*/ 6370320 h 6858001"/>
              <a:gd name="connsiteX359" fmla="*/ 930540 w 12191999"/>
              <a:gd name="connsiteY359" fmla="*/ 6373464 h 6858001"/>
              <a:gd name="connsiteX360" fmla="*/ 917117 w 12191999"/>
              <a:gd name="connsiteY360" fmla="*/ 6367841 h 6858001"/>
              <a:gd name="connsiteX361" fmla="*/ 911132 w 12191999"/>
              <a:gd name="connsiteY361" fmla="*/ 6351637 h 6858001"/>
              <a:gd name="connsiteX362" fmla="*/ 959017 w 12191999"/>
              <a:gd name="connsiteY362" fmla="*/ 6351637 h 6858001"/>
              <a:gd name="connsiteX363" fmla="*/ 959078 w 12191999"/>
              <a:gd name="connsiteY363" fmla="*/ 6348735 h 6858001"/>
              <a:gd name="connsiteX364" fmla="*/ 950915 w 12191999"/>
              <a:gd name="connsiteY364" fmla="*/ 6324067 h 6858001"/>
              <a:gd name="connsiteX365" fmla="*/ 929875 w 12191999"/>
              <a:gd name="connsiteY365" fmla="*/ 6315300 h 6858001"/>
              <a:gd name="connsiteX366" fmla="*/ 867069 w 12191999"/>
              <a:gd name="connsiteY366" fmla="*/ 6315300 h 6858001"/>
              <a:gd name="connsiteX367" fmla="*/ 846633 w 12191999"/>
              <a:gd name="connsiteY367" fmla="*/ 6325881 h 6858001"/>
              <a:gd name="connsiteX368" fmla="*/ 846633 w 12191999"/>
              <a:gd name="connsiteY368" fmla="*/ 6316751 h 6858001"/>
              <a:gd name="connsiteX369" fmla="*/ 836839 w 12191999"/>
              <a:gd name="connsiteY369" fmla="*/ 6316751 h 6858001"/>
              <a:gd name="connsiteX370" fmla="*/ 836839 w 12191999"/>
              <a:gd name="connsiteY370" fmla="*/ 6380961 h 6858001"/>
              <a:gd name="connsiteX371" fmla="*/ 847722 w 12191999"/>
              <a:gd name="connsiteY371" fmla="*/ 6380961 h 6858001"/>
              <a:gd name="connsiteX372" fmla="*/ 847722 w 12191999"/>
              <a:gd name="connsiteY372" fmla="*/ 6345894 h 6858001"/>
              <a:gd name="connsiteX373" fmla="*/ 852770 w 12191999"/>
              <a:gd name="connsiteY373" fmla="*/ 6329146 h 6858001"/>
              <a:gd name="connsiteX374" fmla="*/ 864772 w 12191999"/>
              <a:gd name="connsiteY374" fmla="*/ 6324732 h 6858001"/>
              <a:gd name="connsiteX375" fmla="*/ 872360 w 12191999"/>
              <a:gd name="connsiteY375" fmla="*/ 6326697 h 6858001"/>
              <a:gd name="connsiteX376" fmla="*/ 876864 w 12191999"/>
              <a:gd name="connsiteY376" fmla="*/ 6331957 h 6858001"/>
              <a:gd name="connsiteX377" fmla="*/ 878134 w 12191999"/>
              <a:gd name="connsiteY377" fmla="*/ 6341903 h 6858001"/>
              <a:gd name="connsiteX378" fmla="*/ 878134 w 12191999"/>
              <a:gd name="connsiteY378" fmla="*/ 6380961 h 6858001"/>
              <a:gd name="connsiteX379" fmla="*/ 889017 w 12191999"/>
              <a:gd name="connsiteY379" fmla="*/ 6380961 h 6858001"/>
              <a:gd name="connsiteX380" fmla="*/ 889017 w 12191999"/>
              <a:gd name="connsiteY380" fmla="*/ 6341480 h 6858001"/>
              <a:gd name="connsiteX381" fmla="*/ 888412 w 12191999"/>
              <a:gd name="connsiteY381" fmla="*/ 6330899 h 6858001"/>
              <a:gd name="connsiteX382" fmla="*/ 885026 w 12191999"/>
              <a:gd name="connsiteY382" fmla="*/ 6322858 h 6858001"/>
              <a:gd name="connsiteX383" fmla="*/ 877741 w 12191999"/>
              <a:gd name="connsiteY383" fmla="*/ 6317386 h 6858001"/>
              <a:gd name="connsiteX384" fmla="*/ 867069 w 12191999"/>
              <a:gd name="connsiteY384" fmla="*/ 6315300 h 6858001"/>
              <a:gd name="connsiteX385" fmla="*/ 762690 w 12191999"/>
              <a:gd name="connsiteY385" fmla="*/ 6315300 h 6858001"/>
              <a:gd name="connsiteX386" fmla="*/ 753288 w 12191999"/>
              <a:gd name="connsiteY386" fmla="*/ 6316600 h 6858001"/>
              <a:gd name="connsiteX387" fmla="*/ 746365 w 12191999"/>
              <a:gd name="connsiteY387" fmla="*/ 6319774 h 6858001"/>
              <a:gd name="connsiteX388" fmla="*/ 741014 w 12191999"/>
              <a:gd name="connsiteY388" fmla="*/ 6325851 h 6858001"/>
              <a:gd name="connsiteX389" fmla="*/ 739049 w 12191999"/>
              <a:gd name="connsiteY389" fmla="*/ 6333801 h 6858001"/>
              <a:gd name="connsiteX390" fmla="*/ 741437 w 12191999"/>
              <a:gd name="connsiteY390" fmla="*/ 6342417 h 6858001"/>
              <a:gd name="connsiteX391" fmla="*/ 748451 w 12191999"/>
              <a:gd name="connsiteY391" fmla="*/ 6348524 h 6858001"/>
              <a:gd name="connsiteX392" fmla="*/ 765048 w 12191999"/>
              <a:gd name="connsiteY392" fmla="*/ 6353754 h 6858001"/>
              <a:gd name="connsiteX393" fmla="*/ 776172 w 12191999"/>
              <a:gd name="connsiteY393" fmla="*/ 6357442 h 6858001"/>
              <a:gd name="connsiteX394" fmla="*/ 779377 w 12191999"/>
              <a:gd name="connsiteY394" fmla="*/ 6363246 h 6858001"/>
              <a:gd name="connsiteX395" fmla="*/ 775749 w 12191999"/>
              <a:gd name="connsiteY395" fmla="*/ 6370411 h 6858001"/>
              <a:gd name="connsiteX396" fmla="*/ 764624 w 12191999"/>
              <a:gd name="connsiteY396" fmla="*/ 6373464 h 6858001"/>
              <a:gd name="connsiteX397" fmla="*/ 753046 w 12191999"/>
              <a:gd name="connsiteY397" fmla="*/ 6370018 h 6858001"/>
              <a:gd name="connsiteX398" fmla="*/ 747997 w 12191999"/>
              <a:gd name="connsiteY398" fmla="*/ 6360102 h 6858001"/>
              <a:gd name="connsiteX399" fmla="*/ 737235 w 12191999"/>
              <a:gd name="connsiteY399" fmla="*/ 6361795 h 6858001"/>
              <a:gd name="connsiteX400" fmla="*/ 745609 w 12191999"/>
              <a:gd name="connsiteY400" fmla="*/ 6377213 h 6858001"/>
              <a:gd name="connsiteX401" fmla="*/ 764685 w 12191999"/>
              <a:gd name="connsiteY401" fmla="*/ 6382412 h 6858001"/>
              <a:gd name="connsiteX402" fmla="*/ 778228 w 12191999"/>
              <a:gd name="connsiteY402" fmla="*/ 6379782 h 6858001"/>
              <a:gd name="connsiteX403" fmla="*/ 787388 w 12191999"/>
              <a:gd name="connsiteY403" fmla="*/ 6372345 h 6858001"/>
              <a:gd name="connsiteX404" fmla="*/ 790562 w 12191999"/>
              <a:gd name="connsiteY404" fmla="*/ 6362097 h 6858001"/>
              <a:gd name="connsiteX405" fmla="*/ 787962 w 12191999"/>
              <a:gd name="connsiteY405" fmla="*/ 6352786 h 6858001"/>
              <a:gd name="connsiteX406" fmla="*/ 780798 w 12191999"/>
              <a:gd name="connsiteY406" fmla="*/ 6347073 h 6858001"/>
              <a:gd name="connsiteX407" fmla="*/ 764685 w 12191999"/>
              <a:gd name="connsiteY407" fmla="*/ 6342024 h 6858001"/>
              <a:gd name="connsiteX408" fmla="*/ 755071 w 12191999"/>
              <a:gd name="connsiteY408" fmla="*/ 6339243 h 6858001"/>
              <a:gd name="connsiteX409" fmla="*/ 750900 w 12191999"/>
              <a:gd name="connsiteY409" fmla="*/ 6336341 h 6858001"/>
              <a:gd name="connsiteX410" fmla="*/ 749569 w 12191999"/>
              <a:gd name="connsiteY410" fmla="*/ 6332532 h 6858001"/>
              <a:gd name="connsiteX411" fmla="*/ 752774 w 12191999"/>
              <a:gd name="connsiteY411" fmla="*/ 6326727 h 6858001"/>
              <a:gd name="connsiteX412" fmla="*/ 763476 w 12191999"/>
              <a:gd name="connsiteY412" fmla="*/ 6324248 h 6858001"/>
              <a:gd name="connsiteX413" fmla="*/ 773301 w 12191999"/>
              <a:gd name="connsiteY413" fmla="*/ 6327030 h 6858001"/>
              <a:gd name="connsiteX414" fmla="*/ 777503 w 12191999"/>
              <a:gd name="connsiteY414" fmla="*/ 6334769 h 6858001"/>
              <a:gd name="connsiteX415" fmla="*/ 788144 w 12191999"/>
              <a:gd name="connsiteY415" fmla="*/ 6333318 h 6858001"/>
              <a:gd name="connsiteX416" fmla="*/ 784395 w 12191999"/>
              <a:gd name="connsiteY416" fmla="*/ 6323372 h 6858001"/>
              <a:gd name="connsiteX417" fmla="*/ 775961 w 12191999"/>
              <a:gd name="connsiteY417" fmla="*/ 6317477 h 6858001"/>
              <a:gd name="connsiteX418" fmla="*/ 762690 w 12191999"/>
              <a:gd name="connsiteY418" fmla="*/ 6315300 h 6858001"/>
              <a:gd name="connsiteX419" fmla="*/ 525681 w 12191999"/>
              <a:gd name="connsiteY419" fmla="*/ 6301636 h 6858001"/>
              <a:gd name="connsiteX420" fmla="*/ 531969 w 12191999"/>
              <a:gd name="connsiteY420" fmla="*/ 6320016 h 6858001"/>
              <a:gd name="connsiteX421" fmla="*/ 541219 w 12191999"/>
              <a:gd name="connsiteY421" fmla="*/ 6344563 h 6858001"/>
              <a:gd name="connsiteX422" fmla="*/ 511170 w 12191999"/>
              <a:gd name="connsiteY422" fmla="*/ 6344563 h 6858001"/>
              <a:gd name="connsiteX423" fmla="*/ 520904 w 12191999"/>
              <a:gd name="connsiteY423" fmla="*/ 6318565 h 6858001"/>
              <a:gd name="connsiteX424" fmla="*/ 525681 w 12191999"/>
              <a:gd name="connsiteY424" fmla="*/ 6301636 h 6858001"/>
              <a:gd name="connsiteX425" fmla="*/ 1847396 w 12191999"/>
              <a:gd name="connsiteY425" fmla="*/ 6292325 h 6858001"/>
              <a:gd name="connsiteX426" fmla="*/ 1847396 w 12191999"/>
              <a:gd name="connsiteY426" fmla="*/ 6380961 h 6858001"/>
              <a:gd name="connsiteX427" fmla="*/ 1902778 w 12191999"/>
              <a:gd name="connsiteY427" fmla="*/ 6380961 h 6858001"/>
              <a:gd name="connsiteX428" fmla="*/ 1902778 w 12191999"/>
              <a:gd name="connsiteY428" fmla="*/ 6370501 h 6858001"/>
              <a:gd name="connsiteX429" fmla="*/ 1859125 w 12191999"/>
              <a:gd name="connsiteY429" fmla="*/ 6370501 h 6858001"/>
              <a:gd name="connsiteX430" fmla="*/ 1859125 w 12191999"/>
              <a:gd name="connsiteY430" fmla="*/ 6292325 h 6858001"/>
              <a:gd name="connsiteX431" fmla="*/ 1676067 w 12191999"/>
              <a:gd name="connsiteY431" fmla="*/ 6292325 h 6858001"/>
              <a:gd name="connsiteX432" fmla="*/ 1676067 w 12191999"/>
              <a:gd name="connsiteY432" fmla="*/ 6380961 h 6858001"/>
              <a:gd name="connsiteX433" fmla="*/ 1687373 w 12191999"/>
              <a:gd name="connsiteY433" fmla="*/ 6380961 h 6858001"/>
              <a:gd name="connsiteX434" fmla="*/ 1687373 w 12191999"/>
              <a:gd name="connsiteY434" fmla="*/ 6305505 h 6858001"/>
              <a:gd name="connsiteX435" fmla="*/ 1713008 w 12191999"/>
              <a:gd name="connsiteY435" fmla="*/ 6380961 h 6858001"/>
              <a:gd name="connsiteX436" fmla="*/ 1723589 w 12191999"/>
              <a:gd name="connsiteY436" fmla="*/ 6380961 h 6858001"/>
              <a:gd name="connsiteX437" fmla="*/ 1749346 w 12191999"/>
              <a:gd name="connsiteY437" fmla="*/ 6306775 h 6858001"/>
              <a:gd name="connsiteX438" fmla="*/ 1749346 w 12191999"/>
              <a:gd name="connsiteY438" fmla="*/ 6380961 h 6858001"/>
              <a:gd name="connsiteX439" fmla="*/ 1760652 w 12191999"/>
              <a:gd name="connsiteY439" fmla="*/ 6380961 h 6858001"/>
              <a:gd name="connsiteX440" fmla="*/ 1760652 w 12191999"/>
              <a:gd name="connsiteY440" fmla="*/ 6292325 h 6858001"/>
              <a:gd name="connsiteX441" fmla="*/ 1744872 w 12191999"/>
              <a:gd name="connsiteY441" fmla="*/ 6292325 h 6858001"/>
              <a:gd name="connsiteX442" fmla="*/ 1723650 w 12191999"/>
              <a:gd name="connsiteY442" fmla="*/ 6353995 h 6858001"/>
              <a:gd name="connsiteX443" fmla="*/ 1718933 w 12191999"/>
              <a:gd name="connsiteY443" fmla="*/ 6368204 h 6858001"/>
              <a:gd name="connsiteX444" fmla="*/ 1714701 w 12191999"/>
              <a:gd name="connsiteY444" fmla="*/ 6355084 h 6858001"/>
              <a:gd name="connsiteX445" fmla="*/ 1693721 w 12191999"/>
              <a:gd name="connsiteY445" fmla="*/ 6292325 h 6858001"/>
              <a:gd name="connsiteX446" fmla="*/ 1560739 w 12191999"/>
              <a:gd name="connsiteY446" fmla="*/ 6292325 h 6858001"/>
              <a:gd name="connsiteX447" fmla="*/ 1560739 w 12191999"/>
              <a:gd name="connsiteY447" fmla="*/ 6380961 h 6858001"/>
              <a:gd name="connsiteX448" fmla="*/ 1571622 w 12191999"/>
              <a:gd name="connsiteY448" fmla="*/ 6380961 h 6858001"/>
              <a:gd name="connsiteX449" fmla="*/ 1571622 w 12191999"/>
              <a:gd name="connsiteY449" fmla="*/ 6345833 h 6858001"/>
              <a:gd name="connsiteX450" fmla="*/ 1573435 w 12191999"/>
              <a:gd name="connsiteY450" fmla="*/ 6333983 h 6858001"/>
              <a:gd name="connsiteX451" fmla="*/ 1579512 w 12191999"/>
              <a:gd name="connsiteY451" fmla="*/ 6327181 h 6858001"/>
              <a:gd name="connsiteX452" fmla="*/ 1588611 w 12191999"/>
              <a:gd name="connsiteY452" fmla="*/ 6324672 h 6858001"/>
              <a:gd name="connsiteX453" fmla="*/ 1598618 w 12191999"/>
              <a:gd name="connsiteY453" fmla="*/ 6328390 h 6858001"/>
              <a:gd name="connsiteX454" fmla="*/ 1602155 w 12191999"/>
              <a:gd name="connsiteY454" fmla="*/ 6340271 h 6858001"/>
              <a:gd name="connsiteX455" fmla="*/ 1602155 w 12191999"/>
              <a:gd name="connsiteY455" fmla="*/ 6380961 h 6858001"/>
              <a:gd name="connsiteX456" fmla="*/ 1613038 w 12191999"/>
              <a:gd name="connsiteY456" fmla="*/ 6380961 h 6858001"/>
              <a:gd name="connsiteX457" fmla="*/ 1613038 w 12191999"/>
              <a:gd name="connsiteY457" fmla="*/ 6340271 h 6858001"/>
              <a:gd name="connsiteX458" fmla="*/ 1610771 w 12191999"/>
              <a:gd name="connsiteY458" fmla="*/ 6325881 h 6858001"/>
              <a:gd name="connsiteX459" fmla="*/ 1603243 w 12191999"/>
              <a:gd name="connsiteY459" fmla="*/ 6318112 h 6858001"/>
              <a:gd name="connsiteX460" fmla="*/ 1590848 w 12191999"/>
              <a:gd name="connsiteY460" fmla="*/ 6315300 h 6858001"/>
              <a:gd name="connsiteX461" fmla="*/ 1571622 w 12191999"/>
              <a:gd name="connsiteY461" fmla="*/ 6324128 h 6858001"/>
              <a:gd name="connsiteX462" fmla="*/ 1571622 w 12191999"/>
              <a:gd name="connsiteY462" fmla="*/ 6292325 h 6858001"/>
              <a:gd name="connsiteX463" fmla="*/ 1285542 w 12191999"/>
              <a:gd name="connsiteY463" fmla="*/ 6292325 h 6858001"/>
              <a:gd name="connsiteX464" fmla="*/ 1285542 w 12191999"/>
              <a:gd name="connsiteY464" fmla="*/ 6380961 h 6858001"/>
              <a:gd name="connsiteX465" fmla="*/ 1296848 w 12191999"/>
              <a:gd name="connsiteY465" fmla="*/ 6380961 h 6858001"/>
              <a:gd name="connsiteX466" fmla="*/ 1296848 w 12191999"/>
              <a:gd name="connsiteY466" fmla="*/ 6305505 h 6858001"/>
              <a:gd name="connsiteX467" fmla="*/ 1322484 w 12191999"/>
              <a:gd name="connsiteY467" fmla="*/ 6380961 h 6858001"/>
              <a:gd name="connsiteX468" fmla="*/ 1333064 w 12191999"/>
              <a:gd name="connsiteY468" fmla="*/ 6380961 h 6858001"/>
              <a:gd name="connsiteX469" fmla="*/ 1358821 w 12191999"/>
              <a:gd name="connsiteY469" fmla="*/ 6306775 h 6858001"/>
              <a:gd name="connsiteX470" fmla="*/ 1358821 w 12191999"/>
              <a:gd name="connsiteY470" fmla="*/ 6380961 h 6858001"/>
              <a:gd name="connsiteX471" fmla="*/ 1370127 w 12191999"/>
              <a:gd name="connsiteY471" fmla="*/ 6380961 h 6858001"/>
              <a:gd name="connsiteX472" fmla="*/ 1370127 w 12191999"/>
              <a:gd name="connsiteY472" fmla="*/ 6292325 h 6858001"/>
              <a:gd name="connsiteX473" fmla="*/ 1354347 w 12191999"/>
              <a:gd name="connsiteY473" fmla="*/ 6292325 h 6858001"/>
              <a:gd name="connsiteX474" fmla="*/ 1333125 w 12191999"/>
              <a:gd name="connsiteY474" fmla="*/ 6353995 h 6858001"/>
              <a:gd name="connsiteX475" fmla="*/ 1328409 w 12191999"/>
              <a:gd name="connsiteY475" fmla="*/ 6368204 h 6858001"/>
              <a:gd name="connsiteX476" fmla="*/ 1324176 w 12191999"/>
              <a:gd name="connsiteY476" fmla="*/ 6355084 h 6858001"/>
              <a:gd name="connsiteX477" fmla="*/ 1303196 w 12191999"/>
              <a:gd name="connsiteY477" fmla="*/ 6292325 h 6858001"/>
              <a:gd name="connsiteX478" fmla="*/ 808324 w 12191999"/>
              <a:gd name="connsiteY478" fmla="*/ 6292325 h 6858001"/>
              <a:gd name="connsiteX479" fmla="*/ 808324 w 12191999"/>
              <a:gd name="connsiteY479" fmla="*/ 6304840 h 6858001"/>
              <a:gd name="connsiteX480" fmla="*/ 819207 w 12191999"/>
              <a:gd name="connsiteY480" fmla="*/ 6304840 h 6858001"/>
              <a:gd name="connsiteX481" fmla="*/ 819207 w 12191999"/>
              <a:gd name="connsiteY481" fmla="*/ 6292325 h 6858001"/>
              <a:gd name="connsiteX482" fmla="*/ 608178 w 12191999"/>
              <a:gd name="connsiteY482" fmla="*/ 6292325 h 6858001"/>
              <a:gd name="connsiteX483" fmla="*/ 608178 w 12191999"/>
              <a:gd name="connsiteY483" fmla="*/ 6380961 h 6858001"/>
              <a:gd name="connsiteX484" fmla="*/ 618275 w 12191999"/>
              <a:gd name="connsiteY484" fmla="*/ 6380961 h 6858001"/>
              <a:gd name="connsiteX485" fmla="*/ 618275 w 12191999"/>
              <a:gd name="connsiteY485" fmla="*/ 6372920 h 6858001"/>
              <a:gd name="connsiteX486" fmla="*/ 636111 w 12191999"/>
              <a:gd name="connsiteY486" fmla="*/ 6382412 h 6858001"/>
              <a:gd name="connsiteX487" fmla="*/ 655701 w 12191999"/>
              <a:gd name="connsiteY487" fmla="*/ 6373404 h 6858001"/>
              <a:gd name="connsiteX488" fmla="*/ 663863 w 12191999"/>
              <a:gd name="connsiteY488" fmla="*/ 6347889 h 6858001"/>
              <a:gd name="connsiteX489" fmla="*/ 661928 w 12191999"/>
              <a:gd name="connsiteY489" fmla="*/ 6334829 h 6858001"/>
              <a:gd name="connsiteX490" fmla="*/ 656577 w 12191999"/>
              <a:gd name="connsiteY490" fmla="*/ 6324400 h 6858001"/>
              <a:gd name="connsiteX491" fmla="*/ 647871 w 12191999"/>
              <a:gd name="connsiteY491" fmla="*/ 6317688 h 6858001"/>
              <a:gd name="connsiteX492" fmla="*/ 636655 w 12191999"/>
              <a:gd name="connsiteY492" fmla="*/ 6315300 h 6858001"/>
              <a:gd name="connsiteX493" fmla="*/ 619061 w 12191999"/>
              <a:gd name="connsiteY493" fmla="*/ 6323946 h 6858001"/>
              <a:gd name="connsiteX494" fmla="*/ 619061 w 12191999"/>
              <a:gd name="connsiteY494" fmla="*/ 6292325 h 6858001"/>
              <a:gd name="connsiteX495" fmla="*/ 519635 w 12191999"/>
              <a:gd name="connsiteY495" fmla="*/ 6292325 h 6858001"/>
              <a:gd name="connsiteX496" fmla="*/ 485595 w 12191999"/>
              <a:gd name="connsiteY496" fmla="*/ 6380961 h 6858001"/>
              <a:gd name="connsiteX497" fmla="*/ 498050 w 12191999"/>
              <a:gd name="connsiteY497" fmla="*/ 6380961 h 6858001"/>
              <a:gd name="connsiteX498" fmla="*/ 507784 w 12191999"/>
              <a:gd name="connsiteY498" fmla="*/ 6354116 h 6858001"/>
              <a:gd name="connsiteX499" fmla="*/ 544847 w 12191999"/>
              <a:gd name="connsiteY499" fmla="*/ 6354116 h 6858001"/>
              <a:gd name="connsiteX500" fmla="*/ 555186 w 12191999"/>
              <a:gd name="connsiteY500" fmla="*/ 6380961 h 6858001"/>
              <a:gd name="connsiteX501" fmla="*/ 568548 w 12191999"/>
              <a:gd name="connsiteY501" fmla="*/ 6380961 h 6858001"/>
              <a:gd name="connsiteX502" fmla="*/ 532271 w 12191999"/>
              <a:gd name="connsiteY502" fmla="*/ 6292325 h 6858001"/>
              <a:gd name="connsiteX503" fmla="*/ 1228689 w 12191999"/>
              <a:gd name="connsiteY503" fmla="*/ 6290813 h 6858001"/>
              <a:gd name="connsiteX504" fmla="*/ 1217594 w 12191999"/>
              <a:gd name="connsiteY504" fmla="*/ 6293443 h 6858001"/>
              <a:gd name="connsiteX505" fmla="*/ 1212062 w 12191999"/>
              <a:gd name="connsiteY505" fmla="*/ 6300306 h 6858001"/>
              <a:gd name="connsiteX506" fmla="*/ 1210914 w 12191999"/>
              <a:gd name="connsiteY506" fmla="*/ 6309919 h 6858001"/>
              <a:gd name="connsiteX507" fmla="*/ 1210914 w 12191999"/>
              <a:gd name="connsiteY507" fmla="*/ 6316751 h 6858001"/>
              <a:gd name="connsiteX508" fmla="*/ 1201300 w 12191999"/>
              <a:gd name="connsiteY508" fmla="*/ 6316751 h 6858001"/>
              <a:gd name="connsiteX509" fmla="*/ 1201300 w 12191999"/>
              <a:gd name="connsiteY509" fmla="*/ 6325216 h 6858001"/>
              <a:gd name="connsiteX510" fmla="*/ 1210914 w 12191999"/>
              <a:gd name="connsiteY510" fmla="*/ 6325216 h 6858001"/>
              <a:gd name="connsiteX511" fmla="*/ 1210914 w 12191999"/>
              <a:gd name="connsiteY511" fmla="*/ 6380961 h 6858001"/>
              <a:gd name="connsiteX512" fmla="*/ 1221736 w 12191999"/>
              <a:gd name="connsiteY512" fmla="*/ 6380961 h 6858001"/>
              <a:gd name="connsiteX513" fmla="*/ 1221736 w 12191999"/>
              <a:gd name="connsiteY513" fmla="*/ 6325216 h 6858001"/>
              <a:gd name="connsiteX514" fmla="*/ 1234252 w 12191999"/>
              <a:gd name="connsiteY514" fmla="*/ 6325216 h 6858001"/>
              <a:gd name="connsiteX515" fmla="*/ 1234252 w 12191999"/>
              <a:gd name="connsiteY515" fmla="*/ 6316751 h 6858001"/>
              <a:gd name="connsiteX516" fmla="*/ 1221736 w 12191999"/>
              <a:gd name="connsiteY516" fmla="*/ 6316751 h 6858001"/>
              <a:gd name="connsiteX517" fmla="*/ 1221736 w 12191999"/>
              <a:gd name="connsiteY517" fmla="*/ 6310826 h 6858001"/>
              <a:gd name="connsiteX518" fmla="*/ 1223792 w 12191999"/>
              <a:gd name="connsiteY518" fmla="*/ 6302906 h 6858001"/>
              <a:gd name="connsiteX519" fmla="*/ 1230805 w 12191999"/>
              <a:gd name="connsiteY519" fmla="*/ 6300789 h 6858001"/>
              <a:gd name="connsiteX520" fmla="*/ 1237214 w 12191999"/>
              <a:gd name="connsiteY520" fmla="*/ 6301394 h 6858001"/>
              <a:gd name="connsiteX521" fmla="*/ 1238847 w 12191999"/>
              <a:gd name="connsiteY521" fmla="*/ 6291902 h 6858001"/>
              <a:gd name="connsiteX522" fmla="*/ 1228689 w 12191999"/>
              <a:gd name="connsiteY522" fmla="*/ 6290813 h 6858001"/>
              <a:gd name="connsiteX523" fmla="*/ 7175501 w 12191999"/>
              <a:gd name="connsiteY523" fmla="*/ 1 h 6858001"/>
              <a:gd name="connsiteX524" fmla="*/ 12191999 w 12191999"/>
              <a:gd name="connsiteY524" fmla="*/ 1 h 6858001"/>
              <a:gd name="connsiteX525" fmla="*/ 12191999 w 12191999"/>
              <a:gd name="connsiteY525" fmla="*/ 6858001 h 6858001"/>
              <a:gd name="connsiteX526" fmla="*/ 1 w 12191999"/>
              <a:gd name="connsiteY526" fmla="*/ 6858001 h 6858001"/>
              <a:gd name="connsiteX527" fmla="*/ 1 w 12191999"/>
              <a:gd name="connsiteY527" fmla="*/ 5752619 h 6858001"/>
              <a:gd name="connsiteX528" fmla="*/ 7175501 w 12191999"/>
              <a:gd name="connsiteY528" fmla="*/ 5752619 h 6858001"/>
              <a:gd name="connsiteX529" fmla="*/ 0 w 12191999"/>
              <a:gd name="connsiteY529" fmla="*/ 0 h 6858001"/>
              <a:gd name="connsiteX530" fmla="*/ 7175501 w 12191999"/>
              <a:gd name="connsiteY530" fmla="*/ 0 h 6858001"/>
              <a:gd name="connsiteX531" fmla="*/ 7175501 w 12191999"/>
              <a:gd name="connsiteY531" fmla="*/ 1 h 6858001"/>
              <a:gd name="connsiteX532" fmla="*/ 1 w 12191999"/>
              <a:gd name="connsiteY532" fmla="*/ 1 h 6858001"/>
              <a:gd name="connsiteX533" fmla="*/ 1 w 12191999"/>
              <a:gd name="connsiteY533" fmla="*/ 5752619 h 6858001"/>
              <a:gd name="connsiteX534" fmla="*/ 0 w 12191999"/>
              <a:gd name="connsiteY534" fmla="*/ 575261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Lst>
            <a:rect l="l" t="t" r="r" b="b"/>
            <a:pathLst>
              <a:path w="12191999" h="6858001">
                <a:moveTo>
                  <a:pt x="2154182" y="6348735"/>
                </a:moveTo>
                <a:lnTo>
                  <a:pt x="2154182" y="6352726"/>
                </a:lnTo>
                <a:cubicBezTo>
                  <a:pt x="2154182" y="6357522"/>
                  <a:pt x="2153597" y="6361150"/>
                  <a:pt x="2152428" y="6363609"/>
                </a:cubicBezTo>
                <a:cubicBezTo>
                  <a:pt x="2150896" y="6366793"/>
                  <a:pt x="2148498" y="6369302"/>
                  <a:pt x="2145233" y="6371136"/>
                </a:cubicBezTo>
                <a:cubicBezTo>
                  <a:pt x="2141968" y="6372970"/>
                  <a:pt x="2138240" y="6373887"/>
                  <a:pt x="2134048" y="6373887"/>
                </a:cubicBezTo>
                <a:cubicBezTo>
                  <a:pt x="2129816" y="6373887"/>
                  <a:pt x="2126601" y="6372920"/>
                  <a:pt x="2124404" y="6370985"/>
                </a:cubicBezTo>
                <a:cubicBezTo>
                  <a:pt x="2122207" y="6369050"/>
                  <a:pt x="2121109" y="6366632"/>
                  <a:pt x="2121109" y="6363730"/>
                </a:cubicBezTo>
                <a:cubicBezTo>
                  <a:pt x="2121109" y="6361835"/>
                  <a:pt x="2121613" y="6360112"/>
                  <a:pt x="2122621" y="6358560"/>
                </a:cubicBezTo>
                <a:cubicBezTo>
                  <a:pt x="2123628" y="6357008"/>
                  <a:pt x="2125059" y="6355829"/>
                  <a:pt x="2126913" y="6355023"/>
                </a:cubicBezTo>
                <a:cubicBezTo>
                  <a:pt x="2128768" y="6354217"/>
                  <a:pt x="2131932" y="6353492"/>
                  <a:pt x="2136406" y="6352847"/>
                </a:cubicBezTo>
                <a:cubicBezTo>
                  <a:pt x="2144306" y="6351718"/>
                  <a:pt x="2150231" y="6350348"/>
                  <a:pt x="2154182" y="6348735"/>
                </a:cubicBezTo>
                <a:close/>
                <a:moveTo>
                  <a:pt x="1430281" y="6348735"/>
                </a:moveTo>
                <a:lnTo>
                  <a:pt x="1430281" y="6352726"/>
                </a:lnTo>
                <a:cubicBezTo>
                  <a:pt x="1430281" y="6357522"/>
                  <a:pt x="1429697" y="6361150"/>
                  <a:pt x="1428528" y="6363609"/>
                </a:cubicBezTo>
                <a:cubicBezTo>
                  <a:pt x="1426997" y="6366793"/>
                  <a:pt x="1424598" y="6369302"/>
                  <a:pt x="1421333" y="6371136"/>
                </a:cubicBezTo>
                <a:cubicBezTo>
                  <a:pt x="1418068" y="6372970"/>
                  <a:pt x="1414340" y="6373887"/>
                  <a:pt x="1410148" y="6373887"/>
                </a:cubicBezTo>
                <a:cubicBezTo>
                  <a:pt x="1405916" y="6373887"/>
                  <a:pt x="1402701" y="6372920"/>
                  <a:pt x="1400504" y="6370985"/>
                </a:cubicBezTo>
                <a:cubicBezTo>
                  <a:pt x="1398308" y="6369050"/>
                  <a:pt x="1397209" y="6366632"/>
                  <a:pt x="1397209" y="6363730"/>
                </a:cubicBezTo>
                <a:cubicBezTo>
                  <a:pt x="1397209" y="6361835"/>
                  <a:pt x="1397713" y="6360112"/>
                  <a:pt x="1398721" y="6358560"/>
                </a:cubicBezTo>
                <a:cubicBezTo>
                  <a:pt x="1399728" y="6357008"/>
                  <a:pt x="1401159" y="6355829"/>
                  <a:pt x="1403013" y="6355023"/>
                </a:cubicBezTo>
                <a:cubicBezTo>
                  <a:pt x="1404867" y="6354217"/>
                  <a:pt x="1408032" y="6353492"/>
                  <a:pt x="1412506" y="6352847"/>
                </a:cubicBezTo>
                <a:cubicBezTo>
                  <a:pt x="1420406" y="6351718"/>
                  <a:pt x="1426331" y="6350348"/>
                  <a:pt x="1430281" y="6348735"/>
                </a:cubicBezTo>
                <a:close/>
                <a:moveTo>
                  <a:pt x="1167698" y="6324309"/>
                </a:moveTo>
                <a:cubicBezTo>
                  <a:pt x="1173058" y="6324309"/>
                  <a:pt x="1177543" y="6326355"/>
                  <a:pt x="1181150" y="6330446"/>
                </a:cubicBezTo>
                <a:cubicBezTo>
                  <a:pt x="1184758" y="6334537"/>
                  <a:pt x="1186561" y="6340553"/>
                  <a:pt x="1186561" y="6348493"/>
                </a:cubicBezTo>
                <a:cubicBezTo>
                  <a:pt x="1186561" y="6356918"/>
                  <a:pt x="1184768" y="6363186"/>
                  <a:pt x="1181180" y="6367297"/>
                </a:cubicBezTo>
                <a:cubicBezTo>
                  <a:pt x="1177593" y="6371408"/>
                  <a:pt x="1173099" y="6373464"/>
                  <a:pt x="1167698" y="6373464"/>
                </a:cubicBezTo>
                <a:cubicBezTo>
                  <a:pt x="1162256" y="6373464"/>
                  <a:pt x="1157741" y="6371418"/>
                  <a:pt x="1154154" y="6367327"/>
                </a:cubicBezTo>
                <a:cubicBezTo>
                  <a:pt x="1150567" y="6363236"/>
                  <a:pt x="1148773" y="6357079"/>
                  <a:pt x="1148773" y="6348856"/>
                </a:cubicBezTo>
                <a:cubicBezTo>
                  <a:pt x="1148773" y="6340633"/>
                  <a:pt x="1150567" y="6334487"/>
                  <a:pt x="1154154" y="6330415"/>
                </a:cubicBezTo>
                <a:cubicBezTo>
                  <a:pt x="1157741" y="6326344"/>
                  <a:pt x="1162256" y="6324309"/>
                  <a:pt x="1167698" y="6324309"/>
                </a:cubicBezTo>
                <a:close/>
                <a:moveTo>
                  <a:pt x="1939646" y="6324248"/>
                </a:moveTo>
                <a:cubicBezTo>
                  <a:pt x="1945168" y="6324248"/>
                  <a:pt x="1949662" y="6326344"/>
                  <a:pt x="1953129" y="6330536"/>
                </a:cubicBezTo>
                <a:cubicBezTo>
                  <a:pt x="1955386" y="6333237"/>
                  <a:pt x="1956756" y="6337288"/>
                  <a:pt x="1957240" y="6342689"/>
                </a:cubicBezTo>
                <a:lnTo>
                  <a:pt x="1921387" y="6342689"/>
                </a:lnTo>
                <a:cubicBezTo>
                  <a:pt x="1921749" y="6337086"/>
                  <a:pt x="1923634" y="6332612"/>
                  <a:pt x="1927040" y="6329267"/>
                </a:cubicBezTo>
                <a:cubicBezTo>
                  <a:pt x="1930445" y="6325921"/>
                  <a:pt x="1934648" y="6324248"/>
                  <a:pt x="1939646" y="6324248"/>
                </a:cubicBezTo>
                <a:close/>
                <a:moveTo>
                  <a:pt x="929996" y="6324248"/>
                </a:moveTo>
                <a:cubicBezTo>
                  <a:pt x="935518" y="6324248"/>
                  <a:pt x="940012" y="6326344"/>
                  <a:pt x="943479" y="6330536"/>
                </a:cubicBezTo>
                <a:cubicBezTo>
                  <a:pt x="945736" y="6333237"/>
                  <a:pt x="947106" y="6337288"/>
                  <a:pt x="947590" y="6342689"/>
                </a:cubicBezTo>
                <a:lnTo>
                  <a:pt x="911736" y="6342689"/>
                </a:lnTo>
                <a:cubicBezTo>
                  <a:pt x="912099" y="6337086"/>
                  <a:pt x="913983" y="6332612"/>
                  <a:pt x="917389" y="6329267"/>
                </a:cubicBezTo>
                <a:cubicBezTo>
                  <a:pt x="920795" y="6325921"/>
                  <a:pt x="924997" y="6324248"/>
                  <a:pt x="929996" y="6324248"/>
                </a:cubicBezTo>
                <a:close/>
                <a:moveTo>
                  <a:pt x="635688" y="6324248"/>
                </a:moveTo>
                <a:cubicBezTo>
                  <a:pt x="640404" y="6324248"/>
                  <a:pt x="644425" y="6326244"/>
                  <a:pt x="647750" y="6330234"/>
                </a:cubicBezTo>
                <a:cubicBezTo>
                  <a:pt x="651075" y="6334225"/>
                  <a:pt x="652738" y="6340412"/>
                  <a:pt x="652738" y="6348796"/>
                </a:cubicBezTo>
                <a:cubicBezTo>
                  <a:pt x="652738" y="6356978"/>
                  <a:pt x="651005" y="6363135"/>
                  <a:pt x="647538" y="6367267"/>
                </a:cubicBezTo>
                <a:cubicBezTo>
                  <a:pt x="644072" y="6371398"/>
                  <a:pt x="639961" y="6373464"/>
                  <a:pt x="635204" y="6373464"/>
                </a:cubicBezTo>
                <a:cubicBezTo>
                  <a:pt x="629360" y="6373464"/>
                  <a:pt x="624724" y="6370663"/>
                  <a:pt x="621298" y="6365060"/>
                </a:cubicBezTo>
                <a:cubicBezTo>
                  <a:pt x="619202" y="6361634"/>
                  <a:pt x="618154" y="6356071"/>
                  <a:pt x="618154" y="6348373"/>
                </a:cubicBezTo>
                <a:cubicBezTo>
                  <a:pt x="618154" y="6340553"/>
                  <a:pt x="619887" y="6334577"/>
                  <a:pt x="623354" y="6330446"/>
                </a:cubicBezTo>
                <a:cubicBezTo>
                  <a:pt x="626820" y="6326314"/>
                  <a:pt x="630932" y="6324248"/>
                  <a:pt x="635688" y="6324248"/>
                </a:cubicBezTo>
                <a:close/>
                <a:moveTo>
                  <a:pt x="808324" y="6316751"/>
                </a:moveTo>
                <a:lnTo>
                  <a:pt x="808324" y="6380961"/>
                </a:lnTo>
                <a:lnTo>
                  <a:pt x="819207" y="6380961"/>
                </a:lnTo>
                <a:lnTo>
                  <a:pt x="819207" y="6316751"/>
                </a:lnTo>
                <a:close/>
                <a:moveTo>
                  <a:pt x="674672" y="6316751"/>
                </a:moveTo>
                <a:lnTo>
                  <a:pt x="674672" y="6356535"/>
                </a:lnTo>
                <a:cubicBezTo>
                  <a:pt x="674672" y="6361170"/>
                  <a:pt x="674893" y="6364556"/>
                  <a:pt x="675337" y="6366692"/>
                </a:cubicBezTo>
                <a:cubicBezTo>
                  <a:pt x="675982" y="6369877"/>
                  <a:pt x="677100" y="6372567"/>
                  <a:pt x="678692" y="6374764"/>
                </a:cubicBezTo>
                <a:cubicBezTo>
                  <a:pt x="680284" y="6376961"/>
                  <a:pt x="682723" y="6378785"/>
                  <a:pt x="686008" y="6380236"/>
                </a:cubicBezTo>
                <a:cubicBezTo>
                  <a:pt x="689293" y="6381687"/>
                  <a:pt x="692830" y="6382412"/>
                  <a:pt x="696619" y="6382412"/>
                </a:cubicBezTo>
                <a:cubicBezTo>
                  <a:pt x="705205" y="6382412"/>
                  <a:pt x="711997" y="6378785"/>
                  <a:pt x="716995" y="6371529"/>
                </a:cubicBezTo>
                <a:lnTo>
                  <a:pt x="716995" y="6380961"/>
                </a:lnTo>
                <a:lnTo>
                  <a:pt x="726729" y="6380961"/>
                </a:lnTo>
                <a:lnTo>
                  <a:pt x="726729" y="6316751"/>
                </a:lnTo>
                <a:lnTo>
                  <a:pt x="715846" y="6316751"/>
                </a:lnTo>
                <a:lnTo>
                  <a:pt x="715846" y="6351154"/>
                </a:lnTo>
                <a:cubicBezTo>
                  <a:pt x="715846" y="6356636"/>
                  <a:pt x="715251" y="6360818"/>
                  <a:pt x="714062" y="6363700"/>
                </a:cubicBezTo>
                <a:cubicBezTo>
                  <a:pt x="712873" y="6366582"/>
                  <a:pt x="710848" y="6368859"/>
                  <a:pt x="707986" y="6370532"/>
                </a:cubicBezTo>
                <a:cubicBezTo>
                  <a:pt x="705124" y="6372204"/>
                  <a:pt x="702061" y="6373041"/>
                  <a:pt x="698796" y="6373041"/>
                </a:cubicBezTo>
                <a:cubicBezTo>
                  <a:pt x="695531" y="6373041"/>
                  <a:pt x="692790" y="6372225"/>
                  <a:pt x="690573" y="6370592"/>
                </a:cubicBezTo>
                <a:cubicBezTo>
                  <a:pt x="688356" y="6368960"/>
                  <a:pt x="686905" y="6366713"/>
                  <a:pt x="686220" y="6363851"/>
                </a:cubicBezTo>
                <a:cubicBezTo>
                  <a:pt x="685776" y="6361876"/>
                  <a:pt x="685555" y="6358046"/>
                  <a:pt x="685555" y="6352363"/>
                </a:cubicBezTo>
                <a:lnTo>
                  <a:pt x="685555" y="6316751"/>
                </a:lnTo>
                <a:close/>
                <a:moveTo>
                  <a:pt x="2210094" y="6315300"/>
                </a:moveTo>
                <a:cubicBezTo>
                  <a:pt x="2201186" y="6315300"/>
                  <a:pt x="2194374" y="6318827"/>
                  <a:pt x="2189659" y="6325881"/>
                </a:cubicBezTo>
                <a:lnTo>
                  <a:pt x="2189659" y="6316751"/>
                </a:lnTo>
                <a:lnTo>
                  <a:pt x="2179864" y="6316751"/>
                </a:lnTo>
                <a:lnTo>
                  <a:pt x="2179864" y="6380961"/>
                </a:lnTo>
                <a:lnTo>
                  <a:pt x="2190747" y="6380961"/>
                </a:lnTo>
                <a:lnTo>
                  <a:pt x="2190747" y="6345894"/>
                </a:lnTo>
                <a:cubicBezTo>
                  <a:pt x="2190747" y="6337671"/>
                  <a:pt x="2192430" y="6332088"/>
                  <a:pt x="2195795" y="6329146"/>
                </a:cubicBezTo>
                <a:cubicBezTo>
                  <a:pt x="2199161" y="6326203"/>
                  <a:pt x="2203161" y="6324732"/>
                  <a:pt x="2207797" y="6324732"/>
                </a:cubicBezTo>
                <a:cubicBezTo>
                  <a:pt x="2210699" y="6324732"/>
                  <a:pt x="2213228" y="6325387"/>
                  <a:pt x="2215385" y="6326697"/>
                </a:cubicBezTo>
                <a:cubicBezTo>
                  <a:pt x="2217541" y="6328007"/>
                  <a:pt x="2219043" y="6329761"/>
                  <a:pt x="2219889" y="6331957"/>
                </a:cubicBezTo>
                <a:cubicBezTo>
                  <a:pt x="2220735" y="6334154"/>
                  <a:pt x="2221159" y="6337469"/>
                  <a:pt x="2221159" y="6341903"/>
                </a:cubicBezTo>
                <a:lnTo>
                  <a:pt x="2221159" y="6380961"/>
                </a:lnTo>
                <a:lnTo>
                  <a:pt x="2232042" y="6380961"/>
                </a:lnTo>
                <a:lnTo>
                  <a:pt x="2232042" y="6341480"/>
                </a:lnTo>
                <a:cubicBezTo>
                  <a:pt x="2232042" y="6336441"/>
                  <a:pt x="2231840" y="6332915"/>
                  <a:pt x="2231437" y="6330899"/>
                </a:cubicBezTo>
                <a:cubicBezTo>
                  <a:pt x="2230792" y="6327796"/>
                  <a:pt x="2229664" y="6325115"/>
                  <a:pt x="2228052" y="6322858"/>
                </a:cubicBezTo>
                <a:cubicBezTo>
                  <a:pt x="2226439" y="6320601"/>
                  <a:pt x="2224011" y="6318777"/>
                  <a:pt x="2220766" y="6317386"/>
                </a:cubicBezTo>
                <a:cubicBezTo>
                  <a:pt x="2217521" y="6315995"/>
                  <a:pt x="2213964" y="6315300"/>
                  <a:pt x="2210094" y="6315300"/>
                </a:cubicBezTo>
                <a:close/>
                <a:moveTo>
                  <a:pt x="2140336" y="6315300"/>
                </a:moveTo>
                <a:cubicBezTo>
                  <a:pt x="2134814" y="6315300"/>
                  <a:pt x="2129957" y="6316056"/>
                  <a:pt x="2125765" y="6317567"/>
                </a:cubicBezTo>
                <a:cubicBezTo>
                  <a:pt x="2121573" y="6319079"/>
                  <a:pt x="2118368" y="6321235"/>
                  <a:pt x="2116151" y="6324037"/>
                </a:cubicBezTo>
                <a:cubicBezTo>
                  <a:pt x="2113934" y="6326838"/>
                  <a:pt x="2112342" y="6330516"/>
                  <a:pt x="2111375" y="6335071"/>
                </a:cubicBezTo>
                <a:lnTo>
                  <a:pt x="2122016" y="6336522"/>
                </a:lnTo>
                <a:cubicBezTo>
                  <a:pt x="2123185" y="6331967"/>
                  <a:pt x="2124989" y="6328793"/>
                  <a:pt x="2127427" y="6326999"/>
                </a:cubicBezTo>
                <a:cubicBezTo>
                  <a:pt x="2129866" y="6325206"/>
                  <a:pt x="2133645" y="6324309"/>
                  <a:pt x="2138764" y="6324309"/>
                </a:cubicBezTo>
                <a:cubicBezTo>
                  <a:pt x="2144246" y="6324309"/>
                  <a:pt x="2148377" y="6325538"/>
                  <a:pt x="2151159" y="6327997"/>
                </a:cubicBezTo>
                <a:cubicBezTo>
                  <a:pt x="2153214" y="6329811"/>
                  <a:pt x="2154242" y="6332935"/>
                  <a:pt x="2154242" y="6337369"/>
                </a:cubicBezTo>
                <a:cubicBezTo>
                  <a:pt x="2154242" y="6337772"/>
                  <a:pt x="2154222" y="6338719"/>
                  <a:pt x="2154182" y="6340210"/>
                </a:cubicBezTo>
                <a:cubicBezTo>
                  <a:pt x="2150030" y="6341661"/>
                  <a:pt x="2143560" y="6342911"/>
                  <a:pt x="2134773" y="6343959"/>
                </a:cubicBezTo>
                <a:cubicBezTo>
                  <a:pt x="2130460" y="6344483"/>
                  <a:pt x="2127236" y="6345027"/>
                  <a:pt x="2125100" y="6345591"/>
                </a:cubicBezTo>
                <a:cubicBezTo>
                  <a:pt x="2122197" y="6346397"/>
                  <a:pt x="2119587" y="6347587"/>
                  <a:pt x="2117270" y="6349159"/>
                </a:cubicBezTo>
                <a:cubicBezTo>
                  <a:pt x="2114952" y="6350731"/>
                  <a:pt x="2113078" y="6352816"/>
                  <a:pt x="2111647" y="6355416"/>
                </a:cubicBezTo>
                <a:cubicBezTo>
                  <a:pt x="2110216" y="6358016"/>
                  <a:pt x="2109500" y="6360888"/>
                  <a:pt x="2109500" y="6364032"/>
                </a:cubicBezTo>
                <a:cubicBezTo>
                  <a:pt x="2109500" y="6369393"/>
                  <a:pt x="2111395" y="6373797"/>
                  <a:pt x="2115184" y="6377243"/>
                </a:cubicBezTo>
                <a:cubicBezTo>
                  <a:pt x="2118973" y="6380689"/>
                  <a:pt x="2124394" y="6382412"/>
                  <a:pt x="2131448" y="6382412"/>
                </a:cubicBezTo>
                <a:cubicBezTo>
                  <a:pt x="2135721" y="6382412"/>
                  <a:pt x="2139721" y="6381707"/>
                  <a:pt x="2143450" y="6380296"/>
                </a:cubicBezTo>
                <a:cubicBezTo>
                  <a:pt x="2147178" y="6378885"/>
                  <a:pt x="2151058" y="6376467"/>
                  <a:pt x="2155089" y="6373041"/>
                </a:cubicBezTo>
                <a:cubicBezTo>
                  <a:pt x="2155411" y="6376064"/>
                  <a:pt x="2156136" y="6378704"/>
                  <a:pt x="2157265" y="6380961"/>
                </a:cubicBezTo>
                <a:lnTo>
                  <a:pt x="2168632" y="6380961"/>
                </a:lnTo>
                <a:cubicBezTo>
                  <a:pt x="2167261" y="6378502"/>
                  <a:pt x="2166344" y="6375933"/>
                  <a:pt x="2165881" y="6373252"/>
                </a:cubicBezTo>
                <a:cubicBezTo>
                  <a:pt x="2165417" y="6370572"/>
                  <a:pt x="2165185" y="6364173"/>
                  <a:pt x="2165185" y="6354056"/>
                </a:cubicBezTo>
                <a:lnTo>
                  <a:pt x="2165185" y="6339545"/>
                </a:lnTo>
                <a:cubicBezTo>
                  <a:pt x="2165185" y="6334708"/>
                  <a:pt x="2165004" y="6331363"/>
                  <a:pt x="2164641" y="6329509"/>
                </a:cubicBezTo>
                <a:cubicBezTo>
                  <a:pt x="2163996" y="6326526"/>
                  <a:pt x="2162868" y="6324057"/>
                  <a:pt x="2161255" y="6322102"/>
                </a:cubicBezTo>
                <a:cubicBezTo>
                  <a:pt x="2159643" y="6320147"/>
                  <a:pt x="2157124" y="6318525"/>
                  <a:pt x="2153698" y="6317235"/>
                </a:cubicBezTo>
                <a:cubicBezTo>
                  <a:pt x="2150272" y="6315945"/>
                  <a:pt x="2145818" y="6315300"/>
                  <a:pt x="2140336" y="6315300"/>
                </a:cubicBezTo>
                <a:close/>
                <a:moveTo>
                  <a:pt x="2076744" y="6315300"/>
                </a:moveTo>
                <a:cubicBezTo>
                  <a:pt x="2067836" y="6315300"/>
                  <a:pt x="2061024" y="6318827"/>
                  <a:pt x="2056309" y="6325881"/>
                </a:cubicBezTo>
                <a:lnTo>
                  <a:pt x="2056309" y="6316751"/>
                </a:lnTo>
                <a:lnTo>
                  <a:pt x="2046514" y="6316751"/>
                </a:lnTo>
                <a:lnTo>
                  <a:pt x="2046514" y="6380961"/>
                </a:lnTo>
                <a:lnTo>
                  <a:pt x="2057397" y="6380961"/>
                </a:lnTo>
                <a:lnTo>
                  <a:pt x="2057397" y="6345894"/>
                </a:lnTo>
                <a:cubicBezTo>
                  <a:pt x="2057397" y="6337671"/>
                  <a:pt x="2059079" y="6332088"/>
                  <a:pt x="2062445" y="6329146"/>
                </a:cubicBezTo>
                <a:cubicBezTo>
                  <a:pt x="2065811" y="6326203"/>
                  <a:pt x="2069811" y="6324732"/>
                  <a:pt x="2074447" y="6324732"/>
                </a:cubicBezTo>
                <a:cubicBezTo>
                  <a:pt x="2077349" y="6324732"/>
                  <a:pt x="2079878" y="6325387"/>
                  <a:pt x="2082035" y="6326697"/>
                </a:cubicBezTo>
                <a:cubicBezTo>
                  <a:pt x="2084191" y="6328007"/>
                  <a:pt x="2085692" y="6329761"/>
                  <a:pt x="2086539" y="6331957"/>
                </a:cubicBezTo>
                <a:cubicBezTo>
                  <a:pt x="2087385" y="6334154"/>
                  <a:pt x="2087809" y="6337469"/>
                  <a:pt x="2087809" y="6341903"/>
                </a:cubicBezTo>
                <a:lnTo>
                  <a:pt x="2087809" y="6380961"/>
                </a:lnTo>
                <a:lnTo>
                  <a:pt x="2098692" y="6380961"/>
                </a:lnTo>
                <a:lnTo>
                  <a:pt x="2098692" y="6341480"/>
                </a:lnTo>
                <a:cubicBezTo>
                  <a:pt x="2098692" y="6336441"/>
                  <a:pt x="2098490" y="6332915"/>
                  <a:pt x="2098087" y="6330899"/>
                </a:cubicBezTo>
                <a:cubicBezTo>
                  <a:pt x="2097442" y="6327796"/>
                  <a:pt x="2096314" y="6325115"/>
                  <a:pt x="2094702" y="6322858"/>
                </a:cubicBezTo>
                <a:cubicBezTo>
                  <a:pt x="2093089" y="6320601"/>
                  <a:pt x="2090661" y="6318777"/>
                  <a:pt x="2087416" y="6317386"/>
                </a:cubicBezTo>
                <a:cubicBezTo>
                  <a:pt x="2084171" y="6315995"/>
                  <a:pt x="2080614" y="6315300"/>
                  <a:pt x="2076744" y="6315300"/>
                </a:cubicBezTo>
                <a:close/>
                <a:moveTo>
                  <a:pt x="2010069" y="6315300"/>
                </a:moveTo>
                <a:cubicBezTo>
                  <a:pt x="2001161" y="6315300"/>
                  <a:pt x="1994349" y="6318827"/>
                  <a:pt x="1989633" y="6325881"/>
                </a:cubicBezTo>
                <a:lnTo>
                  <a:pt x="1989633" y="6316751"/>
                </a:lnTo>
                <a:lnTo>
                  <a:pt x="1979839" y="6316751"/>
                </a:lnTo>
                <a:lnTo>
                  <a:pt x="1979839" y="6380961"/>
                </a:lnTo>
                <a:lnTo>
                  <a:pt x="1990722" y="6380961"/>
                </a:lnTo>
                <a:lnTo>
                  <a:pt x="1990722" y="6345894"/>
                </a:lnTo>
                <a:cubicBezTo>
                  <a:pt x="1990722" y="6337671"/>
                  <a:pt x="1992405" y="6332088"/>
                  <a:pt x="1995770" y="6329146"/>
                </a:cubicBezTo>
                <a:cubicBezTo>
                  <a:pt x="1999136" y="6326203"/>
                  <a:pt x="2003136" y="6324732"/>
                  <a:pt x="2007772" y="6324732"/>
                </a:cubicBezTo>
                <a:cubicBezTo>
                  <a:pt x="2010674" y="6324732"/>
                  <a:pt x="2013203" y="6325387"/>
                  <a:pt x="2015360" y="6326697"/>
                </a:cubicBezTo>
                <a:cubicBezTo>
                  <a:pt x="2017516" y="6328007"/>
                  <a:pt x="2019018" y="6329761"/>
                  <a:pt x="2019864" y="6331957"/>
                </a:cubicBezTo>
                <a:cubicBezTo>
                  <a:pt x="2020710" y="6334154"/>
                  <a:pt x="2021134" y="6337469"/>
                  <a:pt x="2021134" y="6341903"/>
                </a:cubicBezTo>
                <a:lnTo>
                  <a:pt x="2021134" y="6380961"/>
                </a:lnTo>
                <a:lnTo>
                  <a:pt x="2032017" y="6380961"/>
                </a:lnTo>
                <a:lnTo>
                  <a:pt x="2032017" y="6341480"/>
                </a:lnTo>
                <a:cubicBezTo>
                  <a:pt x="2032017" y="6336441"/>
                  <a:pt x="2031815" y="6332915"/>
                  <a:pt x="2031412" y="6330899"/>
                </a:cubicBezTo>
                <a:cubicBezTo>
                  <a:pt x="2030767" y="6327796"/>
                  <a:pt x="2029639" y="6325115"/>
                  <a:pt x="2028026" y="6322858"/>
                </a:cubicBezTo>
                <a:cubicBezTo>
                  <a:pt x="2026414" y="6320601"/>
                  <a:pt x="2023985" y="6318777"/>
                  <a:pt x="2020741" y="6317386"/>
                </a:cubicBezTo>
                <a:cubicBezTo>
                  <a:pt x="2017496" y="6315995"/>
                  <a:pt x="2013939" y="6315300"/>
                  <a:pt x="2010069" y="6315300"/>
                </a:cubicBezTo>
                <a:close/>
                <a:moveTo>
                  <a:pt x="1939525" y="6315300"/>
                </a:moveTo>
                <a:cubicBezTo>
                  <a:pt x="1930657" y="6315300"/>
                  <a:pt x="1923442" y="6318283"/>
                  <a:pt x="1917880" y="6324248"/>
                </a:cubicBezTo>
                <a:cubicBezTo>
                  <a:pt x="1912317" y="6330214"/>
                  <a:pt x="1909536" y="6338598"/>
                  <a:pt x="1909536" y="6349400"/>
                </a:cubicBezTo>
                <a:cubicBezTo>
                  <a:pt x="1909536" y="6359840"/>
                  <a:pt x="1912287" y="6367952"/>
                  <a:pt x="1917789" y="6373736"/>
                </a:cubicBezTo>
                <a:cubicBezTo>
                  <a:pt x="1923291" y="6379520"/>
                  <a:pt x="1930738" y="6382412"/>
                  <a:pt x="1940129" y="6382412"/>
                </a:cubicBezTo>
                <a:cubicBezTo>
                  <a:pt x="1947586" y="6382412"/>
                  <a:pt x="1953713" y="6380598"/>
                  <a:pt x="1958510" y="6376971"/>
                </a:cubicBezTo>
                <a:cubicBezTo>
                  <a:pt x="1963306" y="6373343"/>
                  <a:pt x="1966591" y="6368244"/>
                  <a:pt x="1968365" y="6361674"/>
                </a:cubicBezTo>
                <a:lnTo>
                  <a:pt x="1957119" y="6360283"/>
                </a:lnTo>
                <a:cubicBezTo>
                  <a:pt x="1955466" y="6364879"/>
                  <a:pt x="1953229" y="6368224"/>
                  <a:pt x="1950408" y="6370320"/>
                </a:cubicBezTo>
                <a:cubicBezTo>
                  <a:pt x="1947586" y="6372416"/>
                  <a:pt x="1944180" y="6373464"/>
                  <a:pt x="1940190" y="6373464"/>
                </a:cubicBezTo>
                <a:cubicBezTo>
                  <a:pt x="1934829" y="6373464"/>
                  <a:pt x="1930355" y="6371590"/>
                  <a:pt x="1926767" y="6367841"/>
                </a:cubicBezTo>
                <a:cubicBezTo>
                  <a:pt x="1923180" y="6364093"/>
                  <a:pt x="1921185" y="6358691"/>
                  <a:pt x="1920782" y="6351637"/>
                </a:cubicBezTo>
                <a:lnTo>
                  <a:pt x="1968667" y="6351637"/>
                </a:lnTo>
                <a:cubicBezTo>
                  <a:pt x="1968707" y="6350348"/>
                  <a:pt x="1968728" y="6349380"/>
                  <a:pt x="1968728" y="6348735"/>
                </a:cubicBezTo>
                <a:cubicBezTo>
                  <a:pt x="1968728" y="6338134"/>
                  <a:pt x="1966007" y="6329912"/>
                  <a:pt x="1960565" y="6324067"/>
                </a:cubicBezTo>
                <a:cubicBezTo>
                  <a:pt x="1955124" y="6318222"/>
                  <a:pt x="1948110" y="6315300"/>
                  <a:pt x="1939525" y="6315300"/>
                </a:cubicBezTo>
                <a:close/>
                <a:moveTo>
                  <a:pt x="1805752" y="6315300"/>
                </a:moveTo>
                <a:cubicBezTo>
                  <a:pt x="1800230" y="6315300"/>
                  <a:pt x="1795120" y="6316600"/>
                  <a:pt x="1790425" y="6319200"/>
                </a:cubicBezTo>
                <a:cubicBezTo>
                  <a:pt x="1785729" y="6321800"/>
                  <a:pt x="1782232" y="6325700"/>
                  <a:pt x="1779935" y="6330899"/>
                </a:cubicBezTo>
                <a:cubicBezTo>
                  <a:pt x="1777637" y="6336099"/>
                  <a:pt x="1776488" y="6342165"/>
                  <a:pt x="1776488" y="6349098"/>
                </a:cubicBezTo>
                <a:cubicBezTo>
                  <a:pt x="1776488" y="6359820"/>
                  <a:pt x="1779159" y="6368053"/>
                  <a:pt x="1784499" y="6373797"/>
                </a:cubicBezTo>
                <a:cubicBezTo>
                  <a:pt x="1789840" y="6379540"/>
                  <a:pt x="1796904" y="6382412"/>
                  <a:pt x="1805691" y="6382412"/>
                </a:cubicBezTo>
                <a:cubicBezTo>
                  <a:pt x="1812705" y="6382412"/>
                  <a:pt x="1818620" y="6380326"/>
                  <a:pt x="1823437" y="6376155"/>
                </a:cubicBezTo>
                <a:cubicBezTo>
                  <a:pt x="1828253" y="6371983"/>
                  <a:pt x="1831246" y="6366209"/>
                  <a:pt x="1832415" y="6358832"/>
                </a:cubicBezTo>
                <a:lnTo>
                  <a:pt x="1821714" y="6357442"/>
                </a:lnTo>
                <a:cubicBezTo>
                  <a:pt x="1820948" y="6362883"/>
                  <a:pt x="1819134" y="6366914"/>
                  <a:pt x="1816272" y="6369534"/>
                </a:cubicBezTo>
                <a:cubicBezTo>
                  <a:pt x="1813410" y="6372154"/>
                  <a:pt x="1809843" y="6373464"/>
                  <a:pt x="1805570" y="6373464"/>
                </a:cubicBezTo>
                <a:cubicBezTo>
                  <a:pt x="1800250" y="6373464"/>
                  <a:pt x="1795937" y="6371509"/>
                  <a:pt x="1792632" y="6367599"/>
                </a:cubicBezTo>
                <a:cubicBezTo>
                  <a:pt x="1789326" y="6363689"/>
                  <a:pt x="1787674" y="6357422"/>
                  <a:pt x="1787674" y="6348796"/>
                </a:cubicBezTo>
                <a:cubicBezTo>
                  <a:pt x="1787674" y="6340291"/>
                  <a:pt x="1789387" y="6334073"/>
                  <a:pt x="1792813" y="6330143"/>
                </a:cubicBezTo>
                <a:cubicBezTo>
                  <a:pt x="1796239" y="6326213"/>
                  <a:pt x="1800693" y="6324248"/>
                  <a:pt x="1806175" y="6324248"/>
                </a:cubicBezTo>
                <a:cubicBezTo>
                  <a:pt x="1809803" y="6324248"/>
                  <a:pt x="1812896" y="6325337"/>
                  <a:pt x="1815456" y="6327513"/>
                </a:cubicBezTo>
                <a:cubicBezTo>
                  <a:pt x="1818015" y="6329690"/>
                  <a:pt x="1819799" y="6332935"/>
                  <a:pt x="1820806" y="6337248"/>
                </a:cubicBezTo>
                <a:lnTo>
                  <a:pt x="1831387" y="6335615"/>
                </a:lnTo>
                <a:cubicBezTo>
                  <a:pt x="1830138" y="6329126"/>
                  <a:pt x="1827296" y="6324117"/>
                  <a:pt x="1822862" y="6320591"/>
                </a:cubicBezTo>
                <a:cubicBezTo>
                  <a:pt x="1818428" y="6317064"/>
                  <a:pt x="1812725" y="6315300"/>
                  <a:pt x="1805752" y="6315300"/>
                </a:cubicBezTo>
                <a:close/>
                <a:moveTo>
                  <a:pt x="1515165" y="6315300"/>
                </a:moveTo>
                <a:cubicBezTo>
                  <a:pt x="1511819" y="6315300"/>
                  <a:pt x="1508685" y="6315733"/>
                  <a:pt x="1505763" y="6316600"/>
                </a:cubicBezTo>
                <a:cubicBezTo>
                  <a:pt x="1502840" y="6317467"/>
                  <a:pt x="1500533" y="6318525"/>
                  <a:pt x="1498840" y="6319774"/>
                </a:cubicBezTo>
                <a:cubicBezTo>
                  <a:pt x="1496583" y="6321387"/>
                  <a:pt x="1494799" y="6323412"/>
                  <a:pt x="1493489" y="6325851"/>
                </a:cubicBezTo>
                <a:cubicBezTo>
                  <a:pt x="1492179" y="6328289"/>
                  <a:pt x="1491524" y="6330939"/>
                  <a:pt x="1491524" y="6333801"/>
                </a:cubicBezTo>
                <a:cubicBezTo>
                  <a:pt x="1491524" y="6336945"/>
                  <a:pt x="1492320" y="6339817"/>
                  <a:pt x="1493913" y="6342417"/>
                </a:cubicBezTo>
                <a:cubicBezTo>
                  <a:pt x="1495505" y="6345017"/>
                  <a:pt x="1497843" y="6347052"/>
                  <a:pt x="1500926" y="6348524"/>
                </a:cubicBezTo>
                <a:cubicBezTo>
                  <a:pt x="1504009" y="6349995"/>
                  <a:pt x="1509542" y="6351738"/>
                  <a:pt x="1517523" y="6353754"/>
                </a:cubicBezTo>
                <a:cubicBezTo>
                  <a:pt x="1523448" y="6355245"/>
                  <a:pt x="1527156" y="6356474"/>
                  <a:pt x="1528648" y="6357442"/>
                </a:cubicBezTo>
                <a:cubicBezTo>
                  <a:pt x="1530784" y="6358853"/>
                  <a:pt x="1531852" y="6360787"/>
                  <a:pt x="1531852" y="6363246"/>
                </a:cubicBezTo>
                <a:cubicBezTo>
                  <a:pt x="1531852" y="6365987"/>
                  <a:pt x="1530643" y="6368375"/>
                  <a:pt x="1528224" y="6370411"/>
                </a:cubicBezTo>
                <a:cubicBezTo>
                  <a:pt x="1525806" y="6372446"/>
                  <a:pt x="1522097" y="6373464"/>
                  <a:pt x="1517100" y="6373464"/>
                </a:cubicBezTo>
                <a:cubicBezTo>
                  <a:pt x="1512141" y="6373464"/>
                  <a:pt x="1508282" y="6372315"/>
                  <a:pt x="1505521" y="6370018"/>
                </a:cubicBezTo>
                <a:cubicBezTo>
                  <a:pt x="1502760" y="6367720"/>
                  <a:pt x="1501077" y="6364415"/>
                  <a:pt x="1500472" y="6360102"/>
                </a:cubicBezTo>
                <a:lnTo>
                  <a:pt x="1489710" y="6361795"/>
                </a:lnTo>
                <a:cubicBezTo>
                  <a:pt x="1490920" y="6368607"/>
                  <a:pt x="1493711" y="6373746"/>
                  <a:pt x="1498084" y="6377213"/>
                </a:cubicBezTo>
                <a:cubicBezTo>
                  <a:pt x="1502458" y="6380679"/>
                  <a:pt x="1508816" y="6382412"/>
                  <a:pt x="1517160" y="6382412"/>
                </a:cubicBezTo>
                <a:cubicBezTo>
                  <a:pt x="1522198" y="6382412"/>
                  <a:pt x="1526713" y="6381536"/>
                  <a:pt x="1530703" y="6379782"/>
                </a:cubicBezTo>
                <a:cubicBezTo>
                  <a:pt x="1534694" y="6378029"/>
                  <a:pt x="1537747" y="6375550"/>
                  <a:pt x="1539863" y="6372345"/>
                </a:cubicBezTo>
                <a:cubicBezTo>
                  <a:pt x="1541979" y="6369141"/>
                  <a:pt x="1543037" y="6365725"/>
                  <a:pt x="1543037" y="6362097"/>
                </a:cubicBezTo>
                <a:cubicBezTo>
                  <a:pt x="1543037" y="6358389"/>
                  <a:pt x="1542171" y="6355285"/>
                  <a:pt x="1540437" y="6352786"/>
                </a:cubicBezTo>
                <a:cubicBezTo>
                  <a:pt x="1538704" y="6350287"/>
                  <a:pt x="1536316" y="6348383"/>
                  <a:pt x="1533273" y="6347073"/>
                </a:cubicBezTo>
                <a:cubicBezTo>
                  <a:pt x="1530230" y="6345763"/>
                  <a:pt x="1524859" y="6344080"/>
                  <a:pt x="1517160" y="6342024"/>
                </a:cubicBezTo>
                <a:cubicBezTo>
                  <a:pt x="1511839" y="6340573"/>
                  <a:pt x="1508635" y="6339646"/>
                  <a:pt x="1507547" y="6339243"/>
                </a:cubicBezTo>
                <a:cubicBezTo>
                  <a:pt x="1505652" y="6338477"/>
                  <a:pt x="1504261" y="6337510"/>
                  <a:pt x="1503375" y="6336341"/>
                </a:cubicBezTo>
                <a:cubicBezTo>
                  <a:pt x="1502488" y="6335212"/>
                  <a:pt x="1502044" y="6333942"/>
                  <a:pt x="1502044" y="6332532"/>
                </a:cubicBezTo>
                <a:cubicBezTo>
                  <a:pt x="1502044" y="6330315"/>
                  <a:pt x="1503113" y="6328380"/>
                  <a:pt x="1505249" y="6326727"/>
                </a:cubicBezTo>
                <a:cubicBezTo>
                  <a:pt x="1507385" y="6325075"/>
                  <a:pt x="1510953" y="6324248"/>
                  <a:pt x="1515951" y="6324248"/>
                </a:cubicBezTo>
                <a:cubicBezTo>
                  <a:pt x="1520183" y="6324248"/>
                  <a:pt x="1523458" y="6325176"/>
                  <a:pt x="1525776" y="6327030"/>
                </a:cubicBezTo>
                <a:cubicBezTo>
                  <a:pt x="1528093" y="6328884"/>
                  <a:pt x="1529494" y="6331463"/>
                  <a:pt x="1529978" y="6334769"/>
                </a:cubicBezTo>
                <a:lnTo>
                  <a:pt x="1540619" y="6333318"/>
                </a:lnTo>
                <a:cubicBezTo>
                  <a:pt x="1539934" y="6329166"/>
                  <a:pt x="1538684" y="6325851"/>
                  <a:pt x="1536870" y="6323372"/>
                </a:cubicBezTo>
                <a:cubicBezTo>
                  <a:pt x="1535056" y="6320893"/>
                  <a:pt x="1532245" y="6318928"/>
                  <a:pt x="1528436" y="6317477"/>
                </a:cubicBezTo>
                <a:cubicBezTo>
                  <a:pt x="1524627" y="6316026"/>
                  <a:pt x="1520203" y="6315300"/>
                  <a:pt x="1515165" y="6315300"/>
                </a:cubicBezTo>
                <a:close/>
                <a:moveTo>
                  <a:pt x="1479544" y="6315300"/>
                </a:moveTo>
                <a:cubicBezTo>
                  <a:pt x="1477004" y="6315300"/>
                  <a:pt x="1474676" y="6316026"/>
                  <a:pt x="1472560" y="6317477"/>
                </a:cubicBezTo>
                <a:cubicBezTo>
                  <a:pt x="1470444" y="6318928"/>
                  <a:pt x="1468136" y="6321931"/>
                  <a:pt x="1465638" y="6326486"/>
                </a:cubicBezTo>
                <a:lnTo>
                  <a:pt x="1465638" y="6316751"/>
                </a:lnTo>
                <a:lnTo>
                  <a:pt x="1455843" y="6316751"/>
                </a:lnTo>
                <a:lnTo>
                  <a:pt x="1455843" y="6380961"/>
                </a:lnTo>
                <a:lnTo>
                  <a:pt x="1466726" y="6380961"/>
                </a:lnTo>
                <a:lnTo>
                  <a:pt x="1466726" y="6347345"/>
                </a:lnTo>
                <a:cubicBezTo>
                  <a:pt x="1466726" y="6342750"/>
                  <a:pt x="1467330" y="6338517"/>
                  <a:pt x="1468540" y="6334648"/>
                </a:cubicBezTo>
                <a:cubicBezTo>
                  <a:pt x="1469346" y="6332108"/>
                  <a:pt x="1470696" y="6330123"/>
                  <a:pt x="1472590" y="6328692"/>
                </a:cubicBezTo>
                <a:cubicBezTo>
                  <a:pt x="1474485" y="6327261"/>
                  <a:pt x="1476621" y="6326546"/>
                  <a:pt x="1479000" y="6326546"/>
                </a:cubicBezTo>
                <a:cubicBezTo>
                  <a:pt x="1481660" y="6326546"/>
                  <a:pt x="1484320" y="6327332"/>
                  <a:pt x="1486980" y="6328904"/>
                </a:cubicBezTo>
                <a:lnTo>
                  <a:pt x="1490729" y="6318807"/>
                </a:lnTo>
                <a:cubicBezTo>
                  <a:pt x="1486940" y="6316469"/>
                  <a:pt x="1483212" y="6315300"/>
                  <a:pt x="1479544" y="6315300"/>
                </a:cubicBezTo>
                <a:close/>
                <a:moveTo>
                  <a:pt x="1416436" y="6315300"/>
                </a:moveTo>
                <a:cubicBezTo>
                  <a:pt x="1410914" y="6315300"/>
                  <a:pt x="1406057" y="6316056"/>
                  <a:pt x="1401865" y="6317567"/>
                </a:cubicBezTo>
                <a:cubicBezTo>
                  <a:pt x="1397673" y="6319079"/>
                  <a:pt x="1394468" y="6321235"/>
                  <a:pt x="1392251" y="6324037"/>
                </a:cubicBezTo>
                <a:cubicBezTo>
                  <a:pt x="1390034" y="6326838"/>
                  <a:pt x="1388442" y="6330516"/>
                  <a:pt x="1387475" y="6335071"/>
                </a:cubicBezTo>
                <a:lnTo>
                  <a:pt x="1398116" y="6336522"/>
                </a:lnTo>
                <a:cubicBezTo>
                  <a:pt x="1399285" y="6331967"/>
                  <a:pt x="1401089" y="6328793"/>
                  <a:pt x="1403527" y="6326999"/>
                </a:cubicBezTo>
                <a:cubicBezTo>
                  <a:pt x="1405966" y="6325206"/>
                  <a:pt x="1409745" y="6324309"/>
                  <a:pt x="1414864" y="6324309"/>
                </a:cubicBezTo>
                <a:cubicBezTo>
                  <a:pt x="1420345" y="6324309"/>
                  <a:pt x="1424477" y="6325538"/>
                  <a:pt x="1427258" y="6327997"/>
                </a:cubicBezTo>
                <a:cubicBezTo>
                  <a:pt x="1429314" y="6329811"/>
                  <a:pt x="1430342" y="6332935"/>
                  <a:pt x="1430342" y="6337369"/>
                </a:cubicBezTo>
                <a:cubicBezTo>
                  <a:pt x="1430342" y="6337772"/>
                  <a:pt x="1430322" y="6338719"/>
                  <a:pt x="1430281" y="6340210"/>
                </a:cubicBezTo>
                <a:cubicBezTo>
                  <a:pt x="1426130" y="6341661"/>
                  <a:pt x="1419660" y="6342911"/>
                  <a:pt x="1410873" y="6343959"/>
                </a:cubicBezTo>
                <a:cubicBezTo>
                  <a:pt x="1406561" y="6344483"/>
                  <a:pt x="1403336" y="6345027"/>
                  <a:pt x="1401199" y="6345591"/>
                </a:cubicBezTo>
                <a:cubicBezTo>
                  <a:pt x="1398297" y="6346397"/>
                  <a:pt x="1395687" y="6347587"/>
                  <a:pt x="1393370" y="6349159"/>
                </a:cubicBezTo>
                <a:cubicBezTo>
                  <a:pt x="1391052" y="6350731"/>
                  <a:pt x="1389178" y="6352816"/>
                  <a:pt x="1387747" y="6355416"/>
                </a:cubicBezTo>
                <a:cubicBezTo>
                  <a:pt x="1386316" y="6358016"/>
                  <a:pt x="1385600" y="6360888"/>
                  <a:pt x="1385600" y="6364032"/>
                </a:cubicBezTo>
                <a:cubicBezTo>
                  <a:pt x="1385600" y="6369393"/>
                  <a:pt x="1387495" y="6373797"/>
                  <a:pt x="1391284" y="6377243"/>
                </a:cubicBezTo>
                <a:cubicBezTo>
                  <a:pt x="1395073" y="6380689"/>
                  <a:pt x="1400494" y="6382412"/>
                  <a:pt x="1407548" y="6382412"/>
                </a:cubicBezTo>
                <a:cubicBezTo>
                  <a:pt x="1411821" y="6382412"/>
                  <a:pt x="1415821" y="6381707"/>
                  <a:pt x="1419550" y="6380296"/>
                </a:cubicBezTo>
                <a:cubicBezTo>
                  <a:pt x="1423278" y="6378885"/>
                  <a:pt x="1427158" y="6376467"/>
                  <a:pt x="1431188" y="6373041"/>
                </a:cubicBezTo>
                <a:cubicBezTo>
                  <a:pt x="1431511" y="6376064"/>
                  <a:pt x="1432236" y="6378704"/>
                  <a:pt x="1433365" y="6380961"/>
                </a:cubicBezTo>
                <a:lnTo>
                  <a:pt x="1444732" y="6380961"/>
                </a:lnTo>
                <a:cubicBezTo>
                  <a:pt x="1443361" y="6378502"/>
                  <a:pt x="1442444" y="6375933"/>
                  <a:pt x="1441981" y="6373252"/>
                </a:cubicBezTo>
                <a:cubicBezTo>
                  <a:pt x="1441517" y="6370572"/>
                  <a:pt x="1441285" y="6364173"/>
                  <a:pt x="1441285" y="6354056"/>
                </a:cubicBezTo>
                <a:lnTo>
                  <a:pt x="1441285" y="6339545"/>
                </a:lnTo>
                <a:cubicBezTo>
                  <a:pt x="1441285" y="6334708"/>
                  <a:pt x="1441104" y="6331363"/>
                  <a:pt x="1440741" y="6329509"/>
                </a:cubicBezTo>
                <a:cubicBezTo>
                  <a:pt x="1440096" y="6326526"/>
                  <a:pt x="1438968" y="6324057"/>
                  <a:pt x="1437355" y="6322102"/>
                </a:cubicBezTo>
                <a:cubicBezTo>
                  <a:pt x="1435743" y="6320147"/>
                  <a:pt x="1433224" y="6318525"/>
                  <a:pt x="1429798" y="6317235"/>
                </a:cubicBezTo>
                <a:cubicBezTo>
                  <a:pt x="1426372" y="6315945"/>
                  <a:pt x="1421917" y="6315300"/>
                  <a:pt x="1416436" y="6315300"/>
                </a:cubicBezTo>
                <a:close/>
                <a:moveTo>
                  <a:pt x="1167698" y="6315300"/>
                </a:moveTo>
                <a:cubicBezTo>
                  <a:pt x="1159757" y="6315300"/>
                  <a:pt x="1153026" y="6317678"/>
                  <a:pt x="1147503" y="6322435"/>
                </a:cubicBezTo>
                <a:cubicBezTo>
                  <a:pt x="1140893" y="6328158"/>
                  <a:pt x="1137588" y="6336965"/>
                  <a:pt x="1137588" y="6348856"/>
                </a:cubicBezTo>
                <a:cubicBezTo>
                  <a:pt x="1137588" y="6359699"/>
                  <a:pt x="1140359" y="6368002"/>
                  <a:pt x="1145901" y="6373766"/>
                </a:cubicBezTo>
                <a:cubicBezTo>
                  <a:pt x="1151443" y="6379530"/>
                  <a:pt x="1158709" y="6382412"/>
                  <a:pt x="1167698" y="6382412"/>
                </a:cubicBezTo>
                <a:cubicBezTo>
                  <a:pt x="1173300" y="6382412"/>
                  <a:pt x="1178470" y="6381102"/>
                  <a:pt x="1183206" y="6378482"/>
                </a:cubicBezTo>
                <a:cubicBezTo>
                  <a:pt x="1187942" y="6375862"/>
                  <a:pt x="1191550" y="6372184"/>
                  <a:pt x="1194028" y="6367448"/>
                </a:cubicBezTo>
                <a:cubicBezTo>
                  <a:pt x="1196507" y="6362712"/>
                  <a:pt x="1197747" y="6356212"/>
                  <a:pt x="1197747" y="6347949"/>
                </a:cubicBezTo>
                <a:cubicBezTo>
                  <a:pt x="1197747" y="6337751"/>
                  <a:pt x="1194945" y="6329761"/>
                  <a:pt x="1189343" y="6323976"/>
                </a:cubicBezTo>
                <a:cubicBezTo>
                  <a:pt x="1183740" y="6318192"/>
                  <a:pt x="1176525" y="6315300"/>
                  <a:pt x="1167698" y="6315300"/>
                </a:cubicBezTo>
                <a:close/>
                <a:moveTo>
                  <a:pt x="1057965" y="6315300"/>
                </a:moveTo>
                <a:cubicBezTo>
                  <a:pt x="1054619" y="6315300"/>
                  <a:pt x="1051485" y="6315733"/>
                  <a:pt x="1048563" y="6316600"/>
                </a:cubicBezTo>
                <a:cubicBezTo>
                  <a:pt x="1045641" y="6317467"/>
                  <a:pt x="1043333" y="6318525"/>
                  <a:pt x="1041640" y="6319774"/>
                </a:cubicBezTo>
                <a:cubicBezTo>
                  <a:pt x="1039383" y="6321387"/>
                  <a:pt x="1037599" y="6323412"/>
                  <a:pt x="1036289" y="6325851"/>
                </a:cubicBezTo>
                <a:cubicBezTo>
                  <a:pt x="1034979" y="6328289"/>
                  <a:pt x="1034324" y="6330939"/>
                  <a:pt x="1034324" y="6333801"/>
                </a:cubicBezTo>
                <a:cubicBezTo>
                  <a:pt x="1034324" y="6336945"/>
                  <a:pt x="1035120" y="6339817"/>
                  <a:pt x="1036712" y="6342417"/>
                </a:cubicBezTo>
                <a:cubicBezTo>
                  <a:pt x="1038304" y="6345017"/>
                  <a:pt x="1040642" y="6347052"/>
                  <a:pt x="1043726" y="6348524"/>
                </a:cubicBezTo>
                <a:cubicBezTo>
                  <a:pt x="1046809" y="6349995"/>
                  <a:pt x="1052342" y="6351738"/>
                  <a:pt x="1060323" y="6353754"/>
                </a:cubicBezTo>
                <a:cubicBezTo>
                  <a:pt x="1066248" y="6355245"/>
                  <a:pt x="1069956" y="6356474"/>
                  <a:pt x="1071447" y="6357442"/>
                </a:cubicBezTo>
                <a:cubicBezTo>
                  <a:pt x="1073584" y="6358853"/>
                  <a:pt x="1074652" y="6360787"/>
                  <a:pt x="1074652" y="6363246"/>
                </a:cubicBezTo>
                <a:cubicBezTo>
                  <a:pt x="1074652" y="6365987"/>
                  <a:pt x="1073443" y="6368375"/>
                  <a:pt x="1071024" y="6370411"/>
                </a:cubicBezTo>
                <a:cubicBezTo>
                  <a:pt x="1068606" y="6372446"/>
                  <a:pt x="1064898" y="6373464"/>
                  <a:pt x="1059899" y="6373464"/>
                </a:cubicBezTo>
                <a:cubicBezTo>
                  <a:pt x="1054942" y="6373464"/>
                  <a:pt x="1051082" y="6372315"/>
                  <a:pt x="1048321" y="6370018"/>
                </a:cubicBezTo>
                <a:cubicBezTo>
                  <a:pt x="1045560" y="6367720"/>
                  <a:pt x="1043877" y="6364415"/>
                  <a:pt x="1043272" y="6360102"/>
                </a:cubicBezTo>
                <a:lnTo>
                  <a:pt x="1032510" y="6361795"/>
                </a:lnTo>
                <a:cubicBezTo>
                  <a:pt x="1033720" y="6368607"/>
                  <a:pt x="1036511" y="6373746"/>
                  <a:pt x="1040884" y="6377213"/>
                </a:cubicBezTo>
                <a:cubicBezTo>
                  <a:pt x="1045258" y="6380679"/>
                  <a:pt x="1051616" y="6382412"/>
                  <a:pt x="1059960" y="6382412"/>
                </a:cubicBezTo>
                <a:cubicBezTo>
                  <a:pt x="1064998" y="6382412"/>
                  <a:pt x="1069513" y="6381536"/>
                  <a:pt x="1073503" y="6379782"/>
                </a:cubicBezTo>
                <a:cubicBezTo>
                  <a:pt x="1077494" y="6378029"/>
                  <a:pt x="1080547" y="6375550"/>
                  <a:pt x="1082663" y="6372345"/>
                </a:cubicBezTo>
                <a:cubicBezTo>
                  <a:pt x="1084779" y="6369141"/>
                  <a:pt x="1085837" y="6365725"/>
                  <a:pt x="1085837" y="6362097"/>
                </a:cubicBezTo>
                <a:cubicBezTo>
                  <a:pt x="1085837" y="6358389"/>
                  <a:pt x="1084971" y="6355285"/>
                  <a:pt x="1083237" y="6352786"/>
                </a:cubicBezTo>
                <a:cubicBezTo>
                  <a:pt x="1081504" y="6350287"/>
                  <a:pt x="1079116" y="6348383"/>
                  <a:pt x="1076073" y="6347073"/>
                </a:cubicBezTo>
                <a:cubicBezTo>
                  <a:pt x="1073030" y="6345763"/>
                  <a:pt x="1067659" y="6344080"/>
                  <a:pt x="1059960" y="6342024"/>
                </a:cubicBezTo>
                <a:cubicBezTo>
                  <a:pt x="1054639" y="6340573"/>
                  <a:pt x="1051435" y="6339646"/>
                  <a:pt x="1050346" y="6339243"/>
                </a:cubicBezTo>
                <a:cubicBezTo>
                  <a:pt x="1048452" y="6338477"/>
                  <a:pt x="1047061" y="6337510"/>
                  <a:pt x="1046175" y="6336341"/>
                </a:cubicBezTo>
                <a:cubicBezTo>
                  <a:pt x="1045288" y="6335212"/>
                  <a:pt x="1044844" y="6333942"/>
                  <a:pt x="1044844" y="6332532"/>
                </a:cubicBezTo>
                <a:cubicBezTo>
                  <a:pt x="1044844" y="6330315"/>
                  <a:pt x="1045913" y="6328380"/>
                  <a:pt x="1048049" y="6326727"/>
                </a:cubicBezTo>
                <a:cubicBezTo>
                  <a:pt x="1050185" y="6325075"/>
                  <a:pt x="1053753" y="6324248"/>
                  <a:pt x="1058751" y="6324248"/>
                </a:cubicBezTo>
                <a:cubicBezTo>
                  <a:pt x="1062983" y="6324248"/>
                  <a:pt x="1066258" y="6325176"/>
                  <a:pt x="1068576" y="6327030"/>
                </a:cubicBezTo>
                <a:cubicBezTo>
                  <a:pt x="1070893" y="6328884"/>
                  <a:pt x="1072294" y="6331463"/>
                  <a:pt x="1072778" y="6334769"/>
                </a:cubicBezTo>
                <a:lnTo>
                  <a:pt x="1083419" y="6333318"/>
                </a:lnTo>
                <a:cubicBezTo>
                  <a:pt x="1082734" y="6329166"/>
                  <a:pt x="1081484" y="6325851"/>
                  <a:pt x="1079670" y="6323372"/>
                </a:cubicBezTo>
                <a:cubicBezTo>
                  <a:pt x="1077856" y="6320893"/>
                  <a:pt x="1075045" y="6318928"/>
                  <a:pt x="1071236" y="6317477"/>
                </a:cubicBezTo>
                <a:cubicBezTo>
                  <a:pt x="1067427" y="6316026"/>
                  <a:pt x="1063003" y="6315300"/>
                  <a:pt x="1057965" y="6315300"/>
                </a:cubicBezTo>
                <a:close/>
                <a:moveTo>
                  <a:pt x="991290" y="6315300"/>
                </a:moveTo>
                <a:cubicBezTo>
                  <a:pt x="987944" y="6315300"/>
                  <a:pt x="984810" y="6315733"/>
                  <a:pt x="981888" y="6316600"/>
                </a:cubicBezTo>
                <a:cubicBezTo>
                  <a:pt x="978965" y="6317467"/>
                  <a:pt x="976658" y="6318525"/>
                  <a:pt x="974965" y="6319774"/>
                </a:cubicBezTo>
                <a:cubicBezTo>
                  <a:pt x="972708" y="6321387"/>
                  <a:pt x="970924" y="6323412"/>
                  <a:pt x="969614" y="6325851"/>
                </a:cubicBezTo>
                <a:cubicBezTo>
                  <a:pt x="968304" y="6328289"/>
                  <a:pt x="967649" y="6330939"/>
                  <a:pt x="967649" y="6333801"/>
                </a:cubicBezTo>
                <a:cubicBezTo>
                  <a:pt x="967649" y="6336945"/>
                  <a:pt x="968445" y="6339817"/>
                  <a:pt x="970037" y="6342417"/>
                </a:cubicBezTo>
                <a:cubicBezTo>
                  <a:pt x="971630" y="6345017"/>
                  <a:pt x="973967" y="6347052"/>
                  <a:pt x="977051" y="6348524"/>
                </a:cubicBezTo>
                <a:cubicBezTo>
                  <a:pt x="980134" y="6349995"/>
                  <a:pt x="985667" y="6351738"/>
                  <a:pt x="993648" y="6353754"/>
                </a:cubicBezTo>
                <a:cubicBezTo>
                  <a:pt x="999573" y="6355245"/>
                  <a:pt x="1003281" y="6356474"/>
                  <a:pt x="1004772" y="6357442"/>
                </a:cubicBezTo>
                <a:cubicBezTo>
                  <a:pt x="1006909" y="6358853"/>
                  <a:pt x="1007977" y="6360787"/>
                  <a:pt x="1007977" y="6363246"/>
                </a:cubicBezTo>
                <a:cubicBezTo>
                  <a:pt x="1007977" y="6365987"/>
                  <a:pt x="1006768" y="6368375"/>
                  <a:pt x="1004349" y="6370411"/>
                </a:cubicBezTo>
                <a:cubicBezTo>
                  <a:pt x="1001931" y="6372446"/>
                  <a:pt x="998222" y="6373464"/>
                  <a:pt x="993224" y="6373464"/>
                </a:cubicBezTo>
                <a:cubicBezTo>
                  <a:pt x="988266" y="6373464"/>
                  <a:pt x="984407" y="6372315"/>
                  <a:pt x="981646" y="6370018"/>
                </a:cubicBezTo>
                <a:cubicBezTo>
                  <a:pt x="978885" y="6367720"/>
                  <a:pt x="977202" y="6364415"/>
                  <a:pt x="976598" y="6360102"/>
                </a:cubicBezTo>
                <a:lnTo>
                  <a:pt x="965835" y="6361795"/>
                </a:lnTo>
                <a:cubicBezTo>
                  <a:pt x="967044" y="6368607"/>
                  <a:pt x="969836" y="6373746"/>
                  <a:pt x="974209" y="6377213"/>
                </a:cubicBezTo>
                <a:cubicBezTo>
                  <a:pt x="978583" y="6380679"/>
                  <a:pt x="984941" y="6382412"/>
                  <a:pt x="993285" y="6382412"/>
                </a:cubicBezTo>
                <a:cubicBezTo>
                  <a:pt x="998323" y="6382412"/>
                  <a:pt x="1002838" y="6381536"/>
                  <a:pt x="1006828" y="6379782"/>
                </a:cubicBezTo>
                <a:cubicBezTo>
                  <a:pt x="1010819" y="6378029"/>
                  <a:pt x="1013872" y="6375550"/>
                  <a:pt x="1015988" y="6372345"/>
                </a:cubicBezTo>
                <a:cubicBezTo>
                  <a:pt x="1018104" y="6369141"/>
                  <a:pt x="1019162" y="6365725"/>
                  <a:pt x="1019162" y="6362097"/>
                </a:cubicBezTo>
                <a:cubicBezTo>
                  <a:pt x="1019162" y="6358389"/>
                  <a:pt x="1018296" y="6355285"/>
                  <a:pt x="1016562" y="6352786"/>
                </a:cubicBezTo>
                <a:cubicBezTo>
                  <a:pt x="1014829" y="6350287"/>
                  <a:pt x="1012441" y="6348383"/>
                  <a:pt x="1009398" y="6347073"/>
                </a:cubicBezTo>
                <a:cubicBezTo>
                  <a:pt x="1006354" y="6345763"/>
                  <a:pt x="1000984" y="6344080"/>
                  <a:pt x="993285" y="6342024"/>
                </a:cubicBezTo>
                <a:cubicBezTo>
                  <a:pt x="987964" y="6340573"/>
                  <a:pt x="984760" y="6339646"/>
                  <a:pt x="983671" y="6339243"/>
                </a:cubicBezTo>
                <a:cubicBezTo>
                  <a:pt x="981777" y="6338477"/>
                  <a:pt x="980386" y="6337510"/>
                  <a:pt x="979500" y="6336341"/>
                </a:cubicBezTo>
                <a:cubicBezTo>
                  <a:pt x="978613" y="6335212"/>
                  <a:pt x="978170" y="6333942"/>
                  <a:pt x="978170" y="6332532"/>
                </a:cubicBezTo>
                <a:cubicBezTo>
                  <a:pt x="978170" y="6330315"/>
                  <a:pt x="979238" y="6328380"/>
                  <a:pt x="981374" y="6326727"/>
                </a:cubicBezTo>
                <a:cubicBezTo>
                  <a:pt x="983510" y="6325075"/>
                  <a:pt x="987077" y="6324248"/>
                  <a:pt x="992076" y="6324248"/>
                </a:cubicBezTo>
                <a:cubicBezTo>
                  <a:pt x="996308" y="6324248"/>
                  <a:pt x="999583" y="6325176"/>
                  <a:pt x="1001900" y="6327030"/>
                </a:cubicBezTo>
                <a:cubicBezTo>
                  <a:pt x="1004218" y="6328884"/>
                  <a:pt x="1005619" y="6331463"/>
                  <a:pt x="1006103" y="6334769"/>
                </a:cubicBezTo>
                <a:lnTo>
                  <a:pt x="1016744" y="6333318"/>
                </a:lnTo>
                <a:cubicBezTo>
                  <a:pt x="1016059" y="6329166"/>
                  <a:pt x="1014809" y="6325851"/>
                  <a:pt x="1012995" y="6323372"/>
                </a:cubicBezTo>
                <a:cubicBezTo>
                  <a:pt x="1011181" y="6320893"/>
                  <a:pt x="1008370" y="6318928"/>
                  <a:pt x="1004561" y="6317477"/>
                </a:cubicBezTo>
                <a:cubicBezTo>
                  <a:pt x="1000752" y="6316026"/>
                  <a:pt x="996328" y="6315300"/>
                  <a:pt x="991290" y="6315300"/>
                </a:cubicBezTo>
                <a:close/>
                <a:moveTo>
                  <a:pt x="929875" y="6315300"/>
                </a:moveTo>
                <a:cubicBezTo>
                  <a:pt x="921007" y="6315300"/>
                  <a:pt x="913792" y="6318283"/>
                  <a:pt x="908229" y="6324248"/>
                </a:cubicBezTo>
                <a:cubicBezTo>
                  <a:pt x="902667" y="6330214"/>
                  <a:pt x="899886" y="6338598"/>
                  <a:pt x="899886" y="6349400"/>
                </a:cubicBezTo>
                <a:cubicBezTo>
                  <a:pt x="899886" y="6359840"/>
                  <a:pt x="902637" y="6367952"/>
                  <a:pt x="908139" y="6373736"/>
                </a:cubicBezTo>
                <a:cubicBezTo>
                  <a:pt x="913641" y="6379520"/>
                  <a:pt x="921088" y="6382412"/>
                  <a:pt x="930479" y="6382412"/>
                </a:cubicBezTo>
                <a:cubicBezTo>
                  <a:pt x="937936" y="6382412"/>
                  <a:pt x="944063" y="6380598"/>
                  <a:pt x="948860" y="6376971"/>
                </a:cubicBezTo>
                <a:cubicBezTo>
                  <a:pt x="953656" y="6373343"/>
                  <a:pt x="956941" y="6368244"/>
                  <a:pt x="958715" y="6361674"/>
                </a:cubicBezTo>
                <a:lnTo>
                  <a:pt x="947469" y="6360283"/>
                </a:lnTo>
                <a:cubicBezTo>
                  <a:pt x="945816" y="6364879"/>
                  <a:pt x="943579" y="6368224"/>
                  <a:pt x="940758" y="6370320"/>
                </a:cubicBezTo>
                <a:cubicBezTo>
                  <a:pt x="937936" y="6372416"/>
                  <a:pt x="934530" y="6373464"/>
                  <a:pt x="930540" y="6373464"/>
                </a:cubicBezTo>
                <a:cubicBezTo>
                  <a:pt x="925179" y="6373464"/>
                  <a:pt x="920705" y="6371590"/>
                  <a:pt x="917117" y="6367841"/>
                </a:cubicBezTo>
                <a:cubicBezTo>
                  <a:pt x="913530" y="6364093"/>
                  <a:pt x="911535" y="6358691"/>
                  <a:pt x="911132" y="6351637"/>
                </a:cubicBezTo>
                <a:lnTo>
                  <a:pt x="959017" y="6351637"/>
                </a:lnTo>
                <a:cubicBezTo>
                  <a:pt x="959057" y="6350348"/>
                  <a:pt x="959078" y="6349380"/>
                  <a:pt x="959078" y="6348735"/>
                </a:cubicBezTo>
                <a:cubicBezTo>
                  <a:pt x="959078" y="6338134"/>
                  <a:pt x="956357" y="6329912"/>
                  <a:pt x="950915" y="6324067"/>
                </a:cubicBezTo>
                <a:cubicBezTo>
                  <a:pt x="945474" y="6318222"/>
                  <a:pt x="938460" y="6315300"/>
                  <a:pt x="929875" y="6315300"/>
                </a:cubicBezTo>
                <a:close/>
                <a:moveTo>
                  <a:pt x="867069" y="6315300"/>
                </a:moveTo>
                <a:cubicBezTo>
                  <a:pt x="858161" y="6315300"/>
                  <a:pt x="851349" y="6318827"/>
                  <a:pt x="846633" y="6325881"/>
                </a:cubicBezTo>
                <a:lnTo>
                  <a:pt x="846633" y="6316751"/>
                </a:lnTo>
                <a:lnTo>
                  <a:pt x="836839" y="6316751"/>
                </a:lnTo>
                <a:lnTo>
                  <a:pt x="836839" y="6380961"/>
                </a:lnTo>
                <a:lnTo>
                  <a:pt x="847722" y="6380961"/>
                </a:lnTo>
                <a:lnTo>
                  <a:pt x="847722" y="6345894"/>
                </a:lnTo>
                <a:cubicBezTo>
                  <a:pt x="847722" y="6337671"/>
                  <a:pt x="849405" y="6332088"/>
                  <a:pt x="852770" y="6329146"/>
                </a:cubicBezTo>
                <a:cubicBezTo>
                  <a:pt x="856136" y="6326203"/>
                  <a:pt x="860136" y="6324732"/>
                  <a:pt x="864772" y="6324732"/>
                </a:cubicBezTo>
                <a:cubicBezTo>
                  <a:pt x="867674" y="6324732"/>
                  <a:pt x="870203" y="6325387"/>
                  <a:pt x="872360" y="6326697"/>
                </a:cubicBezTo>
                <a:cubicBezTo>
                  <a:pt x="874516" y="6328007"/>
                  <a:pt x="876018" y="6329761"/>
                  <a:pt x="876864" y="6331957"/>
                </a:cubicBezTo>
                <a:cubicBezTo>
                  <a:pt x="877710" y="6334154"/>
                  <a:pt x="878134" y="6337469"/>
                  <a:pt x="878134" y="6341903"/>
                </a:cubicBezTo>
                <a:lnTo>
                  <a:pt x="878134" y="6380961"/>
                </a:lnTo>
                <a:lnTo>
                  <a:pt x="889017" y="6380961"/>
                </a:lnTo>
                <a:lnTo>
                  <a:pt x="889017" y="6341480"/>
                </a:lnTo>
                <a:cubicBezTo>
                  <a:pt x="889017" y="6336441"/>
                  <a:pt x="888815" y="6332915"/>
                  <a:pt x="888412" y="6330899"/>
                </a:cubicBezTo>
                <a:cubicBezTo>
                  <a:pt x="887767" y="6327796"/>
                  <a:pt x="886639" y="6325115"/>
                  <a:pt x="885026" y="6322858"/>
                </a:cubicBezTo>
                <a:cubicBezTo>
                  <a:pt x="883414" y="6320601"/>
                  <a:pt x="880985" y="6318777"/>
                  <a:pt x="877741" y="6317386"/>
                </a:cubicBezTo>
                <a:cubicBezTo>
                  <a:pt x="874496" y="6315995"/>
                  <a:pt x="870939" y="6315300"/>
                  <a:pt x="867069" y="6315300"/>
                </a:cubicBezTo>
                <a:close/>
                <a:moveTo>
                  <a:pt x="762690" y="6315300"/>
                </a:moveTo>
                <a:cubicBezTo>
                  <a:pt x="759344" y="6315300"/>
                  <a:pt x="756210" y="6315733"/>
                  <a:pt x="753288" y="6316600"/>
                </a:cubicBezTo>
                <a:cubicBezTo>
                  <a:pt x="750366" y="6317467"/>
                  <a:pt x="748058" y="6318525"/>
                  <a:pt x="746365" y="6319774"/>
                </a:cubicBezTo>
                <a:cubicBezTo>
                  <a:pt x="744108" y="6321387"/>
                  <a:pt x="742324" y="6323412"/>
                  <a:pt x="741014" y="6325851"/>
                </a:cubicBezTo>
                <a:cubicBezTo>
                  <a:pt x="739704" y="6328289"/>
                  <a:pt x="739049" y="6330939"/>
                  <a:pt x="739049" y="6333801"/>
                </a:cubicBezTo>
                <a:cubicBezTo>
                  <a:pt x="739049" y="6336945"/>
                  <a:pt x="739845" y="6339817"/>
                  <a:pt x="741437" y="6342417"/>
                </a:cubicBezTo>
                <a:cubicBezTo>
                  <a:pt x="743030" y="6345017"/>
                  <a:pt x="745367" y="6347052"/>
                  <a:pt x="748451" y="6348524"/>
                </a:cubicBezTo>
                <a:cubicBezTo>
                  <a:pt x="751534" y="6349995"/>
                  <a:pt x="757067" y="6351738"/>
                  <a:pt x="765048" y="6353754"/>
                </a:cubicBezTo>
                <a:cubicBezTo>
                  <a:pt x="770973" y="6355245"/>
                  <a:pt x="774681" y="6356474"/>
                  <a:pt x="776172" y="6357442"/>
                </a:cubicBezTo>
                <a:cubicBezTo>
                  <a:pt x="778309" y="6358853"/>
                  <a:pt x="779377" y="6360787"/>
                  <a:pt x="779377" y="6363246"/>
                </a:cubicBezTo>
                <a:cubicBezTo>
                  <a:pt x="779377" y="6365987"/>
                  <a:pt x="778168" y="6368375"/>
                  <a:pt x="775749" y="6370411"/>
                </a:cubicBezTo>
                <a:cubicBezTo>
                  <a:pt x="773331" y="6372446"/>
                  <a:pt x="769623" y="6373464"/>
                  <a:pt x="764624" y="6373464"/>
                </a:cubicBezTo>
                <a:cubicBezTo>
                  <a:pt x="759666" y="6373464"/>
                  <a:pt x="755807" y="6372315"/>
                  <a:pt x="753046" y="6370018"/>
                </a:cubicBezTo>
                <a:cubicBezTo>
                  <a:pt x="750285" y="6367720"/>
                  <a:pt x="748602" y="6364415"/>
                  <a:pt x="747997" y="6360102"/>
                </a:cubicBezTo>
                <a:lnTo>
                  <a:pt x="737235" y="6361795"/>
                </a:lnTo>
                <a:cubicBezTo>
                  <a:pt x="738445" y="6368607"/>
                  <a:pt x="741236" y="6373746"/>
                  <a:pt x="745609" y="6377213"/>
                </a:cubicBezTo>
                <a:cubicBezTo>
                  <a:pt x="749983" y="6380679"/>
                  <a:pt x="756341" y="6382412"/>
                  <a:pt x="764685" y="6382412"/>
                </a:cubicBezTo>
                <a:cubicBezTo>
                  <a:pt x="769723" y="6382412"/>
                  <a:pt x="774238" y="6381536"/>
                  <a:pt x="778228" y="6379782"/>
                </a:cubicBezTo>
                <a:cubicBezTo>
                  <a:pt x="782219" y="6378029"/>
                  <a:pt x="785272" y="6375550"/>
                  <a:pt x="787388" y="6372345"/>
                </a:cubicBezTo>
                <a:cubicBezTo>
                  <a:pt x="789504" y="6369141"/>
                  <a:pt x="790562" y="6365725"/>
                  <a:pt x="790562" y="6362097"/>
                </a:cubicBezTo>
                <a:cubicBezTo>
                  <a:pt x="790562" y="6358389"/>
                  <a:pt x="789696" y="6355285"/>
                  <a:pt x="787962" y="6352786"/>
                </a:cubicBezTo>
                <a:cubicBezTo>
                  <a:pt x="786229" y="6350287"/>
                  <a:pt x="783841" y="6348383"/>
                  <a:pt x="780798" y="6347073"/>
                </a:cubicBezTo>
                <a:cubicBezTo>
                  <a:pt x="777754" y="6345763"/>
                  <a:pt x="772383" y="6344080"/>
                  <a:pt x="764685" y="6342024"/>
                </a:cubicBezTo>
                <a:cubicBezTo>
                  <a:pt x="759364" y="6340573"/>
                  <a:pt x="756160" y="6339646"/>
                  <a:pt x="755071" y="6339243"/>
                </a:cubicBezTo>
                <a:cubicBezTo>
                  <a:pt x="753177" y="6338477"/>
                  <a:pt x="751786" y="6337510"/>
                  <a:pt x="750900" y="6336341"/>
                </a:cubicBezTo>
                <a:cubicBezTo>
                  <a:pt x="750013" y="6335212"/>
                  <a:pt x="749569" y="6333942"/>
                  <a:pt x="749569" y="6332532"/>
                </a:cubicBezTo>
                <a:cubicBezTo>
                  <a:pt x="749569" y="6330315"/>
                  <a:pt x="750638" y="6328380"/>
                  <a:pt x="752774" y="6326727"/>
                </a:cubicBezTo>
                <a:cubicBezTo>
                  <a:pt x="754910" y="6325075"/>
                  <a:pt x="758477" y="6324248"/>
                  <a:pt x="763476" y="6324248"/>
                </a:cubicBezTo>
                <a:cubicBezTo>
                  <a:pt x="767708" y="6324248"/>
                  <a:pt x="770983" y="6325176"/>
                  <a:pt x="773301" y="6327030"/>
                </a:cubicBezTo>
                <a:cubicBezTo>
                  <a:pt x="775618" y="6328884"/>
                  <a:pt x="777019" y="6331463"/>
                  <a:pt x="777503" y="6334769"/>
                </a:cubicBezTo>
                <a:lnTo>
                  <a:pt x="788144" y="6333318"/>
                </a:lnTo>
                <a:cubicBezTo>
                  <a:pt x="787459" y="6329166"/>
                  <a:pt x="786209" y="6325851"/>
                  <a:pt x="784395" y="6323372"/>
                </a:cubicBezTo>
                <a:cubicBezTo>
                  <a:pt x="782581" y="6320893"/>
                  <a:pt x="779770" y="6318928"/>
                  <a:pt x="775961" y="6317477"/>
                </a:cubicBezTo>
                <a:cubicBezTo>
                  <a:pt x="772152" y="6316026"/>
                  <a:pt x="767728" y="6315300"/>
                  <a:pt x="762690" y="6315300"/>
                </a:cubicBezTo>
                <a:close/>
                <a:moveTo>
                  <a:pt x="525681" y="6301636"/>
                </a:moveTo>
                <a:cubicBezTo>
                  <a:pt x="527051" y="6306432"/>
                  <a:pt x="529147" y="6312559"/>
                  <a:pt x="531969" y="6320016"/>
                </a:cubicBezTo>
                <a:lnTo>
                  <a:pt x="541219" y="6344563"/>
                </a:lnTo>
                <a:lnTo>
                  <a:pt x="511170" y="6344563"/>
                </a:lnTo>
                <a:lnTo>
                  <a:pt x="520904" y="6318565"/>
                </a:lnTo>
                <a:cubicBezTo>
                  <a:pt x="522960" y="6312962"/>
                  <a:pt x="524552" y="6307319"/>
                  <a:pt x="525681" y="6301636"/>
                </a:cubicBezTo>
                <a:close/>
                <a:moveTo>
                  <a:pt x="1847396" y="6292325"/>
                </a:moveTo>
                <a:lnTo>
                  <a:pt x="1847396" y="6380961"/>
                </a:lnTo>
                <a:lnTo>
                  <a:pt x="1902778" y="6380961"/>
                </a:lnTo>
                <a:lnTo>
                  <a:pt x="1902778" y="6370501"/>
                </a:lnTo>
                <a:lnTo>
                  <a:pt x="1859125" y="6370501"/>
                </a:lnTo>
                <a:lnTo>
                  <a:pt x="1859125" y="6292325"/>
                </a:lnTo>
                <a:close/>
                <a:moveTo>
                  <a:pt x="1676067" y="6292325"/>
                </a:moveTo>
                <a:lnTo>
                  <a:pt x="1676067" y="6380961"/>
                </a:lnTo>
                <a:lnTo>
                  <a:pt x="1687373" y="6380961"/>
                </a:lnTo>
                <a:lnTo>
                  <a:pt x="1687373" y="6305505"/>
                </a:lnTo>
                <a:lnTo>
                  <a:pt x="1713008" y="6380961"/>
                </a:lnTo>
                <a:lnTo>
                  <a:pt x="1723589" y="6380961"/>
                </a:lnTo>
                <a:lnTo>
                  <a:pt x="1749346" y="6306775"/>
                </a:lnTo>
                <a:lnTo>
                  <a:pt x="1749346" y="6380961"/>
                </a:lnTo>
                <a:lnTo>
                  <a:pt x="1760652" y="6380961"/>
                </a:lnTo>
                <a:lnTo>
                  <a:pt x="1760652" y="6292325"/>
                </a:lnTo>
                <a:lnTo>
                  <a:pt x="1744872" y="6292325"/>
                </a:lnTo>
                <a:lnTo>
                  <a:pt x="1723650" y="6353995"/>
                </a:lnTo>
                <a:cubicBezTo>
                  <a:pt x="1721513" y="6360243"/>
                  <a:pt x="1719941" y="6364979"/>
                  <a:pt x="1718933" y="6368204"/>
                </a:cubicBezTo>
                <a:cubicBezTo>
                  <a:pt x="1718047" y="6365302"/>
                  <a:pt x="1716636" y="6360928"/>
                  <a:pt x="1714701" y="6355084"/>
                </a:cubicBezTo>
                <a:lnTo>
                  <a:pt x="1693721" y="6292325"/>
                </a:lnTo>
                <a:close/>
                <a:moveTo>
                  <a:pt x="1560739" y="6292325"/>
                </a:moveTo>
                <a:lnTo>
                  <a:pt x="1560739" y="6380961"/>
                </a:lnTo>
                <a:lnTo>
                  <a:pt x="1571622" y="6380961"/>
                </a:lnTo>
                <a:lnTo>
                  <a:pt x="1571622" y="6345833"/>
                </a:lnTo>
                <a:cubicBezTo>
                  <a:pt x="1571622" y="6340795"/>
                  <a:pt x="1572226" y="6336845"/>
                  <a:pt x="1573435" y="6333983"/>
                </a:cubicBezTo>
                <a:cubicBezTo>
                  <a:pt x="1574645" y="6331121"/>
                  <a:pt x="1576670" y="6328854"/>
                  <a:pt x="1579512" y="6327181"/>
                </a:cubicBezTo>
                <a:cubicBezTo>
                  <a:pt x="1582354" y="6325508"/>
                  <a:pt x="1585387" y="6324672"/>
                  <a:pt x="1588611" y="6324672"/>
                </a:cubicBezTo>
                <a:cubicBezTo>
                  <a:pt x="1592924" y="6324672"/>
                  <a:pt x="1596260" y="6325911"/>
                  <a:pt x="1598618" y="6328390"/>
                </a:cubicBezTo>
                <a:cubicBezTo>
                  <a:pt x="1600976" y="6330869"/>
                  <a:pt x="1602155" y="6334829"/>
                  <a:pt x="1602155" y="6340271"/>
                </a:cubicBezTo>
                <a:lnTo>
                  <a:pt x="1602155" y="6380961"/>
                </a:lnTo>
                <a:lnTo>
                  <a:pt x="1613038" y="6380961"/>
                </a:lnTo>
                <a:lnTo>
                  <a:pt x="1613038" y="6340271"/>
                </a:lnTo>
                <a:cubicBezTo>
                  <a:pt x="1613038" y="6333983"/>
                  <a:pt x="1612282" y="6329186"/>
                  <a:pt x="1610771" y="6325881"/>
                </a:cubicBezTo>
                <a:cubicBezTo>
                  <a:pt x="1609259" y="6322576"/>
                  <a:pt x="1606750" y="6319986"/>
                  <a:pt x="1603243" y="6318112"/>
                </a:cubicBezTo>
                <a:cubicBezTo>
                  <a:pt x="1599736" y="6316237"/>
                  <a:pt x="1595605" y="6315300"/>
                  <a:pt x="1590848" y="6315300"/>
                </a:cubicBezTo>
                <a:cubicBezTo>
                  <a:pt x="1583109" y="6315300"/>
                  <a:pt x="1576700" y="6318243"/>
                  <a:pt x="1571622" y="6324128"/>
                </a:cubicBezTo>
                <a:lnTo>
                  <a:pt x="1571622" y="6292325"/>
                </a:lnTo>
                <a:close/>
                <a:moveTo>
                  <a:pt x="1285542" y="6292325"/>
                </a:moveTo>
                <a:lnTo>
                  <a:pt x="1285542" y="6380961"/>
                </a:lnTo>
                <a:lnTo>
                  <a:pt x="1296848" y="6380961"/>
                </a:lnTo>
                <a:lnTo>
                  <a:pt x="1296848" y="6305505"/>
                </a:lnTo>
                <a:lnTo>
                  <a:pt x="1322484" y="6380961"/>
                </a:lnTo>
                <a:lnTo>
                  <a:pt x="1333064" y="6380961"/>
                </a:lnTo>
                <a:lnTo>
                  <a:pt x="1358821" y="6306775"/>
                </a:lnTo>
                <a:lnTo>
                  <a:pt x="1358821" y="6380961"/>
                </a:lnTo>
                <a:lnTo>
                  <a:pt x="1370127" y="6380961"/>
                </a:lnTo>
                <a:lnTo>
                  <a:pt x="1370127" y="6292325"/>
                </a:lnTo>
                <a:lnTo>
                  <a:pt x="1354347" y="6292325"/>
                </a:lnTo>
                <a:lnTo>
                  <a:pt x="1333125" y="6353995"/>
                </a:lnTo>
                <a:cubicBezTo>
                  <a:pt x="1330988" y="6360243"/>
                  <a:pt x="1329416" y="6364979"/>
                  <a:pt x="1328409" y="6368204"/>
                </a:cubicBezTo>
                <a:cubicBezTo>
                  <a:pt x="1327522" y="6365302"/>
                  <a:pt x="1326111" y="6360928"/>
                  <a:pt x="1324176" y="6355084"/>
                </a:cubicBezTo>
                <a:lnTo>
                  <a:pt x="1303196" y="6292325"/>
                </a:lnTo>
                <a:close/>
                <a:moveTo>
                  <a:pt x="808324" y="6292325"/>
                </a:moveTo>
                <a:lnTo>
                  <a:pt x="808324" y="6304840"/>
                </a:lnTo>
                <a:lnTo>
                  <a:pt x="819207" y="6304840"/>
                </a:lnTo>
                <a:lnTo>
                  <a:pt x="819207" y="6292325"/>
                </a:lnTo>
                <a:close/>
                <a:moveTo>
                  <a:pt x="608178" y="6292325"/>
                </a:moveTo>
                <a:lnTo>
                  <a:pt x="608178" y="6380961"/>
                </a:lnTo>
                <a:lnTo>
                  <a:pt x="618275" y="6380961"/>
                </a:lnTo>
                <a:lnTo>
                  <a:pt x="618275" y="6372920"/>
                </a:lnTo>
                <a:cubicBezTo>
                  <a:pt x="622588" y="6379248"/>
                  <a:pt x="628533" y="6382412"/>
                  <a:pt x="636111" y="6382412"/>
                </a:cubicBezTo>
                <a:cubicBezTo>
                  <a:pt x="643729" y="6382412"/>
                  <a:pt x="650259" y="6379409"/>
                  <a:pt x="655701" y="6373404"/>
                </a:cubicBezTo>
                <a:cubicBezTo>
                  <a:pt x="661142" y="6367398"/>
                  <a:pt x="663863" y="6358893"/>
                  <a:pt x="663863" y="6347889"/>
                </a:cubicBezTo>
                <a:cubicBezTo>
                  <a:pt x="663863" y="6343253"/>
                  <a:pt x="663218" y="6338900"/>
                  <a:pt x="661928" y="6334829"/>
                </a:cubicBezTo>
                <a:cubicBezTo>
                  <a:pt x="660638" y="6330758"/>
                  <a:pt x="658855" y="6327282"/>
                  <a:pt x="656577" y="6324400"/>
                </a:cubicBezTo>
                <a:cubicBezTo>
                  <a:pt x="654300" y="6321518"/>
                  <a:pt x="651398" y="6319281"/>
                  <a:pt x="647871" y="6317688"/>
                </a:cubicBezTo>
                <a:cubicBezTo>
                  <a:pt x="644344" y="6316096"/>
                  <a:pt x="640606" y="6315300"/>
                  <a:pt x="636655" y="6315300"/>
                </a:cubicBezTo>
                <a:cubicBezTo>
                  <a:pt x="629521" y="6315300"/>
                  <a:pt x="623656" y="6318182"/>
                  <a:pt x="619061" y="6323946"/>
                </a:cubicBezTo>
                <a:lnTo>
                  <a:pt x="619061" y="6292325"/>
                </a:lnTo>
                <a:close/>
                <a:moveTo>
                  <a:pt x="519635" y="6292325"/>
                </a:moveTo>
                <a:lnTo>
                  <a:pt x="485595" y="6380961"/>
                </a:lnTo>
                <a:lnTo>
                  <a:pt x="498050" y="6380961"/>
                </a:lnTo>
                <a:lnTo>
                  <a:pt x="507784" y="6354116"/>
                </a:lnTo>
                <a:lnTo>
                  <a:pt x="544847" y="6354116"/>
                </a:lnTo>
                <a:lnTo>
                  <a:pt x="555186" y="6380961"/>
                </a:lnTo>
                <a:lnTo>
                  <a:pt x="568548" y="6380961"/>
                </a:lnTo>
                <a:lnTo>
                  <a:pt x="532271" y="6292325"/>
                </a:lnTo>
                <a:close/>
                <a:moveTo>
                  <a:pt x="1228689" y="6290813"/>
                </a:moveTo>
                <a:cubicBezTo>
                  <a:pt x="1223933" y="6290813"/>
                  <a:pt x="1220235" y="6291690"/>
                  <a:pt x="1217594" y="6293443"/>
                </a:cubicBezTo>
                <a:cubicBezTo>
                  <a:pt x="1214954" y="6295197"/>
                  <a:pt x="1213110" y="6297484"/>
                  <a:pt x="1212062" y="6300306"/>
                </a:cubicBezTo>
                <a:cubicBezTo>
                  <a:pt x="1211296" y="6302402"/>
                  <a:pt x="1210914" y="6305606"/>
                  <a:pt x="1210914" y="6309919"/>
                </a:cubicBezTo>
                <a:lnTo>
                  <a:pt x="1210914" y="6316751"/>
                </a:lnTo>
                <a:lnTo>
                  <a:pt x="1201300" y="6316751"/>
                </a:lnTo>
                <a:lnTo>
                  <a:pt x="1201300" y="6325216"/>
                </a:lnTo>
                <a:lnTo>
                  <a:pt x="1210914" y="6325216"/>
                </a:lnTo>
                <a:lnTo>
                  <a:pt x="1210914" y="6380961"/>
                </a:lnTo>
                <a:lnTo>
                  <a:pt x="1221736" y="6380961"/>
                </a:lnTo>
                <a:lnTo>
                  <a:pt x="1221736" y="6325216"/>
                </a:lnTo>
                <a:lnTo>
                  <a:pt x="1234252" y="6325216"/>
                </a:lnTo>
                <a:lnTo>
                  <a:pt x="1234252" y="6316751"/>
                </a:lnTo>
                <a:lnTo>
                  <a:pt x="1221736" y="6316751"/>
                </a:lnTo>
                <a:lnTo>
                  <a:pt x="1221736" y="6310826"/>
                </a:lnTo>
                <a:cubicBezTo>
                  <a:pt x="1221736" y="6306956"/>
                  <a:pt x="1222421" y="6304316"/>
                  <a:pt x="1223792" y="6302906"/>
                </a:cubicBezTo>
                <a:cubicBezTo>
                  <a:pt x="1225162" y="6301495"/>
                  <a:pt x="1227500" y="6300789"/>
                  <a:pt x="1230805" y="6300789"/>
                </a:cubicBezTo>
                <a:cubicBezTo>
                  <a:pt x="1232820" y="6300789"/>
                  <a:pt x="1234957" y="6300991"/>
                  <a:pt x="1237214" y="6301394"/>
                </a:cubicBezTo>
                <a:lnTo>
                  <a:pt x="1238847" y="6291902"/>
                </a:lnTo>
                <a:cubicBezTo>
                  <a:pt x="1235138" y="6291176"/>
                  <a:pt x="1231753" y="6290813"/>
                  <a:pt x="1228689" y="6290813"/>
                </a:cubicBezTo>
                <a:close/>
                <a:moveTo>
                  <a:pt x="7175501" y="1"/>
                </a:moveTo>
                <a:lnTo>
                  <a:pt x="12191999" y="1"/>
                </a:lnTo>
                <a:lnTo>
                  <a:pt x="12191999" y="6858001"/>
                </a:lnTo>
                <a:lnTo>
                  <a:pt x="1" y="6858001"/>
                </a:lnTo>
                <a:lnTo>
                  <a:pt x="1" y="5752619"/>
                </a:lnTo>
                <a:lnTo>
                  <a:pt x="7175501" y="5752619"/>
                </a:lnTo>
                <a:close/>
                <a:moveTo>
                  <a:pt x="0" y="0"/>
                </a:moveTo>
                <a:lnTo>
                  <a:pt x="7175501" y="0"/>
                </a:lnTo>
                <a:lnTo>
                  <a:pt x="7175501" y="1"/>
                </a:lnTo>
                <a:lnTo>
                  <a:pt x="1" y="1"/>
                </a:lnTo>
                <a:lnTo>
                  <a:pt x="1" y="5752619"/>
                </a:lnTo>
                <a:lnTo>
                  <a:pt x="0" y="5752619"/>
                </a:lnTo>
                <a:close/>
              </a:path>
            </a:pathLst>
          </a:custGeom>
          <a:solidFill>
            <a:srgbClr val="F0F0F0"/>
          </a:solidFill>
        </p:spPr>
        <p:txBody>
          <a:bodyPr wrap="square">
            <a:no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1200">
                <a:solidFill>
                  <a:srgbClr val="FF0000"/>
                </a:solidFill>
              </a:defRPr>
            </a:lvl1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t>Click on picture icon to insert picture. Reset layout.</a:t>
            </a:r>
          </a:p>
        </p:txBody>
      </p:sp>
      <p:sp>
        <p:nvSpPr>
          <p:cNvPr id="12"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baseline="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a:t>
            </a:r>
            <a:r>
              <a:rPr lang="en-US" sz="1000" dirty="0">
                <a:ea typeface="Open Sans" panose="020B0606030504020204" pitchFamily="34" charset="0"/>
                <a:cs typeface="Arial" panose="020B0604020202020204" pitchFamily="34" charset="0"/>
              </a:rPr>
              <a:t>Give the logo equal visual weight as Marsh’s. </a:t>
            </a:r>
            <a:r>
              <a:rPr lang="en-US" dirty="0"/>
              <a:t>Delete box if not used.</a:t>
            </a:r>
          </a:p>
        </p:txBody>
      </p:sp>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609725"/>
            <a:ext cx="6485763" cy="1600200"/>
          </a:xfrm>
        </p:spPr>
        <p:txBody>
          <a:bodyPr vert="horz" anchor="b" anchorCtr="0"/>
          <a:lstStyle>
            <a:lvl1pPr>
              <a:lnSpc>
                <a:spcPct val="90000"/>
              </a:lnSpc>
              <a:defRPr lang="en-US" sz="4800" b="1" i="0" kern="1200" cap="none" baseline="0" dirty="0">
                <a:solidFill>
                  <a:schemeClr val="bg1"/>
                </a:solidFill>
                <a:latin typeface="Arial" panose="020B0604020202020204" pitchFamily="34" charset="0"/>
                <a:ea typeface="+mj-ea"/>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405820"/>
            <a:ext cx="6447769" cy="807913"/>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9" name="Text Placeholder 3">
            <a:extLst>
              <a:ext uri="{FF2B5EF4-FFF2-40B4-BE49-F238E27FC236}">
                <a16:creationId xmlns:a16="http://schemas.microsoft.com/office/drawing/2014/main" id="{408D7265-22AD-444D-9DAE-694197297FA6}"/>
              </a:ext>
            </a:extLst>
          </p:cNvPr>
          <p:cNvSpPr>
            <a:spLocks noGrp="1"/>
          </p:cNvSpPr>
          <p:nvPr>
            <p:ph type="body" sz="half" idx="2" hasCustomPrompt="1"/>
          </p:nvPr>
        </p:nvSpPr>
        <p:spPr>
          <a:xfrm>
            <a:off x="485775" y="4429126"/>
            <a:ext cx="64484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pic>
        <p:nvPicPr>
          <p:cNvPr id="73" name="Graphic 12">
            <a:extLst>
              <a:ext uri="{FF2B5EF4-FFF2-40B4-BE49-F238E27FC236}">
                <a16:creationId xmlns:a16="http://schemas.microsoft.com/office/drawing/2014/main" id="{D426043B-0359-FC46-BCF1-DAFF274E758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86803" y="341762"/>
            <a:ext cx="1623974" cy="338328"/>
          </a:xfrm>
          <a:prstGeom prst="rect">
            <a:avLst/>
          </a:prstGeom>
        </p:spPr>
      </p:pic>
      <p:pic>
        <p:nvPicPr>
          <p:cNvPr id="4" name="Picture 3"/>
          <p:cNvPicPr>
            <a:picLocks noChangeAspect="1"/>
          </p:cNvPicPr>
          <p:nvPr userDrawn="1"/>
        </p:nvPicPr>
        <p:blipFill>
          <a:blip r:embed="rId7"/>
          <a:stretch>
            <a:fillRect/>
          </a:stretch>
        </p:blipFill>
        <p:spPr>
          <a:xfrm>
            <a:off x="486803" y="1174876"/>
            <a:ext cx="3548512" cy="438912"/>
          </a:xfrm>
          <a:prstGeom prst="rect">
            <a:avLst/>
          </a:prstGeom>
        </p:spPr>
      </p:pic>
    </p:spTree>
    <p:extLst>
      <p:ext uri="{BB962C8B-B14F-4D97-AF65-F5344CB8AC3E}">
        <p14:creationId xmlns:p14="http://schemas.microsoft.com/office/powerpoint/2010/main" val="218170298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itle slide A: image light box">
    <p:bg>
      <p:bgPr>
        <a:solidFill>
          <a:schemeClr val="accent3"/>
        </a:solidFill>
        <a:effectLst/>
      </p:bgPr>
    </p:bg>
    <p:spTree>
      <p:nvGrpSpPr>
        <p:cNvPr id="1" name=""/>
        <p:cNvGrpSpPr/>
        <p:nvPr/>
      </p:nvGrpSpPr>
      <p:grpSpPr>
        <a:xfrm>
          <a:off x="0" y="0"/>
          <a:ext cx="0" cy="0"/>
          <a:chOff x="0" y="0"/>
          <a:chExt cx="0" cy="0"/>
        </a:xfrm>
      </p:grpSpPr>
      <p:sp>
        <p:nvSpPr>
          <p:cNvPr id="17" name="Rectangle 16"/>
          <p:cNvSpPr/>
          <p:nvPr userDrawn="1"/>
        </p:nvSpPr>
        <p:spPr>
          <a:xfrm>
            <a:off x="355599" y="6121400"/>
            <a:ext cx="2032001" cy="4953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Picture Placeholder 17">
            <a:extLst>
              <a:ext uri="{FF2B5EF4-FFF2-40B4-BE49-F238E27FC236}">
                <a16:creationId xmlns:a16="http://schemas.microsoft.com/office/drawing/2014/main" id="{73319BE5-0EF3-DD4B-B826-A8E9F0755285}"/>
              </a:ext>
            </a:extLst>
          </p:cNvPr>
          <p:cNvSpPr>
            <a:spLocks noGrp="1"/>
          </p:cNvSpPr>
          <p:nvPr>
            <p:ph type="pic" sz="quarter" idx="10" hasCustomPrompt="1"/>
          </p:nvPr>
        </p:nvSpPr>
        <p:spPr>
          <a:xfrm>
            <a:off x="-1" y="-1"/>
            <a:ext cx="12191999" cy="6858001"/>
          </a:xfrm>
          <a:custGeom>
            <a:avLst/>
            <a:gdLst>
              <a:gd name="connsiteX0" fmla="*/ 2154182 w 12191999"/>
              <a:gd name="connsiteY0" fmla="*/ 6348735 h 6858001"/>
              <a:gd name="connsiteX1" fmla="*/ 2154182 w 12191999"/>
              <a:gd name="connsiteY1" fmla="*/ 6352726 h 6858001"/>
              <a:gd name="connsiteX2" fmla="*/ 2152428 w 12191999"/>
              <a:gd name="connsiteY2" fmla="*/ 6363609 h 6858001"/>
              <a:gd name="connsiteX3" fmla="*/ 2145233 w 12191999"/>
              <a:gd name="connsiteY3" fmla="*/ 6371136 h 6858001"/>
              <a:gd name="connsiteX4" fmla="*/ 2134048 w 12191999"/>
              <a:gd name="connsiteY4" fmla="*/ 6373887 h 6858001"/>
              <a:gd name="connsiteX5" fmla="*/ 2124404 w 12191999"/>
              <a:gd name="connsiteY5" fmla="*/ 6370985 h 6858001"/>
              <a:gd name="connsiteX6" fmla="*/ 2121109 w 12191999"/>
              <a:gd name="connsiteY6" fmla="*/ 6363730 h 6858001"/>
              <a:gd name="connsiteX7" fmla="*/ 2122621 w 12191999"/>
              <a:gd name="connsiteY7" fmla="*/ 6358560 h 6858001"/>
              <a:gd name="connsiteX8" fmla="*/ 2126913 w 12191999"/>
              <a:gd name="connsiteY8" fmla="*/ 6355023 h 6858001"/>
              <a:gd name="connsiteX9" fmla="*/ 2136406 w 12191999"/>
              <a:gd name="connsiteY9" fmla="*/ 6352847 h 6858001"/>
              <a:gd name="connsiteX10" fmla="*/ 2154182 w 12191999"/>
              <a:gd name="connsiteY10" fmla="*/ 6348735 h 6858001"/>
              <a:gd name="connsiteX11" fmla="*/ 1430281 w 12191999"/>
              <a:gd name="connsiteY11" fmla="*/ 6348735 h 6858001"/>
              <a:gd name="connsiteX12" fmla="*/ 1430281 w 12191999"/>
              <a:gd name="connsiteY12" fmla="*/ 6352726 h 6858001"/>
              <a:gd name="connsiteX13" fmla="*/ 1428528 w 12191999"/>
              <a:gd name="connsiteY13" fmla="*/ 6363609 h 6858001"/>
              <a:gd name="connsiteX14" fmla="*/ 1421333 w 12191999"/>
              <a:gd name="connsiteY14" fmla="*/ 6371136 h 6858001"/>
              <a:gd name="connsiteX15" fmla="*/ 1410148 w 12191999"/>
              <a:gd name="connsiteY15" fmla="*/ 6373887 h 6858001"/>
              <a:gd name="connsiteX16" fmla="*/ 1400504 w 12191999"/>
              <a:gd name="connsiteY16" fmla="*/ 6370985 h 6858001"/>
              <a:gd name="connsiteX17" fmla="*/ 1397209 w 12191999"/>
              <a:gd name="connsiteY17" fmla="*/ 6363730 h 6858001"/>
              <a:gd name="connsiteX18" fmla="*/ 1398721 w 12191999"/>
              <a:gd name="connsiteY18" fmla="*/ 6358560 h 6858001"/>
              <a:gd name="connsiteX19" fmla="*/ 1403013 w 12191999"/>
              <a:gd name="connsiteY19" fmla="*/ 6355023 h 6858001"/>
              <a:gd name="connsiteX20" fmla="*/ 1412506 w 12191999"/>
              <a:gd name="connsiteY20" fmla="*/ 6352847 h 6858001"/>
              <a:gd name="connsiteX21" fmla="*/ 1430281 w 12191999"/>
              <a:gd name="connsiteY21" fmla="*/ 6348735 h 6858001"/>
              <a:gd name="connsiteX22" fmla="*/ 1167698 w 12191999"/>
              <a:gd name="connsiteY22" fmla="*/ 6324309 h 6858001"/>
              <a:gd name="connsiteX23" fmla="*/ 1181150 w 12191999"/>
              <a:gd name="connsiteY23" fmla="*/ 6330446 h 6858001"/>
              <a:gd name="connsiteX24" fmla="*/ 1186561 w 12191999"/>
              <a:gd name="connsiteY24" fmla="*/ 6348493 h 6858001"/>
              <a:gd name="connsiteX25" fmla="*/ 1181180 w 12191999"/>
              <a:gd name="connsiteY25" fmla="*/ 6367297 h 6858001"/>
              <a:gd name="connsiteX26" fmla="*/ 1167698 w 12191999"/>
              <a:gd name="connsiteY26" fmla="*/ 6373464 h 6858001"/>
              <a:gd name="connsiteX27" fmla="*/ 1154154 w 12191999"/>
              <a:gd name="connsiteY27" fmla="*/ 6367327 h 6858001"/>
              <a:gd name="connsiteX28" fmla="*/ 1148773 w 12191999"/>
              <a:gd name="connsiteY28" fmla="*/ 6348856 h 6858001"/>
              <a:gd name="connsiteX29" fmla="*/ 1154154 w 12191999"/>
              <a:gd name="connsiteY29" fmla="*/ 6330415 h 6858001"/>
              <a:gd name="connsiteX30" fmla="*/ 1167698 w 12191999"/>
              <a:gd name="connsiteY30" fmla="*/ 6324309 h 6858001"/>
              <a:gd name="connsiteX31" fmla="*/ 1939646 w 12191999"/>
              <a:gd name="connsiteY31" fmla="*/ 6324248 h 6858001"/>
              <a:gd name="connsiteX32" fmla="*/ 1953129 w 12191999"/>
              <a:gd name="connsiteY32" fmla="*/ 6330536 h 6858001"/>
              <a:gd name="connsiteX33" fmla="*/ 1957240 w 12191999"/>
              <a:gd name="connsiteY33" fmla="*/ 6342689 h 6858001"/>
              <a:gd name="connsiteX34" fmla="*/ 1921387 w 12191999"/>
              <a:gd name="connsiteY34" fmla="*/ 6342689 h 6858001"/>
              <a:gd name="connsiteX35" fmla="*/ 1927040 w 12191999"/>
              <a:gd name="connsiteY35" fmla="*/ 6329267 h 6858001"/>
              <a:gd name="connsiteX36" fmla="*/ 1939646 w 12191999"/>
              <a:gd name="connsiteY36" fmla="*/ 6324248 h 6858001"/>
              <a:gd name="connsiteX37" fmla="*/ 929996 w 12191999"/>
              <a:gd name="connsiteY37" fmla="*/ 6324248 h 6858001"/>
              <a:gd name="connsiteX38" fmla="*/ 943479 w 12191999"/>
              <a:gd name="connsiteY38" fmla="*/ 6330536 h 6858001"/>
              <a:gd name="connsiteX39" fmla="*/ 947590 w 12191999"/>
              <a:gd name="connsiteY39" fmla="*/ 6342689 h 6858001"/>
              <a:gd name="connsiteX40" fmla="*/ 911736 w 12191999"/>
              <a:gd name="connsiteY40" fmla="*/ 6342689 h 6858001"/>
              <a:gd name="connsiteX41" fmla="*/ 917389 w 12191999"/>
              <a:gd name="connsiteY41" fmla="*/ 6329267 h 6858001"/>
              <a:gd name="connsiteX42" fmla="*/ 929996 w 12191999"/>
              <a:gd name="connsiteY42" fmla="*/ 6324248 h 6858001"/>
              <a:gd name="connsiteX43" fmla="*/ 635688 w 12191999"/>
              <a:gd name="connsiteY43" fmla="*/ 6324248 h 6858001"/>
              <a:gd name="connsiteX44" fmla="*/ 647750 w 12191999"/>
              <a:gd name="connsiteY44" fmla="*/ 6330234 h 6858001"/>
              <a:gd name="connsiteX45" fmla="*/ 652738 w 12191999"/>
              <a:gd name="connsiteY45" fmla="*/ 6348796 h 6858001"/>
              <a:gd name="connsiteX46" fmla="*/ 647538 w 12191999"/>
              <a:gd name="connsiteY46" fmla="*/ 6367267 h 6858001"/>
              <a:gd name="connsiteX47" fmla="*/ 635204 w 12191999"/>
              <a:gd name="connsiteY47" fmla="*/ 6373464 h 6858001"/>
              <a:gd name="connsiteX48" fmla="*/ 621298 w 12191999"/>
              <a:gd name="connsiteY48" fmla="*/ 6365060 h 6858001"/>
              <a:gd name="connsiteX49" fmla="*/ 618154 w 12191999"/>
              <a:gd name="connsiteY49" fmla="*/ 6348373 h 6858001"/>
              <a:gd name="connsiteX50" fmla="*/ 623354 w 12191999"/>
              <a:gd name="connsiteY50" fmla="*/ 6330446 h 6858001"/>
              <a:gd name="connsiteX51" fmla="*/ 635688 w 12191999"/>
              <a:gd name="connsiteY51" fmla="*/ 6324248 h 6858001"/>
              <a:gd name="connsiteX52" fmla="*/ 808324 w 12191999"/>
              <a:gd name="connsiteY52" fmla="*/ 6316751 h 6858001"/>
              <a:gd name="connsiteX53" fmla="*/ 808324 w 12191999"/>
              <a:gd name="connsiteY53" fmla="*/ 6380961 h 6858001"/>
              <a:gd name="connsiteX54" fmla="*/ 819207 w 12191999"/>
              <a:gd name="connsiteY54" fmla="*/ 6380961 h 6858001"/>
              <a:gd name="connsiteX55" fmla="*/ 819207 w 12191999"/>
              <a:gd name="connsiteY55" fmla="*/ 6316751 h 6858001"/>
              <a:gd name="connsiteX56" fmla="*/ 674672 w 12191999"/>
              <a:gd name="connsiteY56" fmla="*/ 6316751 h 6858001"/>
              <a:gd name="connsiteX57" fmla="*/ 674672 w 12191999"/>
              <a:gd name="connsiteY57" fmla="*/ 6356535 h 6858001"/>
              <a:gd name="connsiteX58" fmla="*/ 675337 w 12191999"/>
              <a:gd name="connsiteY58" fmla="*/ 6366692 h 6858001"/>
              <a:gd name="connsiteX59" fmla="*/ 678692 w 12191999"/>
              <a:gd name="connsiteY59" fmla="*/ 6374764 h 6858001"/>
              <a:gd name="connsiteX60" fmla="*/ 686008 w 12191999"/>
              <a:gd name="connsiteY60" fmla="*/ 6380236 h 6858001"/>
              <a:gd name="connsiteX61" fmla="*/ 696619 w 12191999"/>
              <a:gd name="connsiteY61" fmla="*/ 6382412 h 6858001"/>
              <a:gd name="connsiteX62" fmla="*/ 716995 w 12191999"/>
              <a:gd name="connsiteY62" fmla="*/ 6371529 h 6858001"/>
              <a:gd name="connsiteX63" fmla="*/ 716995 w 12191999"/>
              <a:gd name="connsiteY63" fmla="*/ 6380961 h 6858001"/>
              <a:gd name="connsiteX64" fmla="*/ 726729 w 12191999"/>
              <a:gd name="connsiteY64" fmla="*/ 6380961 h 6858001"/>
              <a:gd name="connsiteX65" fmla="*/ 726729 w 12191999"/>
              <a:gd name="connsiteY65" fmla="*/ 6316751 h 6858001"/>
              <a:gd name="connsiteX66" fmla="*/ 715846 w 12191999"/>
              <a:gd name="connsiteY66" fmla="*/ 6316751 h 6858001"/>
              <a:gd name="connsiteX67" fmla="*/ 715846 w 12191999"/>
              <a:gd name="connsiteY67" fmla="*/ 6351154 h 6858001"/>
              <a:gd name="connsiteX68" fmla="*/ 714062 w 12191999"/>
              <a:gd name="connsiteY68" fmla="*/ 6363700 h 6858001"/>
              <a:gd name="connsiteX69" fmla="*/ 707986 w 12191999"/>
              <a:gd name="connsiteY69" fmla="*/ 6370532 h 6858001"/>
              <a:gd name="connsiteX70" fmla="*/ 698796 w 12191999"/>
              <a:gd name="connsiteY70" fmla="*/ 6373041 h 6858001"/>
              <a:gd name="connsiteX71" fmla="*/ 690573 w 12191999"/>
              <a:gd name="connsiteY71" fmla="*/ 6370592 h 6858001"/>
              <a:gd name="connsiteX72" fmla="*/ 686220 w 12191999"/>
              <a:gd name="connsiteY72" fmla="*/ 6363851 h 6858001"/>
              <a:gd name="connsiteX73" fmla="*/ 685555 w 12191999"/>
              <a:gd name="connsiteY73" fmla="*/ 6352363 h 6858001"/>
              <a:gd name="connsiteX74" fmla="*/ 685555 w 12191999"/>
              <a:gd name="connsiteY74" fmla="*/ 6316751 h 6858001"/>
              <a:gd name="connsiteX75" fmla="*/ 2210094 w 12191999"/>
              <a:gd name="connsiteY75" fmla="*/ 6315300 h 6858001"/>
              <a:gd name="connsiteX76" fmla="*/ 2189659 w 12191999"/>
              <a:gd name="connsiteY76" fmla="*/ 6325881 h 6858001"/>
              <a:gd name="connsiteX77" fmla="*/ 2189659 w 12191999"/>
              <a:gd name="connsiteY77" fmla="*/ 6316751 h 6858001"/>
              <a:gd name="connsiteX78" fmla="*/ 2179864 w 12191999"/>
              <a:gd name="connsiteY78" fmla="*/ 6316751 h 6858001"/>
              <a:gd name="connsiteX79" fmla="*/ 2179864 w 12191999"/>
              <a:gd name="connsiteY79" fmla="*/ 6380961 h 6858001"/>
              <a:gd name="connsiteX80" fmla="*/ 2190747 w 12191999"/>
              <a:gd name="connsiteY80" fmla="*/ 6380961 h 6858001"/>
              <a:gd name="connsiteX81" fmla="*/ 2190747 w 12191999"/>
              <a:gd name="connsiteY81" fmla="*/ 6345894 h 6858001"/>
              <a:gd name="connsiteX82" fmla="*/ 2195795 w 12191999"/>
              <a:gd name="connsiteY82" fmla="*/ 6329146 h 6858001"/>
              <a:gd name="connsiteX83" fmla="*/ 2207797 w 12191999"/>
              <a:gd name="connsiteY83" fmla="*/ 6324732 h 6858001"/>
              <a:gd name="connsiteX84" fmla="*/ 2215385 w 12191999"/>
              <a:gd name="connsiteY84" fmla="*/ 6326697 h 6858001"/>
              <a:gd name="connsiteX85" fmla="*/ 2219889 w 12191999"/>
              <a:gd name="connsiteY85" fmla="*/ 6331957 h 6858001"/>
              <a:gd name="connsiteX86" fmla="*/ 2221159 w 12191999"/>
              <a:gd name="connsiteY86" fmla="*/ 6341903 h 6858001"/>
              <a:gd name="connsiteX87" fmla="*/ 2221159 w 12191999"/>
              <a:gd name="connsiteY87" fmla="*/ 6380961 h 6858001"/>
              <a:gd name="connsiteX88" fmla="*/ 2232042 w 12191999"/>
              <a:gd name="connsiteY88" fmla="*/ 6380961 h 6858001"/>
              <a:gd name="connsiteX89" fmla="*/ 2232042 w 12191999"/>
              <a:gd name="connsiteY89" fmla="*/ 6341480 h 6858001"/>
              <a:gd name="connsiteX90" fmla="*/ 2231437 w 12191999"/>
              <a:gd name="connsiteY90" fmla="*/ 6330899 h 6858001"/>
              <a:gd name="connsiteX91" fmla="*/ 2228052 w 12191999"/>
              <a:gd name="connsiteY91" fmla="*/ 6322858 h 6858001"/>
              <a:gd name="connsiteX92" fmla="*/ 2220766 w 12191999"/>
              <a:gd name="connsiteY92" fmla="*/ 6317386 h 6858001"/>
              <a:gd name="connsiteX93" fmla="*/ 2210094 w 12191999"/>
              <a:gd name="connsiteY93" fmla="*/ 6315300 h 6858001"/>
              <a:gd name="connsiteX94" fmla="*/ 2140336 w 12191999"/>
              <a:gd name="connsiteY94" fmla="*/ 6315300 h 6858001"/>
              <a:gd name="connsiteX95" fmla="*/ 2125765 w 12191999"/>
              <a:gd name="connsiteY95" fmla="*/ 6317567 h 6858001"/>
              <a:gd name="connsiteX96" fmla="*/ 2116151 w 12191999"/>
              <a:gd name="connsiteY96" fmla="*/ 6324037 h 6858001"/>
              <a:gd name="connsiteX97" fmla="*/ 2111375 w 12191999"/>
              <a:gd name="connsiteY97" fmla="*/ 6335071 h 6858001"/>
              <a:gd name="connsiteX98" fmla="*/ 2122016 w 12191999"/>
              <a:gd name="connsiteY98" fmla="*/ 6336522 h 6858001"/>
              <a:gd name="connsiteX99" fmla="*/ 2127427 w 12191999"/>
              <a:gd name="connsiteY99" fmla="*/ 6326999 h 6858001"/>
              <a:gd name="connsiteX100" fmla="*/ 2138764 w 12191999"/>
              <a:gd name="connsiteY100" fmla="*/ 6324309 h 6858001"/>
              <a:gd name="connsiteX101" fmla="*/ 2151159 w 12191999"/>
              <a:gd name="connsiteY101" fmla="*/ 6327997 h 6858001"/>
              <a:gd name="connsiteX102" fmla="*/ 2154242 w 12191999"/>
              <a:gd name="connsiteY102" fmla="*/ 6337369 h 6858001"/>
              <a:gd name="connsiteX103" fmla="*/ 2154182 w 12191999"/>
              <a:gd name="connsiteY103" fmla="*/ 6340210 h 6858001"/>
              <a:gd name="connsiteX104" fmla="*/ 2134773 w 12191999"/>
              <a:gd name="connsiteY104" fmla="*/ 6343959 h 6858001"/>
              <a:gd name="connsiteX105" fmla="*/ 2125100 w 12191999"/>
              <a:gd name="connsiteY105" fmla="*/ 6345591 h 6858001"/>
              <a:gd name="connsiteX106" fmla="*/ 2117270 w 12191999"/>
              <a:gd name="connsiteY106" fmla="*/ 6349159 h 6858001"/>
              <a:gd name="connsiteX107" fmla="*/ 2111647 w 12191999"/>
              <a:gd name="connsiteY107" fmla="*/ 6355416 h 6858001"/>
              <a:gd name="connsiteX108" fmla="*/ 2109500 w 12191999"/>
              <a:gd name="connsiteY108" fmla="*/ 6364032 h 6858001"/>
              <a:gd name="connsiteX109" fmla="*/ 2115184 w 12191999"/>
              <a:gd name="connsiteY109" fmla="*/ 6377243 h 6858001"/>
              <a:gd name="connsiteX110" fmla="*/ 2131448 w 12191999"/>
              <a:gd name="connsiteY110" fmla="*/ 6382412 h 6858001"/>
              <a:gd name="connsiteX111" fmla="*/ 2143450 w 12191999"/>
              <a:gd name="connsiteY111" fmla="*/ 6380296 h 6858001"/>
              <a:gd name="connsiteX112" fmla="*/ 2155089 w 12191999"/>
              <a:gd name="connsiteY112" fmla="*/ 6373041 h 6858001"/>
              <a:gd name="connsiteX113" fmla="*/ 2157265 w 12191999"/>
              <a:gd name="connsiteY113" fmla="*/ 6380961 h 6858001"/>
              <a:gd name="connsiteX114" fmla="*/ 2168632 w 12191999"/>
              <a:gd name="connsiteY114" fmla="*/ 6380961 h 6858001"/>
              <a:gd name="connsiteX115" fmla="*/ 2165881 w 12191999"/>
              <a:gd name="connsiteY115" fmla="*/ 6373252 h 6858001"/>
              <a:gd name="connsiteX116" fmla="*/ 2165185 w 12191999"/>
              <a:gd name="connsiteY116" fmla="*/ 6354056 h 6858001"/>
              <a:gd name="connsiteX117" fmla="*/ 2165185 w 12191999"/>
              <a:gd name="connsiteY117" fmla="*/ 6339545 h 6858001"/>
              <a:gd name="connsiteX118" fmla="*/ 2164641 w 12191999"/>
              <a:gd name="connsiteY118" fmla="*/ 6329509 h 6858001"/>
              <a:gd name="connsiteX119" fmla="*/ 2161255 w 12191999"/>
              <a:gd name="connsiteY119" fmla="*/ 6322102 h 6858001"/>
              <a:gd name="connsiteX120" fmla="*/ 2153698 w 12191999"/>
              <a:gd name="connsiteY120" fmla="*/ 6317235 h 6858001"/>
              <a:gd name="connsiteX121" fmla="*/ 2140336 w 12191999"/>
              <a:gd name="connsiteY121" fmla="*/ 6315300 h 6858001"/>
              <a:gd name="connsiteX122" fmla="*/ 2076744 w 12191999"/>
              <a:gd name="connsiteY122" fmla="*/ 6315300 h 6858001"/>
              <a:gd name="connsiteX123" fmla="*/ 2056309 w 12191999"/>
              <a:gd name="connsiteY123" fmla="*/ 6325881 h 6858001"/>
              <a:gd name="connsiteX124" fmla="*/ 2056309 w 12191999"/>
              <a:gd name="connsiteY124" fmla="*/ 6316751 h 6858001"/>
              <a:gd name="connsiteX125" fmla="*/ 2046514 w 12191999"/>
              <a:gd name="connsiteY125" fmla="*/ 6316751 h 6858001"/>
              <a:gd name="connsiteX126" fmla="*/ 2046514 w 12191999"/>
              <a:gd name="connsiteY126" fmla="*/ 6380961 h 6858001"/>
              <a:gd name="connsiteX127" fmla="*/ 2057397 w 12191999"/>
              <a:gd name="connsiteY127" fmla="*/ 6380961 h 6858001"/>
              <a:gd name="connsiteX128" fmla="*/ 2057397 w 12191999"/>
              <a:gd name="connsiteY128" fmla="*/ 6345894 h 6858001"/>
              <a:gd name="connsiteX129" fmla="*/ 2062445 w 12191999"/>
              <a:gd name="connsiteY129" fmla="*/ 6329146 h 6858001"/>
              <a:gd name="connsiteX130" fmla="*/ 2074447 w 12191999"/>
              <a:gd name="connsiteY130" fmla="*/ 6324732 h 6858001"/>
              <a:gd name="connsiteX131" fmla="*/ 2082035 w 12191999"/>
              <a:gd name="connsiteY131" fmla="*/ 6326697 h 6858001"/>
              <a:gd name="connsiteX132" fmla="*/ 2086539 w 12191999"/>
              <a:gd name="connsiteY132" fmla="*/ 6331957 h 6858001"/>
              <a:gd name="connsiteX133" fmla="*/ 2087809 w 12191999"/>
              <a:gd name="connsiteY133" fmla="*/ 6341903 h 6858001"/>
              <a:gd name="connsiteX134" fmla="*/ 2087809 w 12191999"/>
              <a:gd name="connsiteY134" fmla="*/ 6380961 h 6858001"/>
              <a:gd name="connsiteX135" fmla="*/ 2098692 w 12191999"/>
              <a:gd name="connsiteY135" fmla="*/ 6380961 h 6858001"/>
              <a:gd name="connsiteX136" fmla="*/ 2098692 w 12191999"/>
              <a:gd name="connsiteY136" fmla="*/ 6341480 h 6858001"/>
              <a:gd name="connsiteX137" fmla="*/ 2098087 w 12191999"/>
              <a:gd name="connsiteY137" fmla="*/ 6330899 h 6858001"/>
              <a:gd name="connsiteX138" fmla="*/ 2094702 w 12191999"/>
              <a:gd name="connsiteY138" fmla="*/ 6322858 h 6858001"/>
              <a:gd name="connsiteX139" fmla="*/ 2087416 w 12191999"/>
              <a:gd name="connsiteY139" fmla="*/ 6317386 h 6858001"/>
              <a:gd name="connsiteX140" fmla="*/ 2076744 w 12191999"/>
              <a:gd name="connsiteY140" fmla="*/ 6315300 h 6858001"/>
              <a:gd name="connsiteX141" fmla="*/ 2010069 w 12191999"/>
              <a:gd name="connsiteY141" fmla="*/ 6315300 h 6858001"/>
              <a:gd name="connsiteX142" fmla="*/ 1989633 w 12191999"/>
              <a:gd name="connsiteY142" fmla="*/ 6325881 h 6858001"/>
              <a:gd name="connsiteX143" fmla="*/ 1989633 w 12191999"/>
              <a:gd name="connsiteY143" fmla="*/ 6316751 h 6858001"/>
              <a:gd name="connsiteX144" fmla="*/ 1979839 w 12191999"/>
              <a:gd name="connsiteY144" fmla="*/ 6316751 h 6858001"/>
              <a:gd name="connsiteX145" fmla="*/ 1979839 w 12191999"/>
              <a:gd name="connsiteY145" fmla="*/ 6380961 h 6858001"/>
              <a:gd name="connsiteX146" fmla="*/ 1990722 w 12191999"/>
              <a:gd name="connsiteY146" fmla="*/ 6380961 h 6858001"/>
              <a:gd name="connsiteX147" fmla="*/ 1990722 w 12191999"/>
              <a:gd name="connsiteY147" fmla="*/ 6345894 h 6858001"/>
              <a:gd name="connsiteX148" fmla="*/ 1995770 w 12191999"/>
              <a:gd name="connsiteY148" fmla="*/ 6329146 h 6858001"/>
              <a:gd name="connsiteX149" fmla="*/ 2007772 w 12191999"/>
              <a:gd name="connsiteY149" fmla="*/ 6324732 h 6858001"/>
              <a:gd name="connsiteX150" fmla="*/ 2015360 w 12191999"/>
              <a:gd name="connsiteY150" fmla="*/ 6326697 h 6858001"/>
              <a:gd name="connsiteX151" fmla="*/ 2019864 w 12191999"/>
              <a:gd name="connsiteY151" fmla="*/ 6331957 h 6858001"/>
              <a:gd name="connsiteX152" fmla="*/ 2021134 w 12191999"/>
              <a:gd name="connsiteY152" fmla="*/ 6341903 h 6858001"/>
              <a:gd name="connsiteX153" fmla="*/ 2021134 w 12191999"/>
              <a:gd name="connsiteY153" fmla="*/ 6380961 h 6858001"/>
              <a:gd name="connsiteX154" fmla="*/ 2032017 w 12191999"/>
              <a:gd name="connsiteY154" fmla="*/ 6380961 h 6858001"/>
              <a:gd name="connsiteX155" fmla="*/ 2032017 w 12191999"/>
              <a:gd name="connsiteY155" fmla="*/ 6341480 h 6858001"/>
              <a:gd name="connsiteX156" fmla="*/ 2031412 w 12191999"/>
              <a:gd name="connsiteY156" fmla="*/ 6330899 h 6858001"/>
              <a:gd name="connsiteX157" fmla="*/ 2028026 w 12191999"/>
              <a:gd name="connsiteY157" fmla="*/ 6322858 h 6858001"/>
              <a:gd name="connsiteX158" fmla="*/ 2020741 w 12191999"/>
              <a:gd name="connsiteY158" fmla="*/ 6317386 h 6858001"/>
              <a:gd name="connsiteX159" fmla="*/ 2010069 w 12191999"/>
              <a:gd name="connsiteY159" fmla="*/ 6315300 h 6858001"/>
              <a:gd name="connsiteX160" fmla="*/ 1939525 w 12191999"/>
              <a:gd name="connsiteY160" fmla="*/ 6315300 h 6858001"/>
              <a:gd name="connsiteX161" fmla="*/ 1917880 w 12191999"/>
              <a:gd name="connsiteY161" fmla="*/ 6324248 h 6858001"/>
              <a:gd name="connsiteX162" fmla="*/ 1909536 w 12191999"/>
              <a:gd name="connsiteY162" fmla="*/ 6349400 h 6858001"/>
              <a:gd name="connsiteX163" fmla="*/ 1917789 w 12191999"/>
              <a:gd name="connsiteY163" fmla="*/ 6373736 h 6858001"/>
              <a:gd name="connsiteX164" fmla="*/ 1940129 w 12191999"/>
              <a:gd name="connsiteY164" fmla="*/ 6382412 h 6858001"/>
              <a:gd name="connsiteX165" fmla="*/ 1958510 w 12191999"/>
              <a:gd name="connsiteY165" fmla="*/ 6376971 h 6858001"/>
              <a:gd name="connsiteX166" fmla="*/ 1968365 w 12191999"/>
              <a:gd name="connsiteY166" fmla="*/ 6361674 h 6858001"/>
              <a:gd name="connsiteX167" fmla="*/ 1957119 w 12191999"/>
              <a:gd name="connsiteY167" fmla="*/ 6360283 h 6858001"/>
              <a:gd name="connsiteX168" fmla="*/ 1950408 w 12191999"/>
              <a:gd name="connsiteY168" fmla="*/ 6370320 h 6858001"/>
              <a:gd name="connsiteX169" fmla="*/ 1940190 w 12191999"/>
              <a:gd name="connsiteY169" fmla="*/ 6373464 h 6858001"/>
              <a:gd name="connsiteX170" fmla="*/ 1926767 w 12191999"/>
              <a:gd name="connsiteY170" fmla="*/ 6367841 h 6858001"/>
              <a:gd name="connsiteX171" fmla="*/ 1920782 w 12191999"/>
              <a:gd name="connsiteY171" fmla="*/ 6351637 h 6858001"/>
              <a:gd name="connsiteX172" fmla="*/ 1968667 w 12191999"/>
              <a:gd name="connsiteY172" fmla="*/ 6351637 h 6858001"/>
              <a:gd name="connsiteX173" fmla="*/ 1968728 w 12191999"/>
              <a:gd name="connsiteY173" fmla="*/ 6348735 h 6858001"/>
              <a:gd name="connsiteX174" fmla="*/ 1960565 w 12191999"/>
              <a:gd name="connsiteY174" fmla="*/ 6324067 h 6858001"/>
              <a:gd name="connsiteX175" fmla="*/ 1939525 w 12191999"/>
              <a:gd name="connsiteY175" fmla="*/ 6315300 h 6858001"/>
              <a:gd name="connsiteX176" fmla="*/ 1805752 w 12191999"/>
              <a:gd name="connsiteY176" fmla="*/ 6315300 h 6858001"/>
              <a:gd name="connsiteX177" fmla="*/ 1790425 w 12191999"/>
              <a:gd name="connsiteY177" fmla="*/ 6319200 h 6858001"/>
              <a:gd name="connsiteX178" fmla="*/ 1779935 w 12191999"/>
              <a:gd name="connsiteY178" fmla="*/ 6330899 h 6858001"/>
              <a:gd name="connsiteX179" fmla="*/ 1776488 w 12191999"/>
              <a:gd name="connsiteY179" fmla="*/ 6349098 h 6858001"/>
              <a:gd name="connsiteX180" fmla="*/ 1784499 w 12191999"/>
              <a:gd name="connsiteY180" fmla="*/ 6373797 h 6858001"/>
              <a:gd name="connsiteX181" fmla="*/ 1805691 w 12191999"/>
              <a:gd name="connsiteY181" fmla="*/ 6382412 h 6858001"/>
              <a:gd name="connsiteX182" fmla="*/ 1823437 w 12191999"/>
              <a:gd name="connsiteY182" fmla="*/ 6376155 h 6858001"/>
              <a:gd name="connsiteX183" fmla="*/ 1832415 w 12191999"/>
              <a:gd name="connsiteY183" fmla="*/ 6358832 h 6858001"/>
              <a:gd name="connsiteX184" fmla="*/ 1821714 w 12191999"/>
              <a:gd name="connsiteY184" fmla="*/ 6357442 h 6858001"/>
              <a:gd name="connsiteX185" fmla="*/ 1816272 w 12191999"/>
              <a:gd name="connsiteY185" fmla="*/ 6369534 h 6858001"/>
              <a:gd name="connsiteX186" fmla="*/ 1805570 w 12191999"/>
              <a:gd name="connsiteY186" fmla="*/ 6373464 h 6858001"/>
              <a:gd name="connsiteX187" fmla="*/ 1792632 w 12191999"/>
              <a:gd name="connsiteY187" fmla="*/ 6367599 h 6858001"/>
              <a:gd name="connsiteX188" fmla="*/ 1787674 w 12191999"/>
              <a:gd name="connsiteY188" fmla="*/ 6348796 h 6858001"/>
              <a:gd name="connsiteX189" fmla="*/ 1792813 w 12191999"/>
              <a:gd name="connsiteY189" fmla="*/ 6330143 h 6858001"/>
              <a:gd name="connsiteX190" fmla="*/ 1806175 w 12191999"/>
              <a:gd name="connsiteY190" fmla="*/ 6324248 h 6858001"/>
              <a:gd name="connsiteX191" fmla="*/ 1815456 w 12191999"/>
              <a:gd name="connsiteY191" fmla="*/ 6327513 h 6858001"/>
              <a:gd name="connsiteX192" fmla="*/ 1820806 w 12191999"/>
              <a:gd name="connsiteY192" fmla="*/ 6337248 h 6858001"/>
              <a:gd name="connsiteX193" fmla="*/ 1831387 w 12191999"/>
              <a:gd name="connsiteY193" fmla="*/ 6335615 h 6858001"/>
              <a:gd name="connsiteX194" fmla="*/ 1822862 w 12191999"/>
              <a:gd name="connsiteY194" fmla="*/ 6320591 h 6858001"/>
              <a:gd name="connsiteX195" fmla="*/ 1805752 w 12191999"/>
              <a:gd name="connsiteY195" fmla="*/ 6315300 h 6858001"/>
              <a:gd name="connsiteX196" fmla="*/ 1515165 w 12191999"/>
              <a:gd name="connsiteY196" fmla="*/ 6315300 h 6858001"/>
              <a:gd name="connsiteX197" fmla="*/ 1505763 w 12191999"/>
              <a:gd name="connsiteY197" fmla="*/ 6316600 h 6858001"/>
              <a:gd name="connsiteX198" fmla="*/ 1498840 w 12191999"/>
              <a:gd name="connsiteY198" fmla="*/ 6319774 h 6858001"/>
              <a:gd name="connsiteX199" fmla="*/ 1493489 w 12191999"/>
              <a:gd name="connsiteY199" fmla="*/ 6325851 h 6858001"/>
              <a:gd name="connsiteX200" fmla="*/ 1491524 w 12191999"/>
              <a:gd name="connsiteY200" fmla="*/ 6333801 h 6858001"/>
              <a:gd name="connsiteX201" fmla="*/ 1493913 w 12191999"/>
              <a:gd name="connsiteY201" fmla="*/ 6342417 h 6858001"/>
              <a:gd name="connsiteX202" fmla="*/ 1500926 w 12191999"/>
              <a:gd name="connsiteY202" fmla="*/ 6348524 h 6858001"/>
              <a:gd name="connsiteX203" fmla="*/ 1517523 w 12191999"/>
              <a:gd name="connsiteY203" fmla="*/ 6353754 h 6858001"/>
              <a:gd name="connsiteX204" fmla="*/ 1528648 w 12191999"/>
              <a:gd name="connsiteY204" fmla="*/ 6357442 h 6858001"/>
              <a:gd name="connsiteX205" fmla="*/ 1531852 w 12191999"/>
              <a:gd name="connsiteY205" fmla="*/ 6363246 h 6858001"/>
              <a:gd name="connsiteX206" fmla="*/ 1528224 w 12191999"/>
              <a:gd name="connsiteY206" fmla="*/ 6370411 h 6858001"/>
              <a:gd name="connsiteX207" fmla="*/ 1517100 w 12191999"/>
              <a:gd name="connsiteY207" fmla="*/ 6373464 h 6858001"/>
              <a:gd name="connsiteX208" fmla="*/ 1505521 w 12191999"/>
              <a:gd name="connsiteY208" fmla="*/ 6370018 h 6858001"/>
              <a:gd name="connsiteX209" fmla="*/ 1500472 w 12191999"/>
              <a:gd name="connsiteY209" fmla="*/ 6360102 h 6858001"/>
              <a:gd name="connsiteX210" fmla="*/ 1489710 w 12191999"/>
              <a:gd name="connsiteY210" fmla="*/ 6361795 h 6858001"/>
              <a:gd name="connsiteX211" fmla="*/ 1498084 w 12191999"/>
              <a:gd name="connsiteY211" fmla="*/ 6377213 h 6858001"/>
              <a:gd name="connsiteX212" fmla="*/ 1517160 w 12191999"/>
              <a:gd name="connsiteY212" fmla="*/ 6382412 h 6858001"/>
              <a:gd name="connsiteX213" fmla="*/ 1530703 w 12191999"/>
              <a:gd name="connsiteY213" fmla="*/ 6379782 h 6858001"/>
              <a:gd name="connsiteX214" fmla="*/ 1539863 w 12191999"/>
              <a:gd name="connsiteY214" fmla="*/ 6372345 h 6858001"/>
              <a:gd name="connsiteX215" fmla="*/ 1543037 w 12191999"/>
              <a:gd name="connsiteY215" fmla="*/ 6362097 h 6858001"/>
              <a:gd name="connsiteX216" fmla="*/ 1540437 w 12191999"/>
              <a:gd name="connsiteY216" fmla="*/ 6352786 h 6858001"/>
              <a:gd name="connsiteX217" fmla="*/ 1533273 w 12191999"/>
              <a:gd name="connsiteY217" fmla="*/ 6347073 h 6858001"/>
              <a:gd name="connsiteX218" fmla="*/ 1517160 w 12191999"/>
              <a:gd name="connsiteY218" fmla="*/ 6342024 h 6858001"/>
              <a:gd name="connsiteX219" fmla="*/ 1507547 w 12191999"/>
              <a:gd name="connsiteY219" fmla="*/ 6339243 h 6858001"/>
              <a:gd name="connsiteX220" fmla="*/ 1503375 w 12191999"/>
              <a:gd name="connsiteY220" fmla="*/ 6336341 h 6858001"/>
              <a:gd name="connsiteX221" fmla="*/ 1502044 w 12191999"/>
              <a:gd name="connsiteY221" fmla="*/ 6332532 h 6858001"/>
              <a:gd name="connsiteX222" fmla="*/ 1505249 w 12191999"/>
              <a:gd name="connsiteY222" fmla="*/ 6326727 h 6858001"/>
              <a:gd name="connsiteX223" fmla="*/ 1515951 w 12191999"/>
              <a:gd name="connsiteY223" fmla="*/ 6324248 h 6858001"/>
              <a:gd name="connsiteX224" fmla="*/ 1525776 w 12191999"/>
              <a:gd name="connsiteY224" fmla="*/ 6327030 h 6858001"/>
              <a:gd name="connsiteX225" fmla="*/ 1529978 w 12191999"/>
              <a:gd name="connsiteY225" fmla="*/ 6334769 h 6858001"/>
              <a:gd name="connsiteX226" fmla="*/ 1540619 w 12191999"/>
              <a:gd name="connsiteY226" fmla="*/ 6333318 h 6858001"/>
              <a:gd name="connsiteX227" fmla="*/ 1536870 w 12191999"/>
              <a:gd name="connsiteY227" fmla="*/ 6323372 h 6858001"/>
              <a:gd name="connsiteX228" fmla="*/ 1528436 w 12191999"/>
              <a:gd name="connsiteY228" fmla="*/ 6317477 h 6858001"/>
              <a:gd name="connsiteX229" fmla="*/ 1515165 w 12191999"/>
              <a:gd name="connsiteY229" fmla="*/ 6315300 h 6858001"/>
              <a:gd name="connsiteX230" fmla="*/ 1479544 w 12191999"/>
              <a:gd name="connsiteY230" fmla="*/ 6315300 h 6858001"/>
              <a:gd name="connsiteX231" fmla="*/ 1472560 w 12191999"/>
              <a:gd name="connsiteY231" fmla="*/ 6317477 h 6858001"/>
              <a:gd name="connsiteX232" fmla="*/ 1465638 w 12191999"/>
              <a:gd name="connsiteY232" fmla="*/ 6326486 h 6858001"/>
              <a:gd name="connsiteX233" fmla="*/ 1465638 w 12191999"/>
              <a:gd name="connsiteY233" fmla="*/ 6316751 h 6858001"/>
              <a:gd name="connsiteX234" fmla="*/ 1455843 w 12191999"/>
              <a:gd name="connsiteY234" fmla="*/ 6316751 h 6858001"/>
              <a:gd name="connsiteX235" fmla="*/ 1455843 w 12191999"/>
              <a:gd name="connsiteY235" fmla="*/ 6380961 h 6858001"/>
              <a:gd name="connsiteX236" fmla="*/ 1466726 w 12191999"/>
              <a:gd name="connsiteY236" fmla="*/ 6380961 h 6858001"/>
              <a:gd name="connsiteX237" fmla="*/ 1466726 w 12191999"/>
              <a:gd name="connsiteY237" fmla="*/ 6347345 h 6858001"/>
              <a:gd name="connsiteX238" fmla="*/ 1468540 w 12191999"/>
              <a:gd name="connsiteY238" fmla="*/ 6334648 h 6858001"/>
              <a:gd name="connsiteX239" fmla="*/ 1472590 w 12191999"/>
              <a:gd name="connsiteY239" fmla="*/ 6328692 h 6858001"/>
              <a:gd name="connsiteX240" fmla="*/ 1479000 w 12191999"/>
              <a:gd name="connsiteY240" fmla="*/ 6326546 h 6858001"/>
              <a:gd name="connsiteX241" fmla="*/ 1486980 w 12191999"/>
              <a:gd name="connsiteY241" fmla="*/ 6328904 h 6858001"/>
              <a:gd name="connsiteX242" fmla="*/ 1490729 w 12191999"/>
              <a:gd name="connsiteY242" fmla="*/ 6318807 h 6858001"/>
              <a:gd name="connsiteX243" fmla="*/ 1479544 w 12191999"/>
              <a:gd name="connsiteY243" fmla="*/ 6315300 h 6858001"/>
              <a:gd name="connsiteX244" fmla="*/ 1416436 w 12191999"/>
              <a:gd name="connsiteY244" fmla="*/ 6315300 h 6858001"/>
              <a:gd name="connsiteX245" fmla="*/ 1401865 w 12191999"/>
              <a:gd name="connsiteY245" fmla="*/ 6317567 h 6858001"/>
              <a:gd name="connsiteX246" fmla="*/ 1392251 w 12191999"/>
              <a:gd name="connsiteY246" fmla="*/ 6324037 h 6858001"/>
              <a:gd name="connsiteX247" fmla="*/ 1387475 w 12191999"/>
              <a:gd name="connsiteY247" fmla="*/ 6335071 h 6858001"/>
              <a:gd name="connsiteX248" fmla="*/ 1398116 w 12191999"/>
              <a:gd name="connsiteY248" fmla="*/ 6336522 h 6858001"/>
              <a:gd name="connsiteX249" fmla="*/ 1403527 w 12191999"/>
              <a:gd name="connsiteY249" fmla="*/ 6326999 h 6858001"/>
              <a:gd name="connsiteX250" fmla="*/ 1414864 w 12191999"/>
              <a:gd name="connsiteY250" fmla="*/ 6324309 h 6858001"/>
              <a:gd name="connsiteX251" fmla="*/ 1427258 w 12191999"/>
              <a:gd name="connsiteY251" fmla="*/ 6327997 h 6858001"/>
              <a:gd name="connsiteX252" fmla="*/ 1430342 w 12191999"/>
              <a:gd name="connsiteY252" fmla="*/ 6337369 h 6858001"/>
              <a:gd name="connsiteX253" fmla="*/ 1430281 w 12191999"/>
              <a:gd name="connsiteY253" fmla="*/ 6340210 h 6858001"/>
              <a:gd name="connsiteX254" fmla="*/ 1410873 w 12191999"/>
              <a:gd name="connsiteY254" fmla="*/ 6343959 h 6858001"/>
              <a:gd name="connsiteX255" fmla="*/ 1401199 w 12191999"/>
              <a:gd name="connsiteY255" fmla="*/ 6345591 h 6858001"/>
              <a:gd name="connsiteX256" fmla="*/ 1393370 w 12191999"/>
              <a:gd name="connsiteY256" fmla="*/ 6349159 h 6858001"/>
              <a:gd name="connsiteX257" fmla="*/ 1387747 w 12191999"/>
              <a:gd name="connsiteY257" fmla="*/ 6355416 h 6858001"/>
              <a:gd name="connsiteX258" fmla="*/ 1385600 w 12191999"/>
              <a:gd name="connsiteY258" fmla="*/ 6364032 h 6858001"/>
              <a:gd name="connsiteX259" fmla="*/ 1391284 w 12191999"/>
              <a:gd name="connsiteY259" fmla="*/ 6377243 h 6858001"/>
              <a:gd name="connsiteX260" fmla="*/ 1407548 w 12191999"/>
              <a:gd name="connsiteY260" fmla="*/ 6382412 h 6858001"/>
              <a:gd name="connsiteX261" fmla="*/ 1419550 w 12191999"/>
              <a:gd name="connsiteY261" fmla="*/ 6380296 h 6858001"/>
              <a:gd name="connsiteX262" fmla="*/ 1431188 w 12191999"/>
              <a:gd name="connsiteY262" fmla="*/ 6373041 h 6858001"/>
              <a:gd name="connsiteX263" fmla="*/ 1433365 w 12191999"/>
              <a:gd name="connsiteY263" fmla="*/ 6380961 h 6858001"/>
              <a:gd name="connsiteX264" fmla="*/ 1444732 w 12191999"/>
              <a:gd name="connsiteY264" fmla="*/ 6380961 h 6858001"/>
              <a:gd name="connsiteX265" fmla="*/ 1441981 w 12191999"/>
              <a:gd name="connsiteY265" fmla="*/ 6373252 h 6858001"/>
              <a:gd name="connsiteX266" fmla="*/ 1441285 w 12191999"/>
              <a:gd name="connsiteY266" fmla="*/ 6354056 h 6858001"/>
              <a:gd name="connsiteX267" fmla="*/ 1441285 w 12191999"/>
              <a:gd name="connsiteY267" fmla="*/ 6339545 h 6858001"/>
              <a:gd name="connsiteX268" fmla="*/ 1440741 w 12191999"/>
              <a:gd name="connsiteY268" fmla="*/ 6329509 h 6858001"/>
              <a:gd name="connsiteX269" fmla="*/ 1437355 w 12191999"/>
              <a:gd name="connsiteY269" fmla="*/ 6322102 h 6858001"/>
              <a:gd name="connsiteX270" fmla="*/ 1429798 w 12191999"/>
              <a:gd name="connsiteY270" fmla="*/ 6317235 h 6858001"/>
              <a:gd name="connsiteX271" fmla="*/ 1416436 w 12191999"/>
              <a:gd name="connsiteY271" fmla="*/ 6315300 h 6858001"/>
              <a:gd name="connsiteX272" fmla="*/ 1167698 w 12191999"/>
              <a:gd name="connsiteY272" fmla="*/ 6315300 h 6858001"/>
              <a:gd name="connsiteX273" fmla="*/ 1147503 w 12191999"/>
              <a:gd name="connsiteY273" fmla="*/ 6322435 h 6858001"/>
              <a:gd name="connsiteX274" fmla="*/ 1137588 w 12191999"/>
              <a:gd name="connsiteY274" fmla="*/ 6348856 h 6858001"/>
              <a:gd name="connsiteX275" fmla="*/ 1145901 w 12191999"/>
              <a:gd name="connsiteY275" fmla="*/ 6373766 h 6858001"/>
              <a:gd name="connsiteX276" fmla="*/ 1167698 w 12191999"/>
              <a:gd name="connsiteY276" fmla="*/ 6382412 h 6858001"/>
              <a:gd name="connsiteX277" fmla="*/ 1183206 w 12191999"/>
              <a:gd name="connsiteY277" fmla="*/ 6378482 h 6858001"/>
              <a:gd name="connsiteX278" fmla="*/ 1194028 w 12191999"/>
              <a:gd name="connsiteY278" fmla="*/ 6367448 h 6858001"/>
              <a:gd name="connsiteX279" fmla="*/ 1197747 w 12191999"/>
              <a:gd name="connsiteY279" fmla="*/ 6347949 h 6858001"/>
              <a:gd name="connsiteX280" fmla="*/ 1189343 w 12191999"/>
              <a:gd name="connsiteY280" fmla="*/ 6323976 h 6858001"/>
              <a:gd name="connsiteX281" fmla="*/ 1167698 w 12191999"/>
              <a:gd name="connsiteY281" fmla="*/ 6315300 h 6858001"/>
              <a:gd name="connsiteX282" fmla="*/ 1057965 w 12191999"/>
              <a:gd name="connsiteY282" fmla="*/ 6315300 h 6858001"/>
              <a:gd name="connsiteX283" fmla="*/ 1048563 w 12191999"/>
              <a:gd name="connsiteY283" fmla="*/ 6316600 h 6858001"/>
              <a:gd name="connsiteX284" fmla="*/ 1041640 w 12191999"/>
              <a:gd name="connsiteY284" fmla="*/ 6319774 h 6858001"/>
              <a:gd name="connsiteX285" fmla="*/ 1036289 w 12191999"/>
              <a:gd name="connsiteY285" fmla="*/ 6325851 h 6858001"/>
              <a:gd name="connsiteX286" fmla="*/ 1034324 w 12191999"/>
              <a:gd name="connsiteY286" fmla="*/ 6333801 h 6858001"/>
              <a:gd name="connsiteX287" fmla="*/ 1036712 w 12191999"/>
              <a:gd name="connsiteY287" fmla="*/ 6342417 h 6858001"/>
              <a:gd name="connsiteX288" fmla="*/ 1043726 w 12191999"/>
              <a:gd name="connsiteY288" fmla="*/ 6348524 h 6858001"/>
              <a:gd name="connsiteX289" fmla="*/ 1060323 w 12191999"/>
              <a:gd name="connsiteY289" fmla="*/ 6353754 h 6858001"/>
              <a:gd name="connsiteX290" fmla="*/ 1071447 w 12191999"/>
              <a:gd name="connsiteY290" fmla="*/ 6357442 h 6858001"/>
              <a:gd name="connsiteX291" fmla="*/ 1074652 w 12191999"/>
              <a:gd name="connsiteY291" fmla="*/ 6363246 h 6858001"/>
              <a:gd name="connsiteX292" fmla="*/ 1071024 w 12191999"/>
              <a:gd name="connsiteY292" fmla="*/ 6370411 h 6858001"/>
              <a:gd name="connsiteX293" fmla="*/ 1059899 w 12191999"/>
              <a:gd name="connsiteY293" fmla="*/ 6373464 h 6858001"/>
              <a:gd name="connsiteX294" fmla="*/ 1048321 w 12191999"/>
              <a:gd name="connsiteY294" fmla="*/ 6370018 h 6858001"/>
              <a:gd name="connsiteX295" fmla="*/ 1043272 w 12191999"/>
              <a:gd name="connsiteY295" fmla="*/ 6360102 h 6858001"/>
              <a:gd name="connsiteX296" fmla="*/ 1032510 w 12191999"/>
              <a:gd name="connsiteY296" fmla="*/ 6361795 h 6858001"/>
              <a:gd name="connsiteX297" fmla="*/ 1040884 w 12191999"/>
              <a:gd name="connsiteY297" fmla="*/ 6377213 h 6858001"/>
              <a:gd name="connsiteX298" fmla="*/ 1059960 w 12191999"/>
              <a:gd name="connsiteY298" fmla="*/ 6382412 h 6858001"/>
              <a:gd name="connsiteX299" fmla="*/ 1073503 w 12191999"/>
              <a:gd name="connsiteY299" fmla="*/ 6379782 h 6858001"/>
              <a:gd name="connsiteX300" fmla="*/ 1082663 w 12191999"/>
              <a:gd name="connsiteY300" fmla="*/ 6372345 h 6858001"/>
              <a:gd name="connsiteX301" fmla="*/ 1085837 w 12191999"/>
              <a:gd name="connsiteY301" fmla="*/ 6362097 h 6858001"/>
              <a:gd name="connsiteX302" fmla="*/ 1083237 w 12191999"/>
              <a:gd name="connsiteY302" fmla="*/ 6352786 h 6858001"/>
              <a:gd name="connsiteX303" fmla="*/ 1076073 w 12191999"/>
              <a:gd name="connsiteY303" fmla="*/ 6347073 h 6858001"/>
              <a:gd name="connsiteX304" fmla="*/ 1059960 w 12191999"/>
              <a:gd name="connsiteY304" fmla="*/ 6342024 h 6858001"/>
              <a:gd name="connsiteX305" fmla="*/ 1050346 w 12191999"/>
              <a:gd name="connsiteY305" fmla="*/ 6339243 h 6858001"/>
              <a:gd name="connsiteX306" fmla="*/ 1046175 w 12191999"/>
              <a:gd name="connsiteY306" fmla="*/ 6336341 h 6858001"/>
              <a:gd name="connsiteX307" fmla="*/ 1044844 w 12191999"/>
              <a:gd name="connsiteY307" fmla="*/ 6332532 h 6858001"/>
              <a:gd name="connsiteX308" fmla="*/ 1048049 w 12191999"/>
              <a:gd name="connsiteY308" fmla="*/ 6326727 h 6858001"/>
              <a:gd name="connsiteX309" fmla="*/ 1058751 w 12191999"/>
              <a:gd name="connsiteY309" fmla="*/ 6324248 h 6858001"/>
              <a:gd name="connsiteX310" fmla="*/ 1068576 w 12191999"/>
              <a:gd name="connsiteY310" fmla="*/ 6327030 h 6858001"/>
              <a:gd name="connsiteX311" fmla="*/ 1072778 w 12191999"/>
              <a:gd name="connsiteY311" fmla="*/ 6334769 h 6858001"/>
              <a:gd name="connsiteX312" fmla="*/ 1083419 w 12191999"/>
              <a:gd name="connsiteY312" fmla="*/ 6333318 h 6858001"/>
              <a:gd name="connsiteX313" fmla="*/ 1079670 w 12191999"/>
              <a:gd name="connsiteY313" fmla="*/ 6323372 h 6858001"/>
              <a:gd name="connsiteX314" fmla="*/ 1071236 w 12191999"/>
              <a:gd name="connsiteY314" fmla="*/ 6317477 h 6858001"/>
              <a:gd name="connsiteX315" fmla="*/ 1057965 w 12191999"/>
              <a:gd name="connsiteY315" fmla="*/ 6315300 h 6858001"/>
              <a:gd name="connsiteX316" fmla="*/ 991290 w 12191999"/>
              <a:gd name="connsiteY316" fmla="*/ 6315300 h 6858001"/>
              <a:gd name="connsiteX317" fmla="*/ 981888 w 12191999"/>
              <a:gd name="connsiteY317" fmla="*/ 6316600 h 6858001"/>
              <a:gd name="connsiteX318" fmla="*/ 974965 w 12191999"/>
              <a:gd name="connsiteY318" fmla="*/ 6319774 h 6858001"/>
              <a:gd name="connsiteX319" fmla="*/ 969614 w 12191999"/>
              <a:gd name="connsiteY319" fmla="*/ 6325851 h 6858001"/>
              <a:gd name="connsiteX320" fmla="*/ 967649 w 12191999"/>
              <a:gd name="connsiteY320" fmla="*/ 6333801 h 6858001"/>
              <a:gd name="connsiteX321" fmla="*/ 970037 w 12191999"/>
              <a:gd name="connsiteY321" fmla="*/ 6342417 h 6858001"/>
              <a:gd name="connsiteX322" fmla="*/ 977051 w 12191999"/>
              <a:gd name="connsiteY322" fmla="*/ 6348524 h 6858001"/>
              <a:gd name="connsiteX323" fmla="*/ 993648 w 12191999"/>
              <a:gd name="connsiteY323" fmla="*/ 6353754 h 6858001"/>
              <a:gd name="connsiteX324" fmla="*/ 1004772 w 12191999"/>
              <a:gd name="connsiteY324" fmla="*/ 6357442 h 6858001"/>
              <a:gd name="connsiteX325" fmla="*/ 1007977 w 12191999"/>
              <a:gd name="connsiteY325" fmla="*/ 6363246 h 6858001"/>
              <a:gd name="connsiteX326" fmla="*/ 1004349 w 12191999"/>
              <a:gd name="connsiteY326" fmla="*/ 6370411 h 6858001"/>
              <a:gd name="connsiteX327" fmla="*/ 993224 w 12191999"/>
              <a:gd name="connsiteY327" fmla="*/ 6373464 h 6858001"/>
              <a:gd name="connsiteX328" fmla="*/ 981646 w 12191999"/>
              <a:gd name="connsiteY328" fmla="*/ 6370018 h 6858001"/>
              <a:gd name="connsiteX329" fmla="*/ 976598 w 12191999"/>
              <a:gd name="connsiteY329" fmla="*/ 6360102 h 6858001"/>
              <a:gd name="connsiteX330" fmla="*/ 965835 w 12191999"/>
              <a:gd name="connsiteY330" fmla="*/ 6361795 h 6858001"/>
              <a:gd name="connsiteX331" fmla="*/ 974209 w 12191999"/>
              <a:gd name="connsiteY331" fmla="*/ 6377213 h 6858001"/>
              <a:gd name="connsiteX332" fmla="*/ 993285 w 12191999"/>
              <a:gd name="connsiteY332" fmla="*/ 6382412 h 6858001"/>
              <a:gd name="connsiteX333" fmla="*/ 1006828 w 12191999"/>
              <a:gd name="connsiteY333" fmla="*/ 6379782 h 6858001"/>
              <a:gd name="connsiteX334" fmla="*/ 1015988 w 12191999"/>
              <a:gd name="connsiteY334" fmla="*/ 6372345 h 6858001"/>
              <a:gd name="connsiteX335" fmla="*/ 1019162 w 12191999"/>
              <a:gd name="connsiteY335" fmla="*/ 6362097 h 6858001"/>
              <a:gd name="connsiteX336" fmla="*/ 1016562 w 12191999"/>
              <a:gd name="connsiteY336" fmla="*/ 6352786 h 6858001"/>
              <a:gd name="connsiteX337" fmla="*/ 1009398 w 12191999"/>
              <a:gd name="connsiteY337" fmla="*/ 6347073 h 6858001"/>
              <a:gd name="connsiteX338" fmla="*/ 993285 w 12191999"/>
              <a:gd name="connsiteY338" fmla="*/ 6342024 h 6858001"/>
              <a:gd name="connsiteX339" fmla="*/ 983671 w 12191999"/>
              <a:gd name="connsiteY339" fmla="*/ 6339243 h 6858001"/>
              <a:gd name="connsiteX340" fmla="*/ 979500 w 12191999"/>
              <a:gd name="connsiteY340" fmla="*/ 6336341 h 6858001"/>
              <a:gd name="connsiteX341" fmla="*/ 978170 w 12191999"/>
              <a:gd name="connsiteY341" fmla="*/ 6332532 h 6858001"/>
              <a:gd name="connsiteX342" fmla="*/ 981374 w 12191999"/>
              <a:gd name="connsiteY342" fmla="*/ 6326727 h 6858001"/>
              <a:gd name="connsiteX343" fmla="*/ 992076 w 12191999"/>
              <a:gd name="connsiteY343" fmla="*/ 6324248 h 6858001"/>
              <a:gd name="connsiteX344" fmla="*/ 1001900 w 12191999"/>
              <a:gd name="connsiteY344" fmla="*/ 6327030 h 6858001"/>
              <a:gd name="connsiteX345" fmla="*/ 1006103 w 12191999"/>
              <a:gd name="connsiteY345" fmla="*/ 6334769 h 6858001"/>
              <a:gd name="connsiteX346" fmla="*/ 1016744 w 12191999"/>
              <a:gd name="connsiteY346" fmla="*/ 6333318 h 6858001"/>
              <a:gd name="connsiteX347" fmla="*/ 1012995 w 12191999"/>
              <a:gd name="connsiteY347" fmla="*/ 6323372 h 6858001"/>
              <a:gd name="connsiteX348" fmla="*/ 1004561 w 12191999"/>
              <a:gd name="connsiteY348" fmla="*/ 6317477 h 6858001"/>
              <a:gd name="connsiteX349" fmla="*/ 991290 w 12191999"/>
              <a:gd name="connsiteY349" fmla="*/ 6315300 h 6858001"/>
              <a:gd name="connsiteX350" fmla="*/ 929875 w 12191999"/>
              <a:gd name="connsiteY350" fmla="*/ 6315300 h 6858001"/>
              <a:gd name="connsiteX351" fmla="*/ 908229 w 12191999"/>
              <a:gd name="connsiteY351" fmla="*/ 6324248 h 6858001"/>
              <a:gd name="connsiteX352" fmla="*/ 899886 w 12191999"/>
              <a:gd name="connsiteY352" fmla="*/ 6349400 h 6858001"/>
              <a:gd name="connsiteX353" fmla="*/ 908139 w 12191999"/>
              <a:gd name="connsiteY353" fmla="*/ 6373736 h 6858001"/>
              <a:gd name="connsiteX354" fmla="*/ 930479 w 12191999"/>
              <a:gd name="connsiteY354" fmla="*/ 6382412 h 6858001"/>
              <a:gd name="connsiteX355" fmla="*/ 948860 w 12191999"/>
              <a:gd name="connsiteY355" fmla="*/ 6376971 h 6858001"/>
              <a:gd name="connsiteX356" fmla="*/ 958715 w 12191999"/>
              <a:gd name="connsiteY356" fmla="*/ 6361674 h 6858001"/>
              <a:gd name="connsiteX357" fmla="*/ 947469 w 12191999"/>
              <a:gd name="connsiteY357" fmla="*/ 6360283 h 6858001"/>
              <a:gd name="connsiteX358" fmla="*/ 940758 w 12191999"/>
              <a:gd name="connsiteY358" fmla="*/ 6370320 h 6858001"/>
              <a:gd name="connsiteX359" fmla="*/ 930540 w 12191999"/>
              <a:gd name="connsiteY359" fmla="*/ 6373464 h 6858001"/>
              <a:gd name="connsiteX360" fmla="*/ 917117 w 12191999"/>
              <a:gd name="connsiteY360" fmla="*/ 6367841 h 6858001"/>
              <a:gd name="connsiteX361" fmla="*/ 911132 w 12191999"/>
              <a:gd name="connsiteY361" fmla="*/ 6351637 h 6858001"/>
              <a:gd name="connsiteX362" fmla="*/ 959017 w 12191999"/>
              <a:gd name="connsiteY362" fmla="*/ 6351637 h 6858001"/>
              <a:gd name="connsiteX363" fmla="*/ 959078 w 12191999"/>
              <a:gd name="connsiteY363" fmla="*/ 6348735 h 6858001"/>
              <a:gd name="connsiteX364" fmla="*/ 950915 w 12191999"/>
              <a:gd name="connsiteY364" fmla="*/ 6324067 h 6858001"/>
              <a:gd name="connsiteX365" fmla="*/ 929875 w 12191999"/>
              <a:gd name="connsiteY365" fmla="*/ 6315300 h 6858001"/>
              <a:gd name="connsiteX366" fmla="*/ 867069 w 12191999"/>
              <a:gd name="connsiteY366" fmla="*/ 6315300 h 6858001"/>
              <a:gd name="connsiteX367" fmla="*/ 846633 w 12191999"/>
              <a:gd name="connsiteY367" fmla="*/ 6325881 h 6858001"/>
              <a:gd name="connsiteX368" fmla="*/ 846633 w 12191999"/>
              <a:gd name="connsiteY368" fmla="*/ 6316751 h 6858001"/>
              <a:gd name="connsiteX369" fmla="*/ 836839 w 12191999"/>
              <a:gd name="connsiteY369" fmla="*/ 6316751 h 6858001"/>
              <a:gd name="connsiteX370" fmla="*/ 836839 w 12191999"/>
              <a:gd name="connsiteY370" fmla="*/ 6380961 h 6858001"/>
              <a:gd name="connsiteX371" fmla="*/ 847722 w 12191999"/>
              <a:gd name="connsiteY371" fmla="*/ 6380961 h 6858001"/>
              <a:gd name="connsiteX372" fmla="*/ 847722 w 12191999"/>
              <a:gd name="connsiteY372" fmla="*/ 6345894 h 6858001"/>
              <a:gd name="connsiteX373" fmla="*/ 852770 w 12191999"/>
              <a:gd name="connsiteY373" fmla="*/ 6329146 h 6858001"/>
              <a:gd name="connsiteX374" fmla="*/ 864772 w 12191999"/>
              <a:gd name="connsiteY374" fmla="*/ 6324732 h 6858001"/>
              <a:gd name="connsiteX375" fmla="*/ 872360 w 12191999"/>
              <a:gd name="connsiteY375" fmla="*/ 6326697 h 6858001"/>
              <a:gd name="connsiteX376" fmla="*/ 876864 w 12191999"/>
              <a:gd name="connsiteY376" fmla="*/ 6331957 h 6858001"/>
              <a:gd name="connsiteX377" fmla="*/ 878134 w 12191999"/>
              <a:gd name="connsiteY377" fmla="*/ 6341903 h 6858001"/>
              <a:gd name="connsiteX378" fmla="*/ 878134 w 12191999"/>
              <a:gd name="connsiteY378" fmla="*/ 6380961 h 6858001"/>
              <a:gd name="connsiteX379" fmla="*/ 889017 w 12191999"/>
              <a:gd name="connsiteY379" fmla="*/ 6380961 h 6858001"/>
              <a:gd name="connsiteX380" fmla="*/ 889017 w 12191999"/>
              <a:gd name="connsiteY380" fmla="*/ 6341480 h 6858001"/>
              <a:gd name="connsiteX381" fmla="*/ 888412 w 12191999"/>
              <a:gd name="connsiteY381" fmla="*/ 6330899 h 6858001"/>
              <a:gd name="connsiteX382" fmla="*/ 885026 w 12191999"/>
              <a:gd name="connsiteY382" fmla="*/ 6322858 h 6858001"/>
              <a:gd name="connsiteX383" fmla="*/ 877741 w 12191999"/>
              <a:gd name="connsiteY383" fmla="*/ 6317386 h 6858001"/>
              <a:gd name="connsiteX384" fmla="*/ 867069 w 12191999"/>
              <a:gd name="connsiteY384" fmla="*/ 6315300 h 6858001"/>
              <a:gd name="connsiteX385" fmla="*/ 762690 w 12191999"/>
              <a:gd name="connsiteY385" fmla="*/ 6315300 h 6858001"/>
              <a:gd name="connsiteX386" fmla="*/ 753288 w 12191999"/>
              <a:gd name="connsiteY386" fmla="*/ 6316600 h 6858001"/>
              <a:gd name="connsiteX387" fmla="*/ 746365 w 12191999"/>
              <a:gd name="connsiteY387" fmla="*/ 6319774 h 6858001"/>
              <a:gd name="connsiteX388" fmla="*/ 741014 w 12191999"/>
              <a:gd name="connsiteY388" fmla="*/ 6325851 h 6858001"/>
              <a:gd name="connsiteX389" fmla="*/ 739049 w 12191999"/>
              <a:gd name="connsiteY389" fmla="*/ 6333801 h 6858001"/>
              <a:gd name="connsiteX390" fmla="*/ 741437 w 12191999"/>
              <a:gd name="connsiteY390" fmla="*/ 6342417 h 6858001"/>
              <a:gd name="connsiteX391" fmla="*/ 748451 w 12191999"/>
              <a:gd name="connsiteY391" fmla="*/ 6348524 h 6858001"/>
              <a:gd name="connsiteX392" fmla="*/ 765048 w 12191999"/>
              <a:gd name="connsiteY392" fmla="*/ 6353754 h 6858001"/>
              <a:gd name="connsiteX393" fmla="*/ 776172 w 12191999"/>
              <a:gd name="connsiteY393" fmla="*/ 6357442 h 6858001"/>
              <a:gd name="connsiteX394" fmla="*/ 779377 w 12191999"/>
              <a:gd name="connsiteY394" fmla="*/ 6363246 h 6858001"/>
              <a:gd name="connsiteX395" fmla="*/ 775749 w 12191999"/>
              <a:gd name="connsiteY395" fmla="*/ 6370411 h 6858001"/>
              <a:gd name="connsiteX396" fmla="*/ 764624 w 12191999"/>
              <a:gd name="connsiteY396" fmla="*/ 6373464 h 6858001"/>
              <a:gd name="connsiteX397" fmla="*/ 753046 w 12191999"/>
              <a:gd name="connsiteY397" fmla="*/ 6370018 h 6858001"/>
              <a:gd name="connsiteX398" fmla="*/ 747997 w 12191999"/>
              <a:gd name="connsiteY398" fmla="*/ 6360102 h 6858001"/>
              <a:gd name="connsiteX399" fmla="*/ 737235 w 12191999"/>
              <a:gd name="connsiteY399" fmla="*/ 6361795 h 6858001"/>
              <a:gd name="connsiteX400" fmla="*/ 745609 w 12191999"/>
              <a:gd name="connsiteY400" fmla="*/ 6377213 h 6858001"/>
              <a:gd name="connsiteX401" fmla="*/ 764685 w 12191999"/>
              <a:gd name="connsiteY401" fmla="*/ 6382412 h 6858001"/>
              <a:gd name="connsiteX402" fmla="*/ 778228 w 12191999"/>
              <a:gd name="connsiteY402" fmla="*/ 6379782 h 6858001"/>
              <a:gd name="connsiteX403" fmla="*/ 787388 w 12191999"/>
              <a:gd name="connsiteY403" fmla="*/ 6372345 h 6858001"/>
              <a:gd name="connsiteX404" fmla="*/ 790562 w 12191999"/>
              <a:gd name="connsiteY404" fmla="*/ 6362097 h 6858001"/>
              <a:gd name="connsiteX405" fmla="*/ 787962 w 12191999"/>
              <a:gd name="connsiteY405" fmla="*/ 6352786 h 6858001"/>
              <a:gd name="connsiteX406" fmla="*/ 780798 w 12191999"/>
              <a:gd name="connsiteY406" fmla="*/ 6347073 h 6858001"/>
              <a:gd name="connsiteX407" fmla="*/ 764685 w 12191999"/>
              <a:gd name="connsiteY407" fmla="*/ 6342024 h 6858001"/>
              <a:gd name="connsiteX408" fmla="*/ 755071 w 12191999"/>
              <a:gd name="connsiteY408" fmla="*/ 6339243 h 6858001"/>
              <a:gd name="connsiteX409" fmla="*/ 750900 w 12191999"/>
              <a:gd name="connsiteY409" fmla="*/ 6336341 h 6858001"/>
              <a:gd name="connsiteX410" fmla="*/ 749569 w 12191999"/>
              <a:gd name="connsiteY410" fmla="*/ 6332532 h 6858001"/>
              <a:gd name="connsiteX411" fmla="*/ 752774 w 12191999"/>
              <a:gd name="connsiteY411" fmla="*/ 6326727 h 6858001"/>
              <a:gd name="connsiteX412" fmla="*/ 763476 w 12191999"/>
              <a:gd name="connsiteY412" fmla="*/ 6324248 h 6858001"/>
              <a:gd name="connsiteX413" fmla="*/ 773301 w 12191999"/>
              <a:gd name="connsiteY413" fmla="*/ 6327030 h 6858001"/>
              <a:gd name="connsiteX414" fmla="*/ 777503 w 12191999"/>
              <a:gd name="connsiteY414" fmla="*/ 6334769 h 6858001"/>
              <a:gd name="connsiteX415" fmla="*/ 788144 w 12191999"/>
              <a:gd name="connsiteY415" fmla="*/ 6333318 h 6858001"/>
              <a:gd name="connsiteX416" fmla="*/ 784395 w 12191999"/>
              <a:gd name="connsiteY416" fmla="*/ 6323372 h 6858001"/>
              <a:gd name="connsiteX417" fmla="*/ 775961 w 12191999"/>
              <a:gd name="connsiteY417" fmla="*/ 6317477 h 6858001"/>
              <a:gd name="connsiteX418" fmla="*/ 762690 w 12191999"/>
              <a:gd name="connsiteY418" fmla="*/ 6315300 h 6858001"/>
              <a:gd name="connsiteX419" fmla="*/ 525681 w 12191999"/>
              <a:gd name="connsiteY419" fmla="*/ 6301636 h 6858001"/>
              <a:gd name="connsiteX420" fmla="*/ 531969 w 12191999"/>
              <a:gd name="connsiteY420" fmla="*/ 6320016 h 6858001"/>
              <a:gd name="connsiteX421" fmla="*/ 541219 w 12191999"/>
              <a:gd name="connsiteY421" fmla="*/ 6344563 h 6858001"/>
              <a:gd name="connsiteX422" fmla="*/ 511170 w 12191999"/>
              <a:gd name="connsiteY422" fmla="*/ 6344563 h 6858001"/>
              <a:gd name="connsiteX423" fmla="*/ 520904 w 12191999"/>
              <a:gd name="connsiteY423" fmla="*/ 6318565 h 6858001"/>
              <a:gd name="connsiteX424" fmla="*/ 525681 w 12191999"/>
              <a:gd name="connsiteY424" fmla="*/ 6301636 h 6858001"/>
              <a:gd name="connsiteX425" fmla="*/ 1847396 w 12191999"/>
              <a:gd name="connsiteY425" fmla="*/ 6292325 h 6858001"/>
              <a:gd name="connsiteX426" fmla="*/ 1847396 w 12191999"/>
              <a:gd name="connsiteY426" fmla="*/ 6380961 h 6858001"/>
              <a:gd name="connsiteX427" fmla="*/ 1902778 w 12191999"/>
              <a:gd name="connsiteY427" fmla="*/ 6380961 h 6858001"/>
              <a:gd name="connsiteX428" fmla="*/ 1902778 w 12191999"/>
              <a:gd name="connsiteY428" fmla="*/ 6370501 h 6858001"/>
              <a:gd name="connsiteX429" fmla="*/ 1859125 w 12191999"/>
              <a:gd name="connsiteY429" fmla="*/ 6370501 h 6858001"/>
              <a:gd name="connsiteX430" fmla="*/ 1859125 w 12191999"/>
              <a:gd name="connsiteY430" fmla="*/ 6292325 h 6858001"/>
              <a:gd name="connsiteX431" fmla="*/ 1676067 w 12191999"/>
              <a:gd name="connsiteY431" fmla="*/ 6292325 h 6858001"/>
              <a:gd name="connsiteX432" fmla="*/ 1676067 w 12191999"/>
              <a:gd name="connsiteY432" fmla="*/ 6380961 h 6858001"/>
              <a:gd name="connsiteX433" fmla="*/ 1687373 w 12191999"/>
              <a:gd name="connsiteY433" fmla="*/ 6380961 h 6858001"/>
              <a:gd name="connsiteX434" fmla="*/ 1687373 w 12191999"/>
              <a:gd name="connsiteY434" fmla="*/ 6305505 h 6858001"/>
              <a:gd name="connsiteX435" fmla="*/ 1713008 w 12191999"/>
              <a:gd name="connsiteY435" fmla="*/ 6380961 h 6858001"/>
              <a:gd name="connsiteX436" fmla="*/ 1723589 w 12191999"/>
              <a:gd name="connsiteY436" fmla="*/ 6380961 h 6858001"/>
              <a:gd name="connsiteX437" fmla="*/ 1749346 w 12191999"/>
              <a:gd name="connsiteY437" fmla="*/ 6306775 h 6858001"/>
              <a:gd name="connsiteX438" fmla="*/ 1749346 w 12191999"/>
              <a:gd name="connsiteY438" fmla="*/ 6380961 h 6858001"/>
              <a:gd name="connsiteX439" fmla="*/ 1760652 w 12191999"/>
              <a:gd name="connsiteY439" fmla="*/ 6380961 h 6858001"/>
              <a:gd name="connsiteX440" fmla="*/ 1760652 w 12191999"/>
              <a:gd name="connsiteY440" fmla="*/ 6292325 h 6858001"/>
              <a:gd name="connsiteX441" fmla="*/ 1744872 w 12191999"/>
              <a:gd name="connsiteY441" fmla="*/ 6292325 h 6858001"/>
              <a:gd name="connsiteX442" fmla="*/ 1723650 w 12191999"/>
              <a:gd name="connsiteY442" fmla="*/ 6353995 h 6858001"/>
              <a:gd name="connsiteX443" fmla="*/ 1718933 w 12191999"/>
              <a:gd name="connsiteY443" fmla="*/ 6368204 h 6858001"/>
              <a:gd name="connsiteX444" fmla="*/ 1714701 w 12191999"/>
              <a:gd name="connsiteY444" fmla="*/ 6355084 h 6858001"/>
              <a:gd name="connsiteX445" fmla="*/ 1693721 w 12191999"/>
              <a:gd name="connsiteY445" fmla="*/ 6292325 h 6858001"/>
              <a:gd name="connsiteX446" fmla="*/ 1560739 w 12191999"/>
              <a:gd name="connsiteY446" fmla="*/ 6292325 h 6858001"/>
              <a:gd name="connsiteX447" fmla="*/ 1560739 w 12191999"/>
              <a:gd name="connsiteY447" fmla="*/ 6380961 h 6858001"/>
              <a:gd name="connsiteX448" fmla="*/ 1571622 w 12191999"/>
              <a:gd name="connsiteY448" fmla="*/ 6380961 h 6858001"/>
              <a:gd name="connsiteX449" fmla="*/ 1571622 w 12191999"/>
              <a:gd name="connsiteY449" fmla="*/ 6345833 h 6858001"/>
              <a:gd name="connsiteX450" fmla="*/ 1573435 w 12191999"/>
              <a:gd name="connsiteY450" fmla="*/ 6333983 h 6858001"/>
              <a:gd name="connsiteX451" fmla="*/ 1579512 w 12191999"/>
              <a:gd name="connsiteY451" fmla="*/ 6327181 h 6858001"/>
              <a:gd name="connsiteX452" fmla="*/ 1588611 w 12191999"/>
              <a:gd name="connsiteY452" fmla="*/ 6324672 h 6858001"/>
              <a:gd name="connsiteX453" fmla="*/ 1598618 w 12191999"/>
              <a:gd name="connsiteY453" fmla="*/ 6328390 h 6858001"/>
              <a:gd name="connsiteX454" fmla="*/ 1602155 w 12191999"/>
              <a:gd name="connsiteY454" fmla="*/ 6340271 h 6858001"/>
              <a:gd name="connsiteX455" fmla="*/ 1602155 w 12191999"/>
              <a:gd name="connsiteY455" fmla="*/ 6380961 h 6858001"/>
              <a:gd name="connsiteX456" fmla="*/ 1613038 w 12191999"/>
              <a:gd name="connsiteY456" fmla="*/ 6380961 h 6858001"/>
              <a:gd name="connsiteX457" fmla="*/ 1613038 w 12191999"/>
              <a:gd name="connsiteY457" fmla="*/ 6340271 h 6858001"/>
              <a:gd name="connsiteX458" fmla="*/ 1610771 w 12191999"/>
              <a:gd name="connsiteY458" fmla="*/ 6325881 h 6858001"/>
              <a:gd name="connsiteX459" fmla="*/ 1603243 w 12191999"/>
              <a:gd name="connsiteY459" fmla="*/ 6318112 h 6858001"/>
              <a:gd name="connsiteX460" fmla="*/ 1590848 w 12191999"/>
              <a:gd name="connsiteY460" fmla="*/ 6315300 h 6858001"/>
              <a:gd name="connsiteX461" fmla="*/ 1571622 w 12191999"/>
              <a:gd name="connsiteY461" fmla="*/ 6324128 h 6858001"/>
              <a:gd name="connsiteX462" fmla="*/ 1571622 w 12191999"/>
              <a:gd name="connsiteY462" fmla="*/ 6292325 h 6858001"/>
              <a:gd name="connsiteX463" fmla="*/ 1285542 w 12191999"/>
              <a:gd name="connsiteY463" fmla="*/ 6292325 h 6858001"/>
              <a:gd name="connsiteX464" fmla="*/ 1285542 w 12191999"/>
              <a:gd name="connsiteY464" fmla="*/ 6380961 h 6858001"/>
              <a:gd name="connsiteX465" fmla="*/ 1296848 w 12191999"/>
              <a:gd name="connsiteY465" fmla="*/ 6380961 h 6858001"/>
              <a:gd name="connsiteX466" fmla="*/ 1296848 w 12191999"/>
              <a:gd name="connsiteY466" fmla="*/ 6305505 h 6858001"/>
              <a:gd name="connsiteX467" fmla="*/ 1322484 w 12191999"/>
              <a:gd name="connsiteY467" fmla="*/ 6380961 h 6858001"/>
              <a:gd name="connsiteX468" fmla="*/ 1333064 w 12191999"/>
              <a:gd name="connsiteY468" fmla="*/ 6380961 h 6858001"/>
              <a:gd name="connsiteX469" fmla="*/ 1358821 w 12191999"/>
              <a:gd name="connsiteY469" fmla="*/ 6306775 h 6858001"/>
              <a:gd name="connsiteX470" fmla="*/ 1358821 w 12191999"/>
              <a:gd name="connsiteY470" fmla="*/ 6380961 h 6858001"/>
              <a:gd name="connsiteX471" fmla="*/ 1370127 w 12191999"/>
              <a:gd name="connsiteY471" fmla="*/ 6380961 h 6858001"/>
              <a:gd name="connsiteX472" fmla="*/ 1370127 w 12191999"/>
              <a:gd name="connsiteY472" fmla="*/ 6292325 h 6858001"/>
              <a:gd name="connsiteX473" fmla="*/ 1354347 w 12191999"/>
              <a:gd name="connsiteY473" fmla="*/ 6292325 h 6858001"/>
              <a:gd name="connsiteX474" fmla="*/ 1333125 w 12191999"/>
              <a:gd name="connsiteY474" fmla="*/ 6353995 h 6858001"/>
              <a:gd name="connsiteX475" fmla="*/ 1328409 w 12191999"/>
              <a:gd name="connsiteY475" fmla="*/ 6368204 h 6858001"/>
              <a:gd name="connsiteX476" fmla="*/ 1324176 w 12191999"/>
              <a:gd name="connsiteY476" fmla="*/ 6355084 h 6858001"/>
              <a:gd name="connsiteX477" fmla="*/ 1303196 w 12191999"/>
              <a:gd name="connsiteY477" fmla="*/ 6292325 h 6858001"/>
              <a:gd name="connsiteX478" fmla="*/ 808324 w 12191999"/>
              <a:gd name="connsiteY478" fmla="*/ 6292325 h 6858001"/>
              <a:gd name="connsiteX479" fmla="*/ 808324 w 12191999"/>
              <a:gd name="connsiteY479" fmla="*/ 6304840 h 6858001"/>
              <a:gd name="connsiteX480" fmla="*/ 819207 w 12191999"/>
              <a:gd name="connsiteY480" fmla="*/ 6304840 h 6858001"/>
              <a:gd name="connsiteX481" fmla="*/ 819207 w 12191999"/>
              <a:gd name="connsiteY481" fmla="*/ 6292325 h 6858001"/>
              <a:gd name="connsiteX482" fmla="*/ 608178 w 12191999"/>
              <a:gd name="connsiteY482" fmla="*/ 6292325 h 6858001"/>
              <a:gd name="connsiteX483" fmla="*/ 608178 w 12191999"/>
              <a:gd name="connsiteY483" fmla="*/ 6380961 h 6858001"/>
              <a:gd name="connsiteX484" fmla="*/ 618275 w 12191999"/>
              <a:gd name="connsiteY484" fmla="*/ 6380961 h 6858001"/>
              <a:gd name="connsiteX485" fmla="*/ 618275 w 12191999"/>
              <a:gd name="connsiteY485" fmla="*/ 6372920 h 6858001"/>
              <a:gd name="connsiteX486" fmla="*/ 636111 w 12191999"/>
              <a:gd name="connsiteY486" fmla="*/ 6382412 h 6858001"/>
              <a:gd name="connsiteX487" fmla="*/ 655701 w 12191999"/>
              <a:gd name="connsiteY487" fmla="*/ 6373404 h 6858001"/>
              <a:gd name="connsiteX488" fmla="*/ 663863 w 12191999"/>
              <a:gd name="connsiteY488" fmla="*/ 6347889 h 6858001"/>
              <a:gd name="connsiteX489" fmla="*/ 661928 w 12191999"/>
              <a:gd name="connsiteY489" fmla="*/ 6334829 h 6858001"/>
              <a:gd name="connsiteX490" fmla="*/ 656577 w 12191999"/>
              <a:gd name="connsiteY490" fmla="*/ 6324400 h 6858001"/>
              <a:gd name="connsiteX491" fmla="*/ 647871 w 12191999"/>
              <a:gd name="connsiteY491" fmla="*/ 6317688 h 6858001"/>
              <a:gd name="connsiteX492" fmla="*/ 636655 w 12191999"/>
              <a:gd name="connsiteY492" fmla="*/ 6315300 h 6858001"/>
              <a:gd name="connsiteX493" fmla="*/ 619061 w 12191999"/>
              <a:gd name="connsiteY493" fmla="*/ 6323946 h 6858001"/>
              <a:gd name="connsiteX494" fmla="*/ 619061 w 12191999"/>
              <a:gd name="connsiteY494" fmla="*/ 6292325 h 6858001"/>
              <a:gd name="connsiteX495" fmla="*/ 519635 w 12191999"/>
              <a:gd name="connsiteY495" fmla="*/ 6292325 h 6858001"/>
              <a:gd name="connsiteX496" fmla="*/ 485595 w 12191999"/>
              <a:gd name="connsiteY496" fmla="*/ 6380961 h 6858001"/>
              <a:gd name="connsiteX497" fmla="*/ 498050 w 12191999"/>
              <a:gd name="connsiteY497" fmla="*/ 6380961 h 6858001"/>
              <a:gd name="connsiteX498" fmla="*/ 507784 w 12191999"/>
              <a:gd name="connsiteY498" fmla="*/ 6354116 h 6858001"/>
              <a:gd name="connsiteX499" fmla="*/ 544847 w 12191999"/>
              <a:gd name="connsiteY499" fmla="*/ 6354116 h 6858001"/>
              <a:gd name="connsiteX500" fmla="*/ 555186 w 12191999"/>
              <a:gd name="connsiteY500" fmla="*/ 6380961 h 6858001"/>
              <a:gd name="connsiteX501" fmla="*/ 568548 w 12191999"/>
              <a:gd name="connsiteY501" fmla="*/ 6380961 h 6858001"/>
              <a:gd name="connsiteX502" fmla="*/ 532271 w 12191999"/>
              <a:gd name="connsiteY502" fmla="*/ 6292325 h 6858001"/>
              <a:gd name="connsiteX503" fmla="*/ 1228689 w 12191999"/>
              <a:gd name="connsiteY503" fmla="*/ 6290813 h 6858001"/>
              <a:gd name="connsiteX504" fmla="*/ 1217594 w 12191999"/>
              <a:gd name="connsiteY504" fmla="*/ 6293443 h 6858001"/>
              <a:gd name="connsiteX505" fmla="*/ 1212062 w 12191999"/>
              <a:gd name="connsiteY505" fmla="*/ 6300306 h 6858001"/>
              <a:gd name="connsiteX506" fmla="*/ 1210914 w 12191999"/>
              <a:gd name="connsiteY506" fmla="*/ 6309919 h 6858001"/>
              <a:gd name="connsiteX507" fmla="*/ 1210914 w 12191999"/>
              <a:gd name="connsiteY507" fmla="*/ 6316751 h 6858001"/>
              <a:gd name="connsiteX508" fmla="*/ 1201300 w 12191999"/>
              <a:gd name="connsiteY508" fmla="*/ 6316751 h 6858001"/>
              <a:gd name="connsiteX509" fmla="*/ 1201300 w 12191999"/>
              <a:gd name="connsiteY509" fmla="*/ 6325216 h 6858001"/>
              <a:gd name="connsiteX510" fmla="*/ 1210914 w 12191999"/>
              <a:gd name="connsiteY510" fmla="*/ 6325216 h 6858001"/>
              <a:gd name="connsiteX511" fmla="*/ 1210914 w 12191999"/>
              <a:gd name="connsiteY511" fmla="*/ 6380961 h 6858001"/>
              <a:gd name="connsiteX512" fmla="*/ 1221736 w 12191999"/>
              <a:gd name="connsiteY512" fmla="*/ 6380961 h 6858001"/>
              <a:gd name="connsiteX513" fmla="*/ 1221736 w 12191999"/>
              <a:gd name="connsiteY513" fmla="*/ 6325216 h 6858001"/>
              <a:gd name="connsiteX514" fmla="*/ 1234252 w 12191999"/>
              <a:gd name="connsiteY514" fmla="*/ 6325216 h 6858001"/>
              <a:gd name="connsiteX515" fmla="*/ 1234252 w 12191999"/>
              <a:gd name="connsiteY515" fmla="*/ 6316751 h 6858001"/>
              <a:gd name="connsiteX516" fmla="*/ 1221736 w 12191999"/>
              <a:gd name="connsiteY516" fmla="*/ 6316751 h 6858001"/>
              <a:gd name="connsiteX517" fmla="*/ 1221736 w 12191999"/>
              <a:gd name="connsiteY517" fmla="*/ 6310826 h 6858001"/>
              <a:gd name="connsiteX518" fmla="*/ 1223792 w 12191999"/>
              <a:gd name="connsiteY518" fmla="*/ 6302906 h 6858001"/>
              <a:gd name="connsiteX519" fmla="*/ 1230805 w 12191999"/>
              <a:gd name="connsiteY519" fmla="*/ 6300789 h 6858001"/>
              <a:gd name="connsiteX520" fmla="*/ 1237214 w 12191999"/>
              <a:gd name="connsiteY520" fmla="*/ 6301394 h 6858001"/>
              <a:gd name="connsiteX521" fmla="*/ 1238847 w 12191999"/>
              <a:gd name="connsiteY521" fmla="*/ 6291902 h 6858001"/>
              <a:gd name="connsiteX522" fmla="*/ 1228689 w 12191999"/>
              <a:gd name="connsiteY522" fmla="*/ 6290813 h 6858001"/>
              <a:gd name="connsiteX523" fmla="*/ 7175501 w 12191999"/>
              <a:gd name="connsiteY523" fmla="*/ 1 h 6858001"/>
              <a:gd name="connsiteX524" fmla="*/ 12191999 w 12191999"/>
              <a:gd name="connsiteY524" fmla="*/ 1 h 6858001"/>
              <a:gd name="connsiteX525" fmla="*/ 12191999 w 12191999"/>
              <a:gd name="connsiteY525" fmla="*/ 6858001 h 6858001"/>
              <a:gd name="connsiteX526" fmla="*/ 1 w 12191999"/>
              <a:gd name="connsiteY526" fmla="*/ 6858001 h 6858001"/>
              <a:gd name="connsiteX527" fmla="*/ 1 w 12191999"/>
              <a:gd name="connsiteY527" fmla="*/ 5752619 h 6858001"/>
              <a:gd name="connsiteX528" fmla="*/ 7175501 w 12191999"/>
              <a:gd name="connsiteY528" fmla="*/ 5752619 h 6858001"/>
              <a:gd name="connsiteX529" fmla="*/ 0 w 12191999"/>
              <a:gd name="connsiteY529" fmla="*/ 0 h 6858001"/>
              <a:gd name="connsiteX530" fmla="*/ 7175501 w 12191999"/>
              <a:gd name="connsiteY530" fmla="*/ 0 h 6858001"/>
              <a:gd name="connsiteX531" fmla="*/ 7175501 w 12191999"/>
              <a:gd name="connsiteY531" fmla="*/ 1 h 6858001"/>
              <a:gd name="connsiteX532" fmla="*/ 1 w 12191999"/>
              <a:gd name="connsiteY532" fmla="*/ 1 h 6858001"/>
              <a:gd name="connsiteX533" fmla="*/ 1 w 12191999"/>
              <a:gd name="connsiteY533" fmla="*/ 5752619 h 6858001"/>
              <a:gd name="connsiteX534" fmla="*/ 0 w 12191999"/>
              <a:gd name="connsiteY534" fmla="*/ 575261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Lst>
            <a:rect l="l" t="t" r="r" b="b"/>
            <a:pathLst>
              <a:path w="12191999" h="6858001">
                <a:moveTo>
                  <a:pt x="2154182" y="6348735"/>
                </a:moveTo>
                <a:lnTo>
                  <a:pt x="2154182" y="6352726"/>
                </a:lnTo>
                <a:cubicBezTo>
                  <a:pt x="2154182" y="6357522"/>
                  <a:pt x="2153597" y="6361150"/>
                  <a:pt x="2152428" y="6363609"/>
                </a:cubicBezTo>
                <a:cubicBezTo>
                  <a:pt x="2150896" y="6366793"/>
                  <a:pt x="2148498" y="6369302"/>
                  <a:pt x="2145233" y="6371136"/>
                </a:cubicBezTo>
                <a:cubicBezTo>
                  <a:pt x="2141968" y="6372970"/>
                  <a:pt x="2138240" y="6373887"/>
                  <a:pt x="2134048" y="6373887"/>
                </a:cubicBezTo>
                <a:cubicBezTo>
                  <a:pt x="2129816" y="6373887"/>
                  <a:pt x="2126601" y="6372920"/>
                  <a:pt x="2124404" y="6370985"/>
                </a:cubicBezTo>
                <a:cubicBezTo>
                  <a:pt x="2122207" y="6369050"/>
                  <a:pt x="2121109" y="6366632"/>
                  <a:pt x="2121109" y="6363730"/>
                </a:cubicBezTo>
                <a:cubicBezTo>
                  <a:pt x="2121109" y="6361835"/>
                  <a:pt x="2121613" y="6360112"/>
                  <a:pt x="2122621" y="6358560"/>
                </a:cubicBezTo>
                <a:cubicBezTo>
                  <a:pt x="2123628" y="6357008"/>
                  <a:pt x="2125059" y="6355829"/>
                  <a:pt x="2126913" y="6355023"/>
                </a:cubicBezTo>
                <a:cubicBezTo>
                  <a:pt x="2128768" y="6354217"/>
                  <a:pt x="2131932" y="6353492"/>
                  <a:pt x="2136406" y="6352847"/>
                </a:cubicBezTo>
                <a:cubicBezTo>
                  <a:pt x="2144306" y="6351718"/>
                  <a:pt x="2150231" y="6350348"/>
                  <a:pt x="2154182" y="6348735"/>
                </a:cubicBezTo>
                <a:close/>
                <a:moveTo>
                  <a:pt x="1430281" y="6348735"/>
                </a:moveTo>
                <a:lnTo>
                  <a:pt x="1430281" y="6352726"/>
                </a:lnTo>
                <a:cubicBezTo>
                  <a:pt x="1430281" y="6357522"/>
                  <a:pt x="1429697" y="6361150"/>
                  <a:pt x="1428528" y="6363609"/>
                </a:cubicBezTo>
                <a:cubicBezTo>
                  <a:pt x="1426997" y="6366793"/>
                  <a:pt x="1424598" y="6369302"/>
                  <a:pt x="1421333" y="6371136"/>
                </a:cubicBezTo>
                <a:cubicBezTo>
                  <a:pt x="1418068" y="6372970"/>
                  <a:pt x="1414340" y="6373887"/>
                  <a:pt x="1410148" y="6373887"/>
                </a:cubicBezTo>
                <a:cubicBezTo>
                  <a:pt x="1405916" y="6373887"/>
                  <a:pt x="1402701" y="6372920"/>
                  <a:pt x="1400504" y="6370985"/>
                </a:cubicBezTo>
                <a:cubicBezTo>
                  <a:pt x="1398308" y="6369050"/>
                  <a:pt x="1397209" y="6366632"/>
                  <a:pt x="1397209" y="6363730"/>
                </a:cubicBezTo>
                <a:cubicBezTo>
                  <a:pt x="1397209" y="6361835"/>
                  <a:pt x="1397713" y="6360112"/>
                  <a:pt x="1398721" y="6358560"/>
                </a:cubicBezTo>
                <a:cubicBezTo>
                  <a:pt x="1399728" y="6357008"/>
                  <a:pt x="1401159" y="6355829"/>
                  <a:pt x="1403013" y="6355023"/>
                </a:cubicBezTo>
                <a:cubicBezTo>
                  <a:pt x="1404867" y="6354217"/>
                  <a:pt x="1408032" y="6353492"/>
                  <a:pt x="1412506" y="6352847"/>
                </a:cubicBezTo>
                <a:cubicBezTo>
                  <a:pt x="1420406" y="6351718"/>
                  <a:pt x="1426331" y="6350348"/>
                  <a:pt x="1430281" y="6348735"/>
                </a:cubicBezTo>
                <a:close/>
                <a:moveTo>
                  <a:pt x="1167698" y="6324309"/>
                </a:moveTo>
                <a:cubicBezTo>
                  <a:pt x="1173058" y="6324309"/>
                  <a:pt x="1177543" y="6326355"/>
                  <a:pt x="1181150" y="6330446"/>
                </a:cubicBezTo>
                <a:cubicBezTo>
                  <a:pt x="1184758" y="6334537"/>
                  <a:pt x="1186561" y="6340553"/>
                  <a:pt x="1186561" y="6348493"/>
                </a:cubicBezTo>
                <a:cubicBezTo>
                  <a:pt x="1186561" y="6356918"/>
                  <a:pt x="1184768" y="6363186"/>
                  <a:pt x="1181180" y="6367297"/>
                </a:cubicBezTo>
                <a:cubicBezTo>
                  <a:pt x="1177593" y="6371408"/>
                  <a:pt x="1173099" y="6373464"/>
                  <a:pt x="1167698" y="6373464"/>
                </a:cubicBezTo>
                <a:cubicBezTo>
                  <a:pt x="1162256" y="6373464"/>
                  <a:pt x="1157741" y="6371418"/>
                  <a:pt x="1154154" y="6367327"/>
                </a:cubicBezTo>
                <a:cubicBezTo>
                  <a:pt x="1150567" y="6363236"/>
                  <a:pt x="1148773" y="6357079"/>
                  <a:pt x="1148773" y="6348856"/>
                </a:cubicBezTo>
                <a:cubicBezTo>
                  <a:pt x="1148773" y="6340633"/>
                  <a:pt x="1150567" y="6334487"/>
                  <a:pt x="1154154" y="6330415"/>
                </a:cubicBezTo>
                <a:cubicBezTo>
                  <a:pt x="1157741" y="6326344"/>
                  <a:pt x="1162256" y="6324309"/>
                  <a:pt x="1167698" y="6324309"/>
                </a:cubicBezTo>
                <a:close/>
                <a:moveTo>
                  <a:pt x="1939646" y="6324248"/>
                </a:moveTo>
                <a:cubicBezTo>
                  <a:pt x="1945168" y="6324248"/>
                  <a:pt x="1949662" y="6326344"/>
                  <a:pt x="1953129" y="6330536"/>
                </a:cubicBezTo>
                <a:cubicBezTo>
                  <a:pt x="1955386" y="6333237"/>
                  <a:pt x="1956756" y="6337288"/>
                  <a:pt x="1957240" y="6342689"/>
                </a:cubicBezTo>
                <a:lnTo>
                  <a:pt x="1921387" y="6342689"/>
                </a:lnTo>
                <a:cubicBezTo>
                  <a:pt x="1921749" y="6337086"/>
                  <a:pt x="1923634" y="6332612"/>
                  <a:pt x="1927040" y="6329267"/>
                </a:cubicBezTo>
                <a:cubicBezTo>
                  <a:pt x="1930445" y="6325921"/>
                  <a:pt x="1934648" y="6324248"/>
                  <a:pt x="1939646" y="6324248"/>
                </a:cubicBezTo>
                <a:close/>
                <a:moveTo>
                  <a:pt x="929996" y="6324248"/>
                </a:moveTo>
                <a:cubicBezTo>
                  <a:pt x="935518" y="6324248"/>
                  <a:pt x="940012" y="6326344"/>
                  <a:pt x="943479" y="6330536"/>
                </a:cubicBezTo>
                <a:cubicBezTo>
                  <a:pt x="945736" y="6333237"/>
                  <a:pt x="947106" y="6337288"/>
                  <a:pt x="947590" y="6342689"/>
                </a:cubicBezTo>
                <a:lnTo>
                  <a:pt x="911736" y="6342689"/>
                </a:lnTo>
                <a:cubicBezTo>
                  <a:pt x="912099" y="6337086"/>
                  <a:pt x="913983" y="6332612"/>
                  <a:pt x="917389" y="6329267"/>
                </a:cubicBezTo>
                <a:cubicBezTo>
                  <a:pt x="920795" y="6325921"/>
                  <a:pt x="924997" y="6324248"/>
                  <a:pt x="929996" y="6324248"/>
                </a:cubicBezTo>
                <a:close/>
                <a:moveTo>
                  <a:pt x="635688" y="6324248"/>
                </a:moveTo>
                <a:cubicBezTo>
                  <a:pt x="640404" y="6324248"/>
                  <a:pt x="644425" y="6326244"/>
                  <a:pt x="647750" y="6330234"/>
                </a:cubicBezTo>
                <a:cubicBezTo>
                  <a:pt x="651075" y="6334225"/>
                  <a:pt x="652738" y="6340412"/>
                  <a:pt x="652738" y="6348796"/>
                </a:cubicBezTo>
                <a:cubicBezTo>
                  <a:pt x="652738" y="6356978"/>
                  <a:pt x="651005" y="6363135"/>
                  <a:pt x="647538" y="6367267"/>
                </a:cubicBezTo>
                <a:cubicBezTo>
                  <a:pt x="644072" y="6371398"/>
                  <a:pt x="639961" y="6373464"/>
                  <a:pt x="635204" y="6373464"/>
                </a:cubicBezTo>
                <a:cubicBezTo>
                  <a:pt x="629360" y="6373464"/>
                  <a:pt x="624724" y="6370663"/>
                  <a:pt x="621298" y="6365060"/>
                </a:cubicBezTo>
                <a:cubicBezTo>
                  <a:pt x="619202" y="6361634"/>
                  <a:pt x="618154" y="6356071"/>
                  <a:pt x="618154" y="6348373"/>
                </a:cubicBezTo>
                <a:cubicBezTo>
                  <a:pt x="618154" y="6340553"/>
                  <a:pt x="619887" y="6334577"/>
                  <a:pt x="623354" y="6330446"/>
                </a:cubicBezTo>
                <a:cubicBezTo>
                  <a:pt x="626820" y="6326314"/>
                  <a:pt x="630932" y="6324248"/>
                  <a:pt x="635688" y="6324248"/>
                </a:cubicBezTo>
                <a:close/>
                <a:moveTo>
                  <a:pt x="808324" y="6316751"/>
                </a:moveTo>
                <a:lnTo>
                  <a:pt x="808324" y="6380961"/>
                </a:lnTo>
                <a:lnTo>
                  <a:pt x="819207" y="6380961"/>
                </a:lnTo>
                <a:lnTo>
                  <a:pt x="819207" y="6316751"/>
                </a:lnTo>
                <a:close/>
                <a:moveTo>
                  <a:pt x="674672" y="6316751"/>
                </a:moveTo>
                <a:lnTo>
                  <a:pt x="674672" y="6356535"/>
                </a:lnTo>
                <a:cubicBezTo>
                  <a:pt x="674672" y="6361170"/>
                  <a:pt x="674893" y="6364556"/>
                  <a:pt x="675337" y="6366692"/>
                </a:cubicBezTo>
                <a:cubicBezTo>
                  <a:pt x="675982" y="6369877"/>
                  <a:pt x="677100" y="6372567"/>
                  <a:pt x="678692" y="6374764"/>
                </a:cubicBezTo>
                <a:cubicBezTo>
                  <a:pt x="680284" y="6376961"/>
                  <a:pt x="682723" y="6378785"/>
                  <a:pt x="686008" y="6380236"/>
                </a:cubicBezTo>
                <a:cubicBezTo>
                  <a:pt x="689293" y="6381687"/>
                  <a:pt x="692830" y="6382412"/>
                  <a:pt x="696619" y="6382412"/>
                </a:cubicBezTo>
                <a:cubicBezTo>
                  <a:pt x="705205" y="6382412"/>
                  <a:pt x="711997" y="6378785"/>
                  <a:pt x="716995" y="6371529"/>
                </a:cubicBezTo>
                <a:lnTo>
                  <a:pt x="716995" y="6380961"/>
                </a:lnTo>
                <a:lnTo>
                  <a:pt x="726729" y="6380961"/>
                </a:lnTo>
                <a:lnTo>
                  <a:pt x="726729" y="6316751"/>
                </a:lnTo>
                <a:lnTo>
                  <a:pt x="715846" y="6316751"/>
                </a:lnTo>
                <a:lnTo>
                  <a:pt x="715846" y="6351154"/>
                </a:lnTo>
                <a:cubicBezTo>
                  <a:pt x="715846" y="6356636"/>
                  <a:pt x="715251" y="6360818"/>
                  <a:pt x="714062" y="6363700"/>
                </a:cubicBezTo>
                <a:cubicBezTo>
                  <a:pt x="712873" y="6366582"/>
                  <a:pt x="710848" y="6368859"/>
                  <a:pt x="707986" y="6370532"/>
                </a:cubicBezTo>
                <a:cubicBezTo>
                  <a:pt x="705124" y="6372204"/>
                  <a:pt x="702061" y="6373041"/>
                  <a:pt x="698796" y="6373041"/>
                </a:cubicBezTo>
                <a:cubicBezTo>
                  <a:pt x="695531" y="6373041"/>
                  <a:pt x="692790" y="6372225"/>
                  <a:pt x="690573" y="6370592"/>
                </a:cubicBezTo>
                <a:cubicBezTo>
                  <a:pt x="688356" y="6368960"/>
                  <a:pt x="686905" y="6366713"/>
                  <a:pt x="686220" y="6363851"/>
                </a:cubicBezTo>
                <a:cubicBezTo>
                  <a:pt x="685776" y="6361876"/>
                  <a:pt x="685555" y="6358046"/>
                  <a:pt x="685555" y="6352363"/>
                </a:cubicBezTo>
                <a:lnTo>
                  <a:pt x="685555" y="6316751"/>
                </a:lnTo>
                <a:close/>
                <a:moveTo>
                  <a:pt x="2210094" y="6315300"/>
                </a:moveTo>
                <a:cubicBezTo>
                  <a:pt x="2201186" y="6315300"/>
                  <a:pt x="2194374" y="6318827"/>
                  <a:pt x="2189659" y="6325881"/>
                </a:cubicBezTo>
                <a:lnTo>
                  <a:pt x="2189659" y="6316751"/>
                </a:lnTo>
                <a:lnTo>
                  <a:pt x="2179864" y="6316751"/>
                </a:lnTo>
                <a:lnTo>
                  <a:pt x="2179864" y="6380961"/>
                </a:lnTo>
                <a:lnTo>
                  <a:pt x="2190747" y="6380961"/>
                </a:lnTo>
                <a:lnTo>
                  <a:pt x="2190747" y="6345894"/>
                </a:lnTo>
                <a:cubicBezTo>
                  <a:pt x="2190747" y="6337671"/>
                  <a:pt x="2192430" y="6332088"/>
                  <a:pt x="2195795" y="6329146"/>
                </a:cubicBezTo>
                <a:cubicBezTo>
                  <a:pt x="2199161" y="6326203"/>
                  <a:pt x="2203161" y="6324732"/>
                  <a:pt x="2207797" y="6324732"/>
                </a:cubicBezTo>
                <a:cubicBezTo>
                  <a:pt x="2210699" y="6324732"/>
                  <a:pt x="2213228" y="6325387"/>
                  <a:pt x="2215385" y="6326697"/>
                </a:cubicBezTo>
                <a:cubicBezTo>
                  <a:pt x="2217541" y="6328007"/>
                  <a:pt x="2219043" y="6329761"/>
                  <a:pt x="2219889" y="6331957"/>
                </a:cubicBezTo>
                <a:cubicBezTo>
                  <a:pt x="2220735" y="6334154"/>
                  <a:pt x="2221159" y="6337469"/>
                  <a:pt x="2221159" y="6341903"/>
                </a:cubicBezTo>
                <a:lnTo>
                  <a:pt x="2221159" y="6380961"/>
                </a:lnTo>
                <a:lnTo>
                  <a:pt x="2232042" y="6380961"/>
                </a:lnTo>
                <a:lnTo>
                  <a:pt x="2232042" y="6341480"/>
                </a:lnTo>
                <a:cubicBezTo>
                  <a:pt x="2232042" y="6336441"/>
                  <a:pt x="2231840" y="6332915"/>
                  <a:pt x="2231437" y="6330899"/>
                </a:cubicBezTo>
                <a:cubicBezTo>
                  <a:pt x="2230792" y="6327796"/>
                  <a:pt x="2229664" y="6325115"/>
                  <a:pt x="2228052" y="6322858"/>
                </a:cubicBezTo>
                <a:cubicBezTo>
                  <a:pt x="2226439" y="6320601"/>
                  <a:pt x="2224011" y="6318777"/>
                  <a:pt x="2220766" y="6317386"/>
                </a:cubicBezTo>
                <a:cubicBezTo>
                  <a:pt x="2217521" y="6315995"/>
                  <a:pt x="2213964" y="6315300"/>
                  <a:pt x="2210094" y="6315300"/>
                </a:cubicBezTo>
                <a:close/>
                <a:moveTo>
                  <a:pt x="2140336" y="6315300"/>
                </a:moveTo>
                <a:cubicBezTo>
                  <a:pt x="2134814" y="6315300"/>
                  <a:pt x="2129957" y="6316056"/>
                  <a:pt x="2125765" y="6317567"/>
                </a:cubicBezTo>
                <a:cubicBezTo>
                  <a:pt x="2121573" y="6319079"/>
                  <a:pt x="2118368" y="6321235"/>
                  <a:pt x="2116151" y="6324037"/>
                </a:cubicBezTo>
                <a:cubicBezTo>
                  <a:pt x="2113934" y="6326838"/>
                  <a:pt x="2112342" y="6330516"/>
                  <a:pt x="2111375" y="6335071"/>
                </a:cubicBezTo>
                <a:lnTo>
                  <a:pt x="2122016" y="6336522"/>
                </a:lnTo>
                <a:cubicBezTo>
                  <a:pt x="2123185" y="6331967"/>
                  <a:pt x="2124989" y="6328793"/>
                  <a:pt x="2127427" y="6326999"/>
                </a:cubicBezTo>
                <a:cubicBezTo>
                  <a:pt x="2129866" y="6325206"/>
                  <a:pt x="2133645" y="6324309"/>
                  <a:pt x="2138764" y="6324309"/>
                </a:cubicBezTo>
                <a:cubicBezTo>
                  <a:pt x="2144246" y="6324309"/>
                  <a:pt x="2148377" y="6325538"/>
                  <a:pt x="2151159" y="6327997"/>
                </a:cubicBezTo>
                <a:cubicBezTo>
                  <a:pt x="2153214" y="6329811"/>
                  <a:pt x="2154242" y="6332935"/>
                  <a:pt x="2154242" y="6337369"/>
                </a:cubicBezTo>
                <a:cubicBezTo>
                  <a:pt x="2154242" y="6337772"/>
                  <a:pt x="2154222" y="6338719"/>
                  <a:pt x="2154182" y="6340210"/>
                </a:cubicBezTo>
                <a:cubicBezTo>
                  <a:pt x="2150030" y="6341661"/>
                  <a:pt x="2143560" y="6342911"/>
                  <a:pt x="2134773" y="6343959"/>
                </a:cubicBezTo>
                <a:cubicBezTo>
                  <a:pt x="2130460" y="6344483"/>
                  <a:pt x="2127236" y="6345027"/>
                  <a:pt x="2125100" y="6345591"/>
                </a:cubicBezTo>
                <a:cubicBezTo>
                  <a:pt x="2122197" y="6346397"/>
                  <a:pt x="2119587" y="6347587"/>
                  <a:pt x="2117270" y="6349159"/>
                </a:cubicBezTo>
                <a:cubicBezTo>
                  <a:pt x="2114952" y="6350731"/>
                  <a:pt x="2113078" y="6352816"/>
                  <a:pt x="2111647" y="6355416"/>
                </a:cubicBezTo>
                <a:cubicBezTo>
                  <a:pt x="2110216" y="6358016"/>
                  <a:pt x="2109500" y="6360888"/>
                  <a:pt x="2109500" y="6364032"/>
                </a:cubicBezTo>
                <a:cubicBezTo>
                  <a:pt x="2109500" y="6369393"/>
                  <a:pt x="2111395" y="6373797"/>
                  <a:pt x="2115184" y="6377243"/>
                </a:cubicBezTo>
                <a:cubicBezTo>
                  <a:pt x="2118973" y="6380689"/>
                  <a:pt x="2124394" y="6382412"/>
                  <a:pt x="2131448" y="6382412"/>
                </a:cubicBezTo>
                <a:cubicBezTo>
                  <a:pt x="2135721" y="6382412"/>
                  <a:pt x="2139721" y="6381707"/>
                  <a:pt x="2143450" y="6380296"/>
                </a:cubicBezTo>
                <a:cubicBezTo>
                  <a:pt x="2147178" y="6378885"/>
                  <a:pt x="2151058" y="6376467"/>
                  <a:pt x="2155089" y="6373041"/>
                </a:cubicBezTo>
                <a:cubicBezTo>
                  <a:pt x="2155411" y="6376064"/>
                  <a:pt x="2156136" y="6378704"/>
                  <a:pt x="2157265" y="6380961"/>
                </a:cubicBezTo>
                <a:lnTo>
                  <a:pt x="2168632" y="6380961"/>
                </a:lnTo>
                <a:cubicBezTo>
                  <a:pt x="2167261" y="6378502"/>
                  <a:pt x="2166344" y="6375933"/>
                  <a:pt x="2165881" y="6373252"/>
                </a:cubicBezTo>
                <a:cubicBezTo>
                  <a:pt x="2165417" y="6370572"/>
                  <a:pt x="2165185" y="6364173"/>
                  <a:pt x="2165185" y="6354056"/>
                </a:cubicBezTo>
                <a:lnTo>
                  <a:pt x="2165185" y="6339545"/>
                </a:lnTo>
                <a:cubicBezTo>
                  <a:pt x="2165185" y="6334708"/>
                  <a:pt x="2165004" y="6331363"/>
                  <a:pt x="2164641" y="6329509"/>
                </a:cubicBezTo>
                <a:cubicBezTo>
                  <a:pt x="2163996" y="6326526"/>
                  <a:pt x="2162868" y="6324057"/>
                  <a:pt x="2161255" y="6322102"/>
                </a:cubicBezTo>
                <a:cubicBezTo>
                  <a:pt x="2159643" y="6320147"/>
                  <a:pt x="2157124" y="6318525"/>
                  <a:pt x="2153698" y="6317235"/>
                </a:cubicBezTo>
                <a:cubicBezTo>
                  <a:pt x="2150272" y="6315945"/>
                  <a:pt x="2145818" y="6315300"/>
                  <a:pt x="2140336" y="6315300"/>
                </a:cubicBezTo>
                <a:close/>
                <a:moveTo>
                  <a:pt x="2076744" y="6315300"/>
                </a:moveTo>
                <a:cubicBezTo>
                  <a:pt x="2067836" y="6315300"/>
                  <a:pt x="2061024" y="6318827"/>
                  <a:pt x="2056309" y="6325881"/>
                </a:cubicBezTo>
                <a:lnTo>
                  <a:pt x="2056309" y="6316751"/>
                </a:lnTo>
                <a:lnTo>
                  <a:pt x="2046514" y="6316751"/>
                </a:lnTo>
                <a:lnTo>
                  <a:pt x="2046514" y="6380961"/>
                </a:lnTo>
                <a:lnTo>
                  <a:pt x="2057397" y="6380961"/>
                </a:lnTo>
                <a:lnTo>
                  <a:pt x="2057397" y="6345894"/>
                </a:lnTo>
                <a:cubicBezTo>
                  <a:pt x="2057397" y="6337671"/>
                  <a:pt x="2059079" y="6332088"/>
                  <a:pt x="2062445" y="6329146"/>
                </a:cubicBezTo>
                <a:cubicBezTo>
                  <a:pt x="2065811" y="6326203"/>
                  <a:pt x="2069811" y="6324732"/>
                  <a:pt x="2074447" y="6324732"/>
                </a:cubicBezTo>
                <a:cubicBezTo>
                  <a:pt x="2077349" y="6324732"/>
                  <a:pt x="2079878" y="6325387"/>
                  <a:pt x="2082035" y="6326697"/>
                </a:cubicBezTo>
                <a:cubicBezTo>
                  <a:pt x="2084191" y="6328007"/>
                  <a:pt x="2085692" y="6329761"/>
                  <a:pt x="2086539" y="6331957"/>
                </a:cubicBezTo>
                <a:cubicBezTo>
                  <a:pt x="2087385" y="6334154"/>
                  <a:pt x="2087809" y="6337469"/>
                  <a:pt x="2087809" y="6341903"/>
                </a:cubicBezTo>
                <a:lnTo>
                  <a:pt x="2087809" y="6380961"/>
                </a:lnTo>
                <a:lnTo>
                  <a:pt x="2098692" y="6380961"/>
                </a:lnTo>
                <a:lnTo>
                  <a:pt x="2098692" y="6341480"/>
                </a:lnTo>
                <a:cubicBezTo>
                  <a:pt x="2098692" y="6336441"/>
                  <a:pt x="2098490" y="6332915"/>
                  <a:pt x="2098087" y="6330899"/>
                </a:cubicBezTo>
                <a:cubicBezTo>
                  <a:pt x="2097442" y="6327796"/>
                  <a:pt x="2096314" y="6325115"/>
                  <a:pt x="2094702" y="6322858"/>
                </a:cubicBezTo>
                <a:cubicBezTo>
                  <a:pt x="2093089" y="6320601"/>
                  <a:pt x="2090661" y="6318777"/>
                  <a:pt x="2087416" y="6317386"/>
                </a:cubicBezTo>
                <a:cubicBezTo>
                  <a:pt x="2084171" y="6315995"/>
                  <a:pt x="2080614" y="6315300"/>
                  <a:pt x="2076744" y="6315300"/>
                </a:cubicBezTo>
                <a:close/>
                <a:moveTo>
                  <a:pt x="2010069" y="6315300"/>
                </a:moveTo>
                <a:cubicBezTo>
                  <a:pt x="2001161" y="6315300"/>
                  <a:pt x="1994349" y="6318827"/>
                  <a:pt x="1989633" y="6325881"/>
                </a:cubicBezTo>
                <a:lnTo>
                  <a:pt x="1989633" y="6316751"/>
                </a:lnTo>
                <a:lnTo>
                  <a:pt x="1979839" y="6316751"/>
                </a:lnTo>
                <a:lnTo>
                  <a:pt x="1979839" y="6380961"/>
                </a:lnTo>
                <a:lnTo>
                  <a:pt x="1990722" y="6380961"/>
                </a:lnTo>
                <a:lnTo>
                  <a:pt x="1990722" y="6345894"/>
                </a:lnTo>
                <a:cubicBezTo>
                  <a:pt x="1990722" y="6337671"/>
                  <a:pt x="1992405" y="6332088"/>
                  <a:pt x="1995770" y="6329146"/>
                </a:cubicBezTo>
                <a:cubicBezTo>
                  <a:pt x="1999136" y="6326203"/>
                  <a:pt x="2003136" y="6324732"/>
                  <a:pt x="2007772" y="6324732"/>
                </a:cubicBezTo>
                <a:cubicBezTo>
                  <a:pt x="2010674" y="6324732"/>
                  <a:pt x="2013203" y="6325387"/>
                  <a:pt x="2015360" y="6326697"/>
                </a:cubicBezTo>
                <a:cubicBezTo>
                  <a:pt x="2017516" y="6328007"/>
                  <a:pt x="2019018" y="6329761"/>
                  <a:pt x="2019864" y="6331957"/>
                </a:cubicBezTo>
                <a:cubicBezTo>
                  <a:pt x="2020710" y="6334154"/>
                  <a:pt x="2021134" y="6337469"/>
                  <a:pt x="2021134" y="6341903"/>
                </a:cubicBezTo>
                <a:lnTo>
                  <a:pt x="2021134" y="6380961"/>
                </a:lnTo>
                <a:lnTo>
                  <a:pt x="2032017" y="6380961"/>
                </a:lnTo>
                <a:lnTo>
                  <a:pt x="2032017" y="6341480"/>
                </a:lnTo>
                <a:cubicBezTo>
                  <a:pt x="2032017" y="6336441"/>
                  <a:pt x="2031815" y="6332915"/>
                  <a:pt x="2031412" y="6330899"/>
                </a:cubicBezTo>
                <a:cubicBezTo>
                  <a:pt x="2030767" y="6327796"/>
                  <a:pt x="2029639" y="6325115"/>
                  <a:pt x="2028026" y="6322858"/>
                </a:cubicBezTo>
                <a:cubicBezTo>
                  <a:pt x="2026414" y="6320601"/>
                  <a:pt x="2023985" y="6318777"/>
                  <a:pt x="2020741" y="6317386"/>
                </a:cubicBezTo>
                <a:cubicBezTo>
                  <a:pt x="2017496" y="6315995"/>
                  <a:pt x="2013939" y="6315300"/>
                  <a:pt x="2010069" y="6315300"/>
                </a:cubicBezTo>
                <a:close/>
                <a:moveTo>
                  <a:pt x="1939525" y="6315300"/>
                </a:moveTo>
                <a:cubicBezTo>
                  <a:pt x="1930657" y="6315300"/>
                  <a:pt x="1923442" y="6318283"/>
                  <a:pt x="1917880" y="6324248"/>
                </a:cubicBezTo>
                <a:cubicBezTo>
                  <a:pt x="1912317" y="6330214"/>
                  <a:pt x="1909536" y="6338598"/>
                  <a:pt x="1909536" y="6349400"/>
                </a:cubicBezTo>
                <a:cubicBezTo>
                  <a:pt x="1909536" y="6359840"/>
                  <a:pt x="1912287" y="6367952"/>
                  <a:pt x="1917789" y="6373736"/>
                </a:cubicBezTo>
                <a:cubicBezTo>
                  <a:pt x="1923291" y="6379520"/>
                  <a:pt x="1930738" y="6382412"/>
                  <a:pt x="1940129" y="6382412"/>
                </a:cubicBezTo>
                <a:cubicBezTo>
                  <a:pt x="1947586" y="6382412"/>
                  <a:pt x="1953713" y="6380598"/>
                  <a:pt x="1958510" y="6376971"/>
                </a:cubicBezTo>
                <a:cubicBezTo>
                  <a:pt x="1963306" y="6373343"/>
                  <a:pt x="1966591" y="6368244"/>
                  <a:pt x="1968365" y="6361674"/>
                </a:cubicBezTo>
                <a:lnTo>
                  <a:pt x="1957119" y="6360283"/>
                </a:lnTo>
                <a:cubicBezTo>
                  <a:pt x="1955466" y="6364879"/>
                  <a:pt x="1953229" y="6368224"/>
                  <a:pt x="1950408" y="6370320"/>
                </a:cubicBezTo>
                <a:cubicBezTo>
                  <a:pt x="1947586" y="6372416"/>
                  <a:pt x="1944180" y="6373464"/>
                  <a:pt x="1940190" y="6373464"/>
                </a:cubicBezTo>
                <a:cubicBezTo>
                  <a:pt x="1934829" y="6373464"/>
                  <a:pt x="1930355" y="6371590"/>
                  <a:pt x="1926767" y="6367841"/>
                </a:cubicBezTo>
                <a:cubicBezTo>
                  <a:pt x="1923180" y="6364093"/>
                  <a:pt x="1921185" y="6358691"/>
                  <a:pt x="1920782" y="6351637"/>
                </a:cubicBezTo>
                <a:lnTo>
                  <a:pt x="1968667" y="6351637"/>
                </a:lnTo>
                <a:cubicBezTo>
                  <a:pt x="1968707" y="6350348"/>
                  <a:pt x="1968728" y="6349380"/>
                  <a:pt x="1968728" y="6348735"/>
                </a:cubicBezTo>
                <a:cubicBezTo>
                  <a:pt x="1968728" y="6338134"/>
                  <a:pt x="1966007" y="6329912"/>
                  <a:pt x="1960565" y="6324067"/>
                </a:cubicBezTo>
                <a:cubicBezTo>
                  <a:pt x="1955124" y="6318222"/>
                  <a:pt x="1948110" y="6315300"/>
                  <a:pt x="1939525" y="6315300"/>
                </a:cubicBezTo>
                <a:close/>
                <a:moveTo>
                  <a:pt x="1805752" y="6315300"/>
                </a:moveTo>
                <a:cubicBezTo>
                  <a:pt x="1800230" y="6315300"/>
                  <a:pt x="1795120" y="6316600"/>
                  <a:pt x="1790425" y="6319200"/>
                </a:cubicBezTo>
                <a:cubicBezTo>
                  <a:pt x="1785729" y="6321800"/>
                  <a:pt x="1782232" y="6325700"/>
                  <a:pt x="1779935" y="6330899"/>
                </a:cubicBezTo>
                <a:cubicBezTo>
                  <a:pt x="1777637" y="6336099"/>
                  <a:pt x="1776488" y="6342165"/>
                  <a:pt x="1776488" y="6349098"/>
                </a:cubicBezTo>
                <a:cubicBezTo>
                  <a:pt x="1776488" y="6359820"/>
                  <a:pt x="1779159" y="6368053"/>
                  <a:pt x="1784499" y="6373797"/>
                </a:cubicBezTo>
                <a:cubicBezTo>
                  <a:pt x="1789840" y="6379540"/>
                  <a:pt x="1796904" y="6382412"/>
                  <a:pt x="1805691" y="6382412"/>
                </a:cubicBezTo>
                <a:cubicBezTo>
                  <a:pt x="1812705" y="6382412"/>
                  <a:pt x="1818620" y="6380326"/>
                  <a:pt x="1823437" y="6376155"/>
                </a:cubicBezTo>
                <a:cubicBezTo>
                  <a:pt x="1828253" y="6371983"/>
                  <a:pt x="1831246" y="6366209"/>
                  <a:pt x="1832415" y="6358832"/>
                </a:cubicBezTo>
                <a:lnTo>
                  <a:pt x="1821714" y="6357442"/>
                </a:lnTo>
                <a:cubicBezTo>
                  <a:pt x="1820948" y="6362883"/>
                  <a:pt x="1819134" y="6366914"/>
                  <a:pt x="1816272" y="6369534"/>
                </a:cubicBezTo>
                <a:cubicBezTo>
                  <a:pt x="1813410" y="6372154"/>
                  <a:pt x="1809843" y="6373464"/>
                  <a:pt x="1805570" y="6373464"/>
                </a:cubicBezTo>
                <a:cubicBezTo>
                  <a:pt x="1800250" y="6373464"/>
                  <a:pt x="1795937" y="6371509"/>
                  <a:pt x="1792632" y="6367599"/>
                </a:cubicBezTo>
                <a:cubicBezTo>
                  <a:pt x="1789326" y="6363689"/>
                  <a:pt x="1787674" y="6357422"/>
                  <a:pt x="1787674" y="6348796"/>
                </a:cubicBezTo>
                <a:cubicBezTo>
                  <a:pt x="1787674" y="6340291"/>
                  <a:pt x="1789387" y="6334073"/>
                  <a:pt x="1792813" y="6330143"/>
                </a:cubicBezTo>
                <a:cubicBezTo>
                  <a:pt x="1796239" y="6326213"/>
                  <a:pt x="1800693" y="6324248"/>
                  <a:pt x="1806175" y="6324248"/>
                </a:cubicBezTo>
                <a:cubicBezTo>
                  <a:pt x="1809803" y="6324248"/>
                  <a:pt x="1812896" y="6325337"/>
                  <a:pt x="1815456" y="6327513"/>
                </a:cubicBezTo>
                <a:cubicBezTo>
                  <a:pt x="1818015" y="6329690"/>
                  <a:pt x="1819799" y="6332935"/>
                  <a:pt x="1820806" y="6337248"/>
                </a:cubicBezTo>
                <a:lnTo>
                  <a:pt x="1831387" y="6335615"/>
                </a:lnTo>
                <a:cubicBezTo>
                  <a:pt x="1830138" y="6329126"/>
                  <a:pt x="1827296" y="6324117"/>
                  <a:pt x="1822862" y="6320591"/>
                </a:cubicBezTo>
                <a:cubicBezTo>
                  <a:pt x="1818428" y="6317064"/>
                  <a:pt x="1812725" y="6315300"/>
                  <a:pt x="1805752" y="6315300"/>
                </a:cubicBezTo>
                <a:close/>
                <a:moveTo>
                  <a:pt x="1515165" y="6315300"/>
                </a:moveTo>
                <a:cubicBezTo>
                  <a:pt x="1511819" y="6315300"/>
                  <a:pt x="1508685" y="6315733"/>
                  <a:pt x="1505763" y="6316600"/>
                </a:cubicBezTo>
                <a:cubicBezTo>
                  <a:pt x="1502840" y="6317467"/>
                  <a:pt x="1500533" y="6318525"/>
                  <a:pt x="1498840" y="6319774"/>
                </a:cubicBezTo>
                <a:cubicBezTo>
                  <a:pt x="1496583" y="6321387"/>
                  <a:pt x="1494799" y="6323412"/>
                  <a:pt x="1493489" y="6325851"/>
                </a:cubicBezTo>
                <a:cubicBezTo>
                  <a:pt x="1492179" y="6328289"/>
                  <a:pt x="1491524" y="6330939"/>
                  <a:pt x="1491524" y="6333801"/>
                </a:cubicBezTo>
                <a:cubicBezTo>
                  <a:pt x="1491524" y="6336945"/>
                  <a:pt x="1492320" y="6339817"/>
                  <a:pt x="1493913" y="6342417"/>
                </a:cubicBezTo>
                <a:cubicBezTo>
                  <a:pt x="1495505" y="6345017"/>
                  <a:pt x="1497843" y="6347052"/>
                  <a:pt x="1500926" y="6348524"/>
                </a:cubicBezTo>
                <a:cubicBezTo>
                  <a:pt x="1504009" y="6349995"/>
                  <a:pt x="1509542" y="6351738"/>
                  <a:pt x="1517523" y="6353754"/>
                </a:cubicBezTo>
                <a:cubicBezTo>
                  <a:pt x="1523448" y="6355245"/>
                  <a:pt x="1527156" y="6356474"/>
                  <a:pt x="1528648" y="6357442"/>
                </a:cubicBezTo>
                <a:cubicBezTo>
                  <a:pt x="1530784" y="6358853"/>
                  <a:pt x="1531852" y="6360787"/>
                  <a:pt x="1531852" y="6363246"/>
                </a:cubicBezTo>
                <a:cubicBezTo>
                  <a:pt x="1531852" y="6365987"/>
                  <a:pt x="1530643" y="6368375"/>
                  <a:pt x="1528224" y="6370411"/>
                </a:cubicBezTo>
                <a:cubicBezTo>
                  <a:pt x="1525806" y="6372446"/>
                  <a:pt x="1522097" y="6373464"/>
                  <a:pt x="1517100" y="6373464"/>
                </a:cubicBezTo>
                <a:cubicBezTo>
                  <a:pt x="1512141" y="6373464"/>
                  <a:pt x="1508282" y="6372315"/>
                  <a:pt x="1505521" y="6370018"/>
                </a:cubicBezTo>
                <a:cubicBezTo>
                  <a:pt x="1502760" y="6367720"/>
                  <a:pt x="1501077" y="6364415"/>
                  <a:pt x="1500472" y="6360102"/>
                </a:cubicBezTo>
                <a:lnTo>
                  <a:pt x="1489710" y="6361795"/>
                </a:lnTo>
                <a:cubicBezTo>
                  <a:pt x="1490920" y="6368607"/>
                  <a:pt x="1493711" y="6373746"/>
                  <a:pt x="1498084" y="6377213"/>
                </a:cubicBezTo>
                <a:cubicBezTo>
                  <a:pt x="1502458" y="6380679"/>
                  <a:pt x="1508816" y="6382412"/>
                  <a:pt x="1517160" y="6382412"/>
                </a:cubicBezTo>
                <a:cubicBezTo>
                  <a:pt x="1522198" y="6382412"/>
                  <a:pt x="1526713" y="6381536"/>
                  <a:pt x="1530703" y="6379782"/>
                </a:cubicBezTo>
                <a:cubicBezTo>
                  <a:pt x="1534694" y="6378029"/>
                  <a:pt x="1537747" y="6375550"/>
                  <a:pt x="1539863" y="6372345"/>
                </a:cubicBezTo>
                <a:cubicBezTo>
                  <a:pt x="1541979" y="6369141"/>
                  <a:pt x="1543037" y="6365725"/>
                  <a:pt x="1543037" y="6362097"/>
                </a:cubicBezTo>
                <a:cubicBezTo>
                  <a:pt x="1543037" y="6358389"/>
                  <a:pt x="1542171" y="6355285"/>
                  <a:pt x="1540437" y="6352786"/>
                </a:cubicBezTo>
                <a:cubicBezTo>
                  <a:pt x="1538704" y="6350287"/>
                  <a:pt x="1536316" y="6348383"/>
                  <a:pt x="1533273" y="6347073"/>
                </a:cubicBezTo>
                <a:cubicBezTo>
                  <a:pt x="1530230" y="6345763"/>
                  <a:pt x="1524859" y="6344080"/>
                  <a:pt x="1517160" y="6342024"/>
                </a:cubicBezTo>
                <a:cubicBezTo>
                  <a:pt x="1511839" y="6340573"/>
                  <a:pt x="1508635" y="6339646"/>
                  <a:pt x="1507547" y="6339243"/>
                </a:cubicBezTo>
                <a:cubicBezTo>
                  <a:pt x="1505652" y="6338477"/>
                  <a:pt x="1504261" y="6337510"/>
                  <a:pt x="1503375" y="6336341"/>
                </a:cubicBezTo>
                <a:cubicBezTo>
                  <a:pt x="1502488" y="6335212"/>
                  <a:pt x="1502044" y="6333942"/>
                  <a:pt x="1502044" y="6332532"/>
                </a:cubicBezTo>
                <a:cubicBezTo>
                  <a:pt x="1502044" y="6330315"/>
                  <a:pt x="1503113" y="6328380"/>
                  <a:pt x="1505249" y="6326727"/>
                </a:cubicBezTo>
                <a:cubicBezTo>
                  <a:pt x="1507385" y="6325075"/>
                  <a:pt x="1510953" y="6324248"/>
                  <a:pt x="1515951" y="6324248"/>
                </a:cubicBezTo>
                <a:cubicBezTo>
                  <a:pt x="1520183" y="6324248"/>
                  <a:pt x="1523458" y="6325176"/>
                  <a:pt x="1525776" y="6327030"/>
                </a:cubicBezTo>
                <a:cubicBezTo>
                  <a:pt x="1528093" y="6328884"/>
                  <a:pt x="1529494" y="6331463"/>
                  <a:pt x="1529978" y="6334769"/>
                </a:cubicBezTo>
                <a:lnTo>
                  <a:pt x="1540619" y="6333318"/>
                </a:lnTo>
                <a:cubicBezTo>
                  <a:pt x="1539934" y="6329166"/>
                  <a:pt x="1538684" y="6325851"/>
                  <a:pt x="1536870" y="6323372"/>
                </a:cubicBezTo>
                <a:cubicBezTo>
                  <a:pt x="1535056" y="6320893"/>
                  <a:pt x="1532245" y="6318928"/>
                  <a:pt x="1528436" y="6317477"/>
                </a:cubicBezTo>
                <a:cubicBezTo>
                  <a:pt x="1524627" y="6316026"/>
                  <a:pt x="1520203" y="6315300"/>
                  <a:pt x="1515165" y="6315300"/>
                </a:cubicBezTo>
                <a:close/>
                <a:moveTo>
                  <a:pt x="1479544" y="6315300"/>
                </a:moveTo>
                <a:cubicBezTo>
                  <a:pt x="1477004" y="6315300"/>
                  <a:pt x="1474676" y="6316026"/>
                  <a:pt x="1472560" y="6317477"/>
                </a:cubicBezTo>
                <a:cubicBezTo>
                  <a:pt x="1470444" y="6318928"/>
                  <a:pt x="1468136" y="6321931"/>
                  <a:pt x="1465638" y="6326486"/>
                </a:cubicBezTo>
                <a:lnTo>
                  <a:pt x="1465638" y="6316751"/>
                </a:lnTo>
                <a:lnTo>
                  <a:pt x="1455843" y="6316751"/>
                </a:lnTo>
                <a:lnTo>
                  <a:pt x="1455843" y="6380961"/>
                </a:lnTo>
                <a:lnTo>
                  <a:pt x="1466726" y="6380961"/>
                </a:lnTo>
                <a:lnTo>
                  <a:pt x="1466726" y="6347345"/>
                </a:lnTo>
                <a:cubicBezTo>
                  <a:pt x="1466726" y="6342750"/>
                  <a:pt x="1467330" y="6338517"/>
                  <a:pt x="1468540" y="6334648"/>
                </a:cubicBezTo>
                <a:cubicBezTo>
                  <a:pt x="1469346" y="6332108"/>
                  <a:pt x="1470696" y="6330123"/>
                  <a:pt x="1472590" y="6328692"/>
                </a:cubicBezTo>
                <a:cubicBezTo>
                  <a:pt x="1474485" y="6327261"/>
                  <a:pt x="1476621" y="6326546"/>
                  <a:pt x="1479000" y="6326546"/>
                </a:cubicBezTo>
                <a:cubicBezTo>
                  <a:pt x="1481660" y="6326546"/>
                  <a:pt x="1484320" y="6327332"/>
                  <a:pt x="1486980" y="6328904"/>
                </a:cubicBezTo>
                <a:lnTo>
                  <a:pt x="1490729" y="6318807"/>
                </a:lnTo>
                <a:cubicBezTo>
                  <a:pt x="1486940" y="6316469"/>
                  <a:pt x="1483212" y="6315300"/>
                  <a:pt x="1479544" y="6315300"/>
                </a:cubicBezTo>
                <a:close/>
                <a:moveTo>
                  <a:pt x="1416436" y="6315300"/>
                </a:moveTo>
                <a:cubicBezTo>
                  <a:pt x="1410914" y="6315300"/>
                  <a:pt x="1406057" y="6316056"/>
                  <a:pt x="1401865" y="6317567"/>
                </a:cubicBezTo>
                <a:cubicBezTo>
                  <a:pt x="1397673" y="6319079"/>
                  <a:pt x="1394468" y="6321235"/>
                  <a:pt x="1392251" y="6324037"/>
                </a:cubicBezTo>
                <a:cubicBezTo>
                  <a:pt x="1390034" y="6326838"/>
                  <a:pt x="1388442" y="6330516"/>
                  <a:pt x="1387475" y="6335071"/>
                </a:cubicBezTo>
                <a:lnTo>
                  <a:pt x="1398116" y="6336522"/>
                </a:lnTo>
                <a:cubicBezTo>
                  <a:pt x="1399285" y="6331967"/>
                  <a:pt x="1401089" y="6328793"/>
                  <a:pt x="1403527" y="6326999"/>
                </a:cubicBezTo>
                <a:cubicBezTo>
                  <a:pt x="1405966" y="6325206"/>
                  <a:pt x="1409745" y="6324309"/>
                  <a:pt x="1414864" y="6324309"/>
                </a:cubicBezTo>
                <a:cubicBezTo>
                  <a:pt x="1420345" y="6324309"/>
                  <a:pt x="1424477" y="6325538"/>
                  <a:pt x="1427258" y="6327997"/>
                </a:cubicBezTo>
                <a:cubicBezTo>
                  <a:pt x="1429314" y="6329811"/>
                  <a:pt x="1430342" y="6332935"/>
                  <a:pt x="1430342" y="6337369"/>
                </a:cubicBezTo>
                <a:cubicBezTo>
                  <a:pt x="1430342" y="6337772"/>
                  <a:pt x="1430322" y="6338719"/>
                  <a:pt x="1430281" y="6340210"/>
                </a:cubicBezTo>
                <a:cubicBezTo>
                  <a:pt x="1426130" y="6341661"/>
                  <a:pt x="1419660" y="6342911"/>
                  <a:pt x="1410873" y="6343959"/>
                </a:cubicBezTo>
                <a:cubicBezTo>
                  <a:pt x="1406561" y="6344483"/>
                  <a:pt x="1403336" y="6345027"/>
                  <a:pt x="1401199" y="6345591"/>
                </a:cubicBezTo>
                <a:cubicBezTo>
                  <a:pt x="1398297" y="6346397"/>
                  <a:pt x="1395687" y="6347587"/>
                  <a:pt x="1393370" y="6349159"/>
                </a:cubicBezTo>
                <a:cubicBezTo>
                  <a:pt x="1391052" y="6350731"/>
                  <a:pt x="1389178" y="6352816"/>
                  <a:pt x="1387747" y="6355416"/>
                </a:cubicBezTo>
                <a:cubicBezTo>
                  <a:pt x="1386316" y="6358016"/>
                  <a:pt x="1385600" y="6360888"/>
                  <a:pt x="1385600" y="6364032"/>
                </a:cubicBezTo>
                <a:cubicBezTo>
                  <a:pt x="1385600" y="6369393"/>
                  <a:pt x="1387495" y="6373797"/>
                  <a:pt x="1391284" y="6377243"/>
                </a:cubicBezTo>
                <a:cubicBezTo>
                  <a:pt x="1395073" y="6380689"/>
                  <a:pt x="1400494" y="6382412"/>
                  <a:pt x="1407548" y="6382412"/>
                </a:cubicBezTo>
                <a:cubicBezTo>
                  <a:pt x="1411821" y="6382412"/>
                  <a:pt x="1415821" y="6381707"/>
                  <a:pt x="1419550" y="6380296"/>
                </a:cubicBezTo>
                <a:cubicBezTo>
                  <a:pt x="1423278" y="6378885"/>
                  <a:pt x="1427158" y="6376467"/>
                  <a:pt x="1431188" y="6373041"/>
                </a:cubicBezTo>
                <a:cubicBezTo>
                  <a:pt x="1431511" y="6376064"/>
                  <a:pt x="1432236" y="6378704"/>
                  <a:pt x="1433365" y="6380961"/>
                </a:cubicBezTo>
                <a:lnTo>
                  <a:pt x="1444732" y="6380961"/>
                </a:lnTo>
                <a:cubicBezTo>
                  <a:pt x="1443361" y="6378502"/>
                  <a:pt x="1442444" y="6375933"/>
                  <a:pt x="1441981" y="6373252"/>
                </a:cubicBezTo>
                <a:cubicBezTo>
                  <a:pt x="1441517" y="6370572"/>
                  <a:pt x="1441285" y="6364173"/>
                  <a:pt x="1441285" y="6354056"/>
                </a:cubicBezTo>
                <a:lnTo>
                  <a:pt x="1441285" y="6339545"/>
                </a:lnTo>
                <a:cubicBezTo>
                  <a:pt x="1441285" y="6334708"/>
                  <a:pt x="1441104" y="6331363"/>
                  <a:pt x="1440741" y="6329509"/>
                </a:cubicBezTo>
                <a:cubicBezTo>
                  <a:pt x="1440096" y="6326526"/>
                  <a:pt x="1438968" y="6324057"/>
                  <a:pt x="1437355" y="6322102"/>
                </a:cubicBezTo>
                <a:cubicBezTo>
                  <a:pt x="1435743" y="6320147"/>
                  <a:pt x="1433224" y="6318525"/>
                  <a:pt x="1429798" y="6317235"/>
                </a:cubicBezTo>
                <a:cubicBezTo>
                  <a:pt x="1426372" y="6315945"/>
                  <a:pt x="1421917" y="6315300"/>
                  <a:pt x="1416436" y="6315300"/>
                </a:cubicBezTo>
                <a:close/>
                <a:moveTo>
                  <a:pt x="1167698" y="6315300"/>
                </a:moveTo>
                <a:cubicBezTo>
                  <a:pt x="1159757" y="6315300"/>
                  <a:pt x="1153026" y="6317678"/>
                  <a:pt x="1147503" y="6322435"/>
                </a:cubicBezTo>
                <a:cubicBezTo>
                  <a:pt x="1140893" y="6328158"/>
                  <a:pt x="1137588" y="6336965"/>
                  <a:pt x="1137588" y="6348856"/>
                </a:cubicBezTo>
                <a:cubicBezTo>
                  <a:pt x="1137588" y="6359699"/>
                  <a:pt x="1140359" y="6368002"/>
                  <a:pt x="1145901" y="6373766"/>
                </a:cubicBezTo>
                <a:cubicBezTo>
                  <a:pt x="1151443" y="6379530"/>
                  <a:pt x="1158709" y="6382412"/>
                  <a:pt x="1167698" y="6382412"/>
                </a:cubicBezTo>
                <a:cubicBezTo>
                  <a:pt x="1173300" y="6382412"/>
                  <a:pt x="1178470" y="6381102"/>
                  <a:pt x="1183206" y="6378482"/>
                </a:cubicBezTo>
                <a:cubicBezTo>
                  <a:pt x="1187942" y="6375862"/>
                  <a:pt x="1191550" y="6372184"/>
                  <a:pt x="1194028" y="6367448"/>
                </a:cubicBezTo>
                <a:cubicBezTo>
                  <a:pt x="1196507" y="6362712"/>
                  <a:pt x="1197747" y="6356212"/>
                  <a:pt x="1197747" y="6347949"/>
                </a:cubicBezTo>
                <a:cubicBezTo>
                  <a:pt x="1197747" y="6337751"/>
                  <a:pt x="1194945" y="6329761"/>
                  <a:pt x="1189343" y="6323976"/>
                </a:cubicBezTo>
                <a:cubicBezTo>
                  <a:pt x="1183740" y="6318192"/>
                  <a:pt x="1176525" y="6315300"/>
                  <a:pt x="1167698" y="6315300"/>
                </a:cubicBezTo>
                <a:close/>
                <a:moveTo>
                  <a:pt x="1057965" y="6315300"/>
                </a:moveTo>
                <a:cubicBezTo>
                  <a:pt x="1054619" y="6315300"/>
                  <a:pt x="1051485" y="6315733"/>
                  <a:pt x="1048563" y="6316600"/>
                </a:cubicBezTo>
                <a:cubicBezTo>
                  <a:pt x="1045641" y="6317467"/>
                  <a:pt x="1043333" y="6318525"/>
                  <a:pt x="1041640" y="6319774"/>
                </a:cubicBezTo>
                <a:cubicBezTo>
                  <a:pt x="1039383" y="6321387"/>
                  <a:pt x="1037599" y="6323412"/>
                  <a:pt x="1036289" y="6325851"/>
                </a:cubicBezTo>
                <a:cubicBezTo>
                  <a:pt x="1034979" y="6328289"/>
                  <a:pt x="1034324" y="6330939"/>
                  <a:pt x="1034324" y="6333801"/>
                </a:cubicBezTo>
                <a:cubicBezTo>
                  <a:pt x="1034324" y="6336945"/>
                  <a:pt x="1035120" y="6339817"/>
                  <a:pt x="1036712" y="6342417"/>
                </a:cubicBezTo>
                <a:cubicBezTo>
                  <a:pt x="1038304" y="6345017"/>
                  <a:pt x="1040642" y="6347052"/>
                  <a:pt x="1043726" y="6348524"/>
                </a:cubicBezTo>
                <a:cubicBezTo>
                  <a:pt x="1046809" y="6349995"/>
                  <a:pt x="1052342" y="6351738"/>
                  <a:pt x="1060323" y="6353754"/>
                </a:cubicBezTo>
                <a:cubicBezTo>
                  <a:pt x="1066248" y="6355245"/>
                  <a:pt x="1069956" y="6356474"/>
                  <a:pt x="1071447" y="6357442"/>
                </a:cubicBezTo>
                <a:cubicBezTo>
                  <a:pt x="1073584" y="6358853"/>
                  <a:pt x="1074652" y="6360787"/>
                  <a:pt x="1074652" y="6363246"/>
                </a:cubicBezTo>
                <a:cubicBezTo>
                  <a:pt x="1074652" y="6365987"/>
                  <a:pt x="1073443" y="6368375"/>
                  <a:pt x="1071024" y="6370411"/>
                </a:cubicBezTo>
                <a:cubicBezTo>
                  <a:pt x="1068606" y="6372446"/>
                  <a:pt x="1064898" y="6373464"/>
                  <a:pt x="1059899" y="6373464"/>
                </a:cubicBezTo>
                <a:cubicBezTo>
                  <a:pt x="1054942" y="6373464"/>
                  <a:pt x="1051082" y="6372315"/>
                  <a:pt x="1048321" y="6370018"/>
                </a:cubicBezTo>
                <a:cubicBezTo>
                  <a:pt x="1045560" y="6367720"/>
                  <a:pt x="1043877" y="6364415"/>
                  <a:pt x="1043272" y="6360102"/>
                </a:cubicBezTo>
                <a:lnTo>
                  <a:pt x="1032510" y="6361795"/>
                </a:lnTo>
                <a:cubicBezTo>
                  <a:pt x="1033720" y="6368607"/>
                  <a:pt x="1036511" y="6373746"/>
                  <a:pt x="1040884" y="6377213"/>
                </a:cubicBezTo>
                <a:cubicBezTo>
                  <a:pt x="1045258" y="6380679"/>
                  <a:pt x="1051616" y="6382412"/>
                  <a:pt x="1059960" y="6382412"/>
                </a:cubicBezTo>
                <a:cubicBezTo>
                  <a:pt x="1064998" y="6382412"/>
                  <a:pt x="1069513" y="6381536"/>
                  <a:pt x="1073503" y="6379782"/>
                </a:cubicBezTo>
                <a:cubicBezTo>
                  <a:pt x="1077494" y="6378029"/>
                  <a:pt x="1080547" y="6375550"/>
                  <a:pt x="1082663" y="6372345"/>
                </a:cubicBezTo>
                <a:cubicBezTo>
                  <a:pt x="1084779" y="6369141"/>
                  <a:pt x="1085837" y="6365725"/>
                  <a:pt x="1085837" y="6362097"/>
                </a:cubicBezTo>
                <a:cubicBezTo>
                  <a:pt x="1085837" y="6358389"/>
                  <a:pt x="1084971" y="6355285"/>
                  <a:pt x="1083237" y="6352786"/>
                </a:cubicBezTo>
                <a:cubicBezTo>
                  <a:pt x="1081504" y="6350287"/>
                  <a:pt x="1079116" y="6348383"/>
                  <a:pt x="1076073" y="6347073"/>
                </a:cubicBezTo>
                <a:cubicBezTo>
                  <a:pt x="1073030" y="6345763"/>
                  <a:pt x="1067659" y="6344080"/>
                  <a:pt x="1059960" y="6342024"/>
                </a:cubicBezTo>
                <a:cubicBezTo>
                  <a:pt x="1054639" y="6340573"/>
                  <a:pt x="1051435" y="6339646"/>
                  <a:pt x="1050346" y="6339243"/>
                </a:cubicBezTo>
                <a:cubicBezTo>
                  <a:pt x="1048452" y="6338477"/>
                  <a:pt x="1047061" y="6337510"/>
                  <a:pt x="1046175" y="6336341"/>
                </a:cubicBezTo>
                <a:cubicBezTo>
                  <a:pt x="1045288" y="6335212"/>
                  <a:pt x="1044844" y="6333942"/>
                  <a:pt x="1044844" y="6332532"/>
                </a:cubicBezTo>
                <a:cubicBezTo>
                  <a:pt x="1044844" y="6330315"/>
                  <a:pt x="1045913" y="6328380"/>
                  <a:pt x="1048049" y="6326727"/>
                </a:cubicBezTo>
                <a:cubicBezTo>
                  <a:pt x="1050185" y="6325075"/>
                  <a:pt x="1053753" y="6324248"/>
                  <a:pt x="1058751" y="6324248"/>
                </a:cubicBezTo>
                <a:cubicBezTo>
                  <a:pt x="1062983" y="6324248"/>
                  <a:pt x="1066258" y="6325176"/>
                  <a:pt x="1068576" y="6327030"/>
                </a:cubicBezTo>
                <a:cubicBezTo>
                  <a:pt x="1070893" y="6328884"/>
                  <a:pt x="1072294" y="6331463"/>
                  <a:pt x="1072778" y="6334769"/>
                </a:cubicBezTo>
                <a:lnTo>
                  <a:pt x="1083419" y="6333318"/>
                </a:lnTo>
                <a:cubicBezTo>
                  <a:pt x="1082734" y="6329166"/>
                  <a:pt x="1081484" y="6325851"/>
                  <a:pt x="1079670" y="6323372"/>
                </a:cubicBezTo>
                <a:cubicBezTo>
                  <a:pt x="1077856" y="6320893"/>
                  <a:pt x="1075045" y="6318928"/>
                  <a:pt x="1071236" y="6317477"/>
                </a:cubicBezTo>
                <a:cubicBezTo>
                  <a:pt x="1067427" y="6316026"/>
                  <a:pt x="1063003" y="6315300"/>
                  <a:pt x="1057965" y="6315300"/>
                </a:cubicBezTo>
                <a:close/>
                <a:moveTo>
                  <a:pt x="991290" y="6315300"/>
                </a:moveTo>
                <a:cubicBezTo>
                  <a:pt x="987944" y="6315300"/>
                  <a:pt x="984810" y="6315733"/>
                  <a:pt x="981888" y="6316600"/>
                </a:cubicBezTo>
                <a:cubicBezTo>
                  <a:pt x="978965" y="6317467"/>
                  <a:pt x="976658" y="6318525"/>
                  <a:pt x="974965" y="6319774"/>
                </a:cubicBezTo>
                <a:cubicBezTo>
                  <a:pt x="972708" y="6321387"/>
                  <a:pt x="970924" y="6323412"/>
                  <a:pt x="969614" y="6325851"/>
                </a:cubicBezTo>
                <a:cubicBezTo>
                  <a:pt x="968304" y="6328289"/>
                  <a:pt x="967649" y="6330939"/>
                  <a:pt x="967649" y="6333801"/>
                </a:cubicBezTo>
                <a:cubicBezTo>
                  <a:pt x="967649" y="6336945"/>
                  <a:pt x="968445" y="6339817"/>
                  <a:pt x="970037" y="6342417"/>
                </a:cubicBezTo>
                <a:cubicBezTo>
                  <a:pt x="971630" y="6345017"/>
                  <a:pt x="973967" y="6347052"/>
                  <a:pt x="977051" y="6348524"/>
                </a:cubicBezTo>
                <a:cubicBezTo>
                  <a:pt x="980134" y="6349995"/>
                  <a:pt x="985667" y="6351738"/>
                  <a:pt x="993648" y="6353754"/>
                </a:cubicBezTo>
                <a:cubicBezTo>
                  <a:pt x="999573" y="6355245"/>
                  <a:pt x="1003281" y="6356474"/>
                  <a:pt x="1004772" y="6357442"/>
                </a:cubicBezTo>
                <a:cubicBezTo>
                  <a:pt x="1006909" y="6358853"/>
                  <a:pt x="1007977" y="6360787"/>
                  <a:pt x="1007977" y="6363246"/>
                </a:cubicBezTo>
                <a:cubicBezTo>
                  <a:pt x="1007977" y="6365987"/>
                  <a:pt x="1006768" y="6368375"/>
                  <a:pt x="1004349" y="6370411"/>
                </a:cubicBezTo>
                <a:cubicBezTo>
                  <a:pt x="1001931" y="6372446"/>
                  <a:pt x="998222" y="6373464"/>
                  <a:pt x="993224" y="6373464"/>
                </a:cubicBezTo>
                <a:cubicBezTo>
                  <a:pt x="988266" y="6373464"/>
                  <a:pt x="984407" y="6372315"/>
                  <a:pt x="981646" y="6370018"/>
                </a:cubicBezTo>
                <a:cubicBezTo>
                  <a:pt x="978885" y="6367720"/>
                  <a:pt x="977202" y="6364415"/>
                  <a:pt x="976598" y="6360102"/>
                </a:cubicBezTo>
                <a:lnTo>
                  <a:pt x="965835" y="6361795"/>
                </a:lnTo>
                <a:cubicBezTo>
                  <a:pt x="967044" y="6368607"/>
                  <a:pt x="969836" y="6373746"/>
                  <a:pt x="974209" y="6377213"/>
                </a:cubicBezTo>
                <a:cubicBezTo>
                  <a:pt x="978583" y="6380679"/>
                  <a:pt x="984941" y="6382412"/>
                  <a:pt x="993285" y="6382412"/>
                </a:cubicBezTo>
                <a:cubicBezTo>
                  <a:pt x="998323" y="6382412"/>
                  <a:pt x="1002838" y="6381536"/>
                  <a:pt x="1006828" y="6379782"/>
                </a:cubicBezTo>
                <a:cubicBezTo>
                  <a:pt x="1010819" y="6378029"/>
                  <a:pt x="1013872" y="6375550"/>
                  <a:pt x="1015988" y="6372345"/>
                </a:cubicBezTo>
                <a:cubicBezTo>
                  <a:pt x="1018104" y="6369141"/>
                  <a:pt x="1019162" y="6365725"/>
                  <a:pt x="1019162" y="6362097"/>
                </a:cubicBezTo>
                <a:cubicBezTo>
                  <a:pt x="1019162" y="6358389"/>
                  <a:pt x="1018296" y="6355285"/>
                  <a:pt x="1016562" y="6352786"/>
                </a:cubicBezTo>
                <a:cubicBezTo>
                  <a:pt x="1014829" y="6350287"/>
                  <a:pt x="1012441" y="6348383"/>
                  <a:pt x="1009398" y="6347073"/>
                </a:cubicBezTo>
                <a:cubicBezTo>
                  <a:pt x="1006354" y="6345763"/>
                  <a:pt x="1000984" y="6344080"/>
                  <a:pt x="993285" y="6342024"/>
                </a:cubicBezTo>
                <a:cubicBezTo>
                  <a:pt x="987964" y="6340573"/>
                  <a:pt x="984760" y="6339646"/>
                  <a:pt x="983671" y="6339243"/>
                </a:cubicBezTo>
                <a:cubicBezTo>
                  <a:pt x="981777" y="6338477"/>
                  <a:pt x="980386" y="6337510"/>
                  <a:pt x="979500" y="6336341"/>
                </a:cubicBezTo>
                <a:cubicBezTo>
                  <a:pt x="978613" y="6335212"/>
                  <a:pt x="978170" y="6333942"/>
                  <a:pt x="978170" y="6332532"/>
                </a:cubicBezTo>
                <a:cubicBezTo>
                  <a:pt x="978170" y="6330315"/>
                  <a:pt x="979238" y="6328380"/>
                  <a:pt x="981374" y="6326727"/>
                </a:cubicBezTo>
                <a:cubicBezTo>
                  <a:pt x="983510" y="6325075"/>
                  <a:pt x="987077" y="6324248"/>
                  <a:pt x="992076" y="6324248"/>
                </a:cubicBezTo>
                <a:cubicBezTo>
                  <a:pt x="996308" y="6324248"/>
                  <a:pt x="999583" y="6325176"/>
                  <a:pt x="1001900" y="6327030"/>
                </a:cubicBezTo>
                <a:cubicBezTo>
                  <a:pt x="1004218" y="6328884"/>
                  <a:pt x="1005619" y="6331463"/>
                  <a:pt x="1006103" y="6334769"/>
                </a:cubicBezTo>
                <a:lnTo>
                  <a:pt x="1016744" y="6333318"/>
                </a:lnTo>
                <a:cubicBezTo>
                  <a:pt x="1016059" y="6329166"/>
                  <a:pt x="1014809" y="6325851"/>
                  <a:pt x="1012995" y="6323372"/>
                </a:cubicBezTo>
                <a:cubicBezTo>
                  <a:pt x="1011181" y="6320893"/>
                  <a:pt x="1008370" y="6318928"/>
                  <a:pt x="1004561" y="6317477"/>
                </a:cubicBezTo>
                <a:cubicBezTo>
                  <a:pt x="1000752" y="6316026"/>
                  <a:pt x="996328" y="6315300"/>
                  <a:pt x="991290" y="6315300"/>
                </a:cubicBezTo>
                <a:close/>
                <a:moveTo>
                  <a:pt x="929875" y="6315300"/>
                </a:moveTo>
                <a:cubicBezTo>
                  <a:pt x="921007" y="6315300"/>
                  <a:pt x="913792" y="6318283"/>
                  <a:pt x="908229" y="6324248"/>
                </a:cubicBezTo>
                <a:cubicBezTo>
                  <a:pt x="902667" y="6330214"/>
                  <a:pt x="899886" y="6338598"/>
                  <a:pt x="899886" y="6349400"/>
                </a:cubicBezTo>
                <a:cubicBezTo>
                  <a:pt x="899886" y="6359840"/>
                  <a:pt x="902637" y="6367952"/>
                  <a:pt x="908139" y="6373736"/>
                </a:cubicBezTo>
                <a:cubicBezTo>
                  <a:pt x="913641" y="6379520"/>
                  <a:pt x="921088" y="6382412"/>
                  <a:pt x="930479" y="6382412"/>
                </a:cubicBezTo>
                <a:cubicBezTo>
                  <a:pt x="937936" y="6382412"/>
                  <a:pt x="944063" y="6380598"/>
                  <a:pt x="948860" y="6376971"/>
                </a:cubicBezTo>
                <a:cubicBezTo>
                  <a:pt x="953656" y="6373343"/>
                  <a:pt x="956941" y="6368244"/>
                  <a:pt x="958715" y="6361674"/>
                </a:cubicBezTo>
                <a:lnTo>
                  <a:pt x="947469" y="6360283"/>
                </a:lnTo>
                <a:cubicBezTo>
                  <a:pt x="945816" y="6364879"/>
                  <a:pt x="943579" y="6368224"/>
                  <a:pt x="940758" y="6370320"/>
                </a:cubicBezTo>
                <a:cubicBezTo>
                  <a:pt x="937936" y="6372416"/>
                  <a:pt x="934530" y="6373464"/>
                  <a:pt x="930540" y="6373464"/>
                </a:cubicBezTo>
                <a:cubicBezTo>
                  <a:pt x="925179" y="6373464"/>
                  <a:pt x="920705" y="6371590"/>
                  <a:pt x="917117" y="6367841"/>
                </a:cubicBezTo>
                <a:cubicBezTo>
                  <a:pt x="913530" y="6364093"/>
                  <a:pt x="911535" y="6358691"/>
                  <a:pt x="911132" y="6351637"/>
                </a:cubicBezTo>
                <a:lnTo>
                  <a:pt x="959017" y="6351637"/>
                </a:lnTo>
                <a:cubicBezTo>
                  <a:pt x="959057" y="6350348"/>
                  <a:pt x="959078" y="6349380"/>
                  <a:pt x="959078" y="6348735"/>
                </a:cubicBezTo>
                <a:cubicBezTo>
                  <a:pt x="959078" y="6338134"/>
                  <a:pt x="956357" y="6329912"/>
                  <a:pt x="950915" y="6324067"/>
                </a:cubicBezTo>
                <a:cubicBezTo>
                  <a:pt x="945474" y="6318222"/>
                  <a:pt x="938460" y="6315300"/>
                  <a:pt x="929875" y="6315300"/>
                </a:cubicBezTo>
                <a:close/>
                <a:moveTo>
                  <a:pt x="867069" y="6315300"/>
                </a:moveTo>
                <a:cubicBezTo>
                  <a:pt x="858161" y="6315300"/>
                  <a:pt x="851349" y="6318827"/>
                  <a:pt x="846633" y="6325881"/>
                </a:cubicBezTo>
                <a:lnTo>
                  <a:pt x="846633" y="6316751"/>
                </a:lnTo>
                <a:lnTo>
                  <a:pt x="836839" y="6316751"/>
                </a:lnTo>
                <a:lnTo>
                  <a:pt x="836839" y="6380961"/>
                </a:lnTo>
                <a:lnTo>
                  <a:pt x="847722" y="6380961"/>
                </a:lnTo>
                <a:lnTo>
                  <a:pt x="847722" y="6345894"/>
                </a:lnTo>
                <a:cubicBezTo>
                  <a:pt x="847722" y="6337671"/>
                  <a:pt x="849405" y="6332088"/>
                  <a:pt x="852770" y="6329146"/>
                </a:cubicBezTo>
                <a:cubicBezTo>
                  <a:pt x="856136" y="6326203"/>
                  <a:pt x="860136" y="6324732"/>
                  <a:pt x="864772" y="6324732"/>
                </a:cubicBezTo>
                <a:cubicBezTo>
                  <a:pt x="867674" y="6324732"/>
                  <a:pt x="870203" y="6325387"/>
                  <a:pt x="872360" y="6326697"/>
                </a:cubicBezTo>
                <a:cubicBezTo>
                  <a:pt x="874516" y="6328007"/>
                  <a:pt x="876018" y="6329761"/>
                  <a:pt x="876864" y="6331957"/>
                </a:cubicBezTo>
                <a:cubicBezTo>
                  <a:pt x="877710" y="6334154"/>
                  <a:pt x="878134" y="6337469"/>
                  <a:pt x="878134" y="6341903"/>
                </a:cubicBezTo>
                <a:lnTo>
                  <a:pt x="878134" y="6380961"/>
                </a:lnTo>
                <a:lnTo>
                  <a:pt x="889017" y="6380961"/>
                </a:lnTo>
                <a:lnTo>
                  <a:pt x="889017" y="6341480"/>
                </a:lnTo>
                <a:cubicBezTo>
                  <a:pt x="889017" y="6336441"/>
                  <a:pt x="888815" y="6332915"/>
                  <a:pt x="888412" y="6330899"/>
                </a:cubicBezTo>
                <a:cubicBezTo>
                  <a:pt x="887767" y="6327796"/>
                  <a:pt x="886639" y="6325115"/>
                  <a:pt x="885026" y="6322858"/>
                </a:cubicBezTo>
                <a:cubicBezTo>
                  <a:pt x="883414" y="6320601"/>
                  <a:pt x="880985" y="6318777"/>
                  <a:pt x="877741" y="6317386"/>
                </a:cubicBezTo>
                <a:cubicBezTo>
                  <a:pt x="874496" y="6315995"/>
                  <a:pt x="870939" y="6315300"/>
                  <a:pt x="867069" y="6315300"/>
                </a:cubicBezTo>
                <a:close/>
                <a:moveTo>
                  <a:pt x="762690" y="6315300"/>
                </a:moveTo>
                <a:cubicBezTo>
                  <a:pt x="759344" y="6315300"/>
                  <a:pt x="756210" y="6315733"/>
                  <a:pt x="753288" y="6316600"/>
                </a:cubicBezTo>
                <a:cubicBezTo>
                  <a:pt x="750366" y="6317467"/>
                  <a:pt x="748058" y="6318525"/>
                  <a:pt x="746365" y="6319774"/>
                </a:cubicBezTo>
                <a:cubicBezTo>
                  <a:pt x="744108" y="6321387"/>
                  <a:pt x="742324" y="6323412"/>
                  <a:pt x="741014" y="6325851"/>
                </a:cubicBezTo>
                <a:cubicBezTo>
                  <a:pt x="739704" y="6328289"/>
                  <a:pt x="739049" y="6330939"/>
                  <a:pt x="739049" y="6333801"/>
                </a:cubicBezTo>
                <a:cubicBezTo>
                  <a:pt x="739049" y="6336945"/>
                  <a:pt x="739845" y="6339817"/>
                  <a:pt x="741437" y="6342417"/>
                </a:cubicBezTo>
                <a:cubicBezTo>
                  <a:pt x="743030" y="6345017"/>
                  <a:pt x="745367" y="6347052"/>
                  <a:pt x="748451" y="6348524"/>
                </a:cubicBezTo>
                <a:cubicBezTo>
                  <a:pt x="751534" y="6349995"/>
                  <a:pt x="757067" y="6351738"/>
                  <a:pt x="765048" y="6353754"/>
                </a:cubicBezTo>
                <a:cubicBezTo>
                  <a:pt x="770973" y="6355245"/>
                  <a:pt x="774681" y="6356474"/>
                  <a:pt x="776172" y="6357442"/>
                </a:cubicBezTo>
                <a:cubicBezTo>
                  <a:pt x="778309" y="6358853"/>
                  <a:pt x="779377" y="6360787"/>
                  <a:pt x="779377" y="6363246"/>
                </a:cubicBezTo>
                <a:cubicBezTo>
                  <a:pt x="779377" y="6365987"/>
                  <a:pt x="778168" y="6368375"/>
                  <a:pt x="775749" y="6370411"/>
                </a:cubicBezTo>
                <a:cubicBezTo>
                  <a:pt x="773331" y="6372446"/>
                  <a:pt x="769623" y="6373464"/>
                  <a:pt x="764624" y="6373464"/>
                </a:cubicBezTo>
                <a:cubicBezTo>
                  <a:pt x="759666" y="6373464"/>
                  <a:pt x="755807" y="6372315"/>
                  <a:pt x="753046" y="6370018"/>
                </a:cubicBezTo>
                <a:cubicBezTo>
                  <a:pt x="750285" y="6367720"/>
                  <a:pt x="748602" y="6364415"/>
                  <a:pt x="747997" y="6360102"/>
                </a:cubicBezTo>
                <a:lnTo>
                  <a:pt x="737235" y="6361795"/>
                </a:lnTo>
                <a:cubicBezTo>
                  <a:pt x="738445" y="6368607"/>
                  <a:pt x="741236" y="6373746"/>
                  <a:pt x="745609" y="6377213"/>
                </a:cubicBezTo>
                <a:cubicBezTo>
                  <a:pt x="749983" y="6380679"/>
                  <a:pt x="756341" y="6382412"/>
                  <a:pt x="764685" y="6382412"/>
                </a:cubicBezTo>
                <a:cubicBezTo>
                  <a:pt x="769723" y="6382412"/>
                  <a:pt x="774238" y="6381536"/>
                  <a:pt x="778228" y="6379782"/>
                </a:cubicBezTo>
                <a:cubicBezTo>
                  <a:pt x="782219" y="6378029"/>
                  <a:pt x="785272" y="6375550"/>
                  <a:pt x="787388" y="6372345"/>
                </a:cubicBezTo>
                <a:cubicBezTo>
                  <a:pt x="789504" y="6369141"/>
                  <a:pt x="790562" y="6365725"/>
                  <a:pt x="790562" y="6362097"/>
                </a:cubicBezTo>
                <a:cubicBezTo>
                  <a:pt x="790562" y="6358389"/>
                  <a:pt x="789696" y="6355285"/>
                  <a:pt x="787962" y="6352786"/>
                </a:cubicBezTo>
                <a:cubicBezTo>
                  <a:pt x="786229" y="6350287"/>
                  <a:pt x="783841" y="6348383"/>
                  <a:pt x="780798" y="6347073"/>
                </a:cubicBezTo>
                <a:cubicBezTo>
                  <a:pt x="777754" y="6345763"/>
                  <a:pt x="772383" y="6344080"/>
                  <a:pt x="764685" y="6342024"/>
                </a:cubicBezTo>
                <a:cubicBezTo>
                  <a:pt x="759364" y="6340573"/>
                  <a:pt x="756160" y="6339646"/>
                  <a:pt x="755071" y="6339243"/>
                </a:cubicBezTo>
                <a:cubicBezTo>
                  <a:pt x="753177" y="6338477"/>
                  <a:pt x="751786" y="6337510"/>
                  <a:pt x="750900" y="6336341"/>
                </a:cubicBezTo>
                <a:cubicBezTo>
                  <a:pt x="750013" y="6335212"/>
                  <a:pt x="749569" y="6333942"/>
                  <a:pt x="749569" y="6332532"/>
                </a:cubicBezTo>
                <a:cubicBezTo>
                  <a:pt x="749569" y="6330315"/>
                  <a:pt x="750638" y="6328380"/>
                  <a:pt x="752774" y="6326727"/>
                </a:cubicBezTo>
                <a:cubicBezTo>
                  <a:pt x="754910" y="6325075"/>
                  <a:pt x="758477" y="6324248"/>
                  <a:pt x="763476" y="6324248"/>
                </a:cubicBezTo>
                <a:cubicBezTo>
                  <a:pt x="767708" y="6324248"/>
                  <a:pt x="770983" y="6325176"/>
                  <a:pt x="773301" y="6327030"/>
                </a:cubicBezTo>
                <a:cubicBezTo>
                  <a:pt x="775618" y="6328884"/>
                  <a:pt x="777019" y="6331463"/>
                  <a:pt x="777503" y="6334769"/>
                </a:cubicBezTo>
                <a:lnTo>
                  <a:pt x="788144" y="6333318"/>
                </a:lnTo>
                <a:cubicBezTo>
                  <a:pt x="787459" y="6329166"/>
                  <a:pt x="786209" y="6325851"/>
                  <a:pt x="784395" y="6323372"/>
                </a:cubicBezTo>
                <a:cubicBezTo>
                  <a:pt x="782581" y="6320893"/>
                  <a:pt x="779770" y="6318928"/>
                  <a:pt x="775961" y="6317477"/>
                </a:cubicBezTo>
                <a:cubicBezTo>
                  <a:pt x="772152" y="6316026"/>
                  <a:pt x="767728" y="6315300"/>
                  <a:pt x="762690" y="6315300"/>
                </a:cubicBezTo>
                <a:close/>
                <a:moveTo>
                  <a:pt x="525681" y="6301636"/>
                </a:moveTo>
                <a:cubicBezTo>
                  <a:pt x="527051" y="6306432"/>
                  <a:pt x="529147" y="6312559"/>
                  <a:pt x="531969" y="6320016"/>
                </a:cubicBezTo>
                <a:lnTo>
                  <a:pt x="541219" y="6344563"/>
                </a:lnTo>
                <a:lnTo>
                  <a:pt x="511170" y="6344563"/>
                </a:lnTo>
                <a:lnTo>
                  <a:pt x="520904" y="6318565"/>
                </a:lnTo>
                <a:cubicBezTo>
                  <a:pt x="522960" y="6312962"/>
                  <a:pt x="524552" y="6307319"/>
                  <a:pt x="525681" y="6301636"/>
                </a:cubicBezTo>
                <a:close/>
                <a:moveTo>
                  <a:pt x="1847396" y="6292325"/>
                </a:moveTo>
                <a:lnTo>
                  <a:pt x="1847396" y="6380961"/>
                </a:lnTo>
                <a:lnTo>
                  <a:pt x="1902778" y="6380961"/>
                </a:lnTo>
                <a:lnTo>
                  <a:pt x="1902778" y="6370501"/>
                </a:lnTo>
                <a:lnTo>
                  <a:pt x="1859125" y="6370501"/>
                </a:lnTo>
                <a:lnTo>
                  <a:pt x="1859125" y="6292325"/>
                </a:lnTo>
                <a:close/>
                <a:moveTo>
                  <a:pt x="1676067" y="6292325"/>
                </a:moveTo>
                <a:lnTo>
                  <a:pt x="1676067" y="6380961"/>
                </a:lnTo>
                <a:lnTo>
                  <a:pt x="1687373" y="6380961"/>
                </a:lnTo>
                <a:lnTo>
                  <a:pt x="1687373" y="6305505"/>
                </a:lnTo>
                <a:lnTo>
                  <a:pt x="1713008" y="6380961"/>
                </a:lnTo>
                <a:lnTo>
                  <a:pt x="1723589" y="6380961"/>
                </a:lnTo>
                <a:lnTo>
                  <a:pt x="1749346" y="6306775"/>
                </a:lnTo>
                <a:lnTo>
                  <a:pt x="1749346" y="6380961"/>
                </a:lnTo>
                <a:lnTo>
                  <a:pt x="1760652" y="6380961"/>
                </a:lnTo>
                <a:lnTo>
                  <a:pt x="1760652" y="6292325"/>
                </a:lnTo>
                <a:lnTo>
                  <a:pt x="1744872" y="6292325"/>
                </a:lnTo>
                <a:lnTo>
                  <a:pt x="1723650" y="6353995"/>
                </a:lnTo>
                <a:cubicBezTo>
                  <a:pt x="1721513" y="6360243"/>
                  <a:pt x="1719941" y="6364979"/>
                  <a:pt x="1718933" y="6368204"/>
                </a:cubicBezTo>
                <a:cubicBezTo>
                  <a:pt x="1718047" y="6365302"/>
                  <a:pt x="1716636" y="6360928"/>
                  <a:pt x="1714701" y="6355084"/>
                </a:cubicBezTo>
                <a:lnTo>
                  <a:pt x="1693721" y="6292325"/>
                </a:lnTo>
                <a:close/>
                <a:moveTo>
                  <a:pt x="1560739" y="6292325"/>
                </a:moveTo>
                <a:lnTo>
                  <a:pt x="1560739" y="6380961"/>
                </a:lnTo>
                <a:lnTo>
                  <a:pt x="1571622" y="6380961"/>
                </a:lnTo>
                <a:lnTo>
                  <a:pt x="1571622" y="6345833"/>
                </a:lnTo>
                <a:cubicBezTo>
                  <a:pt x="1571622" y="6340795"/>
                  <a:pt x="1572226" y="6336845"/>
                  <a:pt x="1573435" y="6333983"/>
                </a:cubicBezTo>
                <a:cubicBezTo>
                  <a:pt x="1574645" y="6331121"/>
                  <a:pt x="1576670" y="6328854"/>
                  <a:pt x="1579512" y="6327181"/>
                </a:cubicBezTo>
                <a:cubicBezTo>
                  <a:pt x="1582354" y="6325508"/>
                  <a:pt x="1585387" y="6324672"/>
                  <a:pt x="1588611" y="6324672"/>
                </a:cubicBezTo>
                <a:cubicBezTo>
                  <a:pt x="1592924" y="6324672"/>
                  <a:pt x="1596260" y="6325911"/>
                  <a:pt x="1598618" y="6328390"/>
                </a:cubicBezTo>
                <a:cubicBezTo>
                  <a:pt x="1600976" y="6330869"/>
                  <a:pt x="1602155" y="6334829"/>
                  <a:pt x="1602155" y="6340271"/>
                </a:cubicBezTo>
                <a:lnTo>
                  <a:pt x="1602155" y="6380961"/>
                </a:lnTo>
                <a:lnTo>
                  <a:pt x="1613038" y="6380961"/>
                </a:lnTo>
                <a:lnTo>
                  <a:pt x="1613038" y="6340271"/>
                </a:lnTo>
                <a:cubicBezTo>
                  <a:pt x="1613038" y="6333983"/>
                  <a:pt x="1612282" y="6329186"/>
                  <a:pt x="1610771" y="6325881"/>
                </a:cubicBezTo>
                <a:cubicBezTo>
                  <a:pt x="1609259" y="6322576"/>
                  <a:pt x="1606750" y="6319986"/>
                  <a:pt x="1603243" y="6318112"/>
                </a:cubicBezTo>
                <a:cubicBezTo>
                  <a:pt x="1599736" y="6316237"/>
                  <a:pt x="1595605" y="6315300"/>
                  <a:pt x="1590848" y="6315300"/>
                </a:cubicBezTo>
                <a:cubicBezTo>
                  <a:pt x="1583109" y="6315300"/>
                  <a:pt x="1576700" y="6318243"/>
                  <a:pt x="1571622" y="6324128"/>
                </a:cubicBezTo>
                <a:lnTo>
                  <a:pt x="1571622" y="6292325"/>
                </a:lnTo>
                <a:close/>
                <a:moveTo>
                  <a:pt x="1285542" y="6292325"/>
                </a:moveTo>
                <a:lnTo>
                  <a:pt x="1285542" y="6380961"/>
                </a:lnTo>
                <a:lnTo>
                  <a:pt x="1296848" y="6380961"/>
                </a:lnTo>
                <a:lnTo>
                  <a:pt x="1296848" y="6305505"/>
                </a:lnTo>
                <a:lnTo>
                  <a:pt x="1322484" y="6380961"/>
                </a:lnTo>
                <a:lnTo>
                  <a:pt x="1333064" y="6380961"/>
                </a:lnTo>
                <a:lnTo>
                  <a:pt x="1358821" y="6306775"/>
                </a:lnTo>
                <a:lnTo>
                  <a:pt x="1358821" y="6380961"/>
                </a:lnTo>
                <a:lnTo>
                  <a:pt x="1370127" y="6380961"/>
                </a:lnTo>
                <a:lnTo>
                  <a:pt x="1370127" y="6292325"/>
                </a:lnTo>
                <a:lnTo>
                  <a:pt x="1354347" y="6292325"/>
                </a:lnTo>
                <a:lnTo>
                  <a:pt x="1333125" y="6353995"/>
                </a:lnTo>
                <a:cubicBezTo>
                  <a:pt x="1330988" y="6360243"/>
                  <a:pt x="1329416" y="6364979"/>
                  <a:pt x="1328409" y="6368204"/>
                </a:cubicBezTo>
                <a:cubicBezTo>
                  <a:pt x="1327522" y="6365302"/>
                  <a:pt x="1326111" y="6360928"/>
                  <a:pt x="1324176" y="6355084"/>
                </a:cubicBezTo>
                <a:lnTo>
                  <a:pt x="1303196" y="6292325"/>
                </a:lnTo>
                <a:close/>
                <a:moveTo>
                  <a:pt x="808324" y="6292325"/>
                </a:moveTo>
                <a:lnTo>
                  <a:pt x="808324" y="6304840"/>
                </a:lnTo>
                <a:lnTo>
                  <a:pt x="819207" y="6304840"/>
                </a:lnTo>
                <a:lnTo>
                  <a:pt x="819207" y="6292325"/>
                </a:lnTo>
                <a:close/>
                <a:moveTo>
                  <a:pt x="608178" y="6292325"/>
                </a:moveTo>
                <a:lnTo>
                  <a:pt x="608178" y="6380961"/>
                </a:lnTo>
                <a:lnTo>
                  <a:pt x="618275" y="6380961"/>
                </a:lnTo>
                <a:lnTo>
                  <a:pt x="618275" y="6372920"/>
                </a:lnTo>
                <a:cubicBezTo>
                  <a:pt x="622588" y="6379248"/>
                  <a:pt x="628533" y="6382412"/>
                  <a:pt x="636111" y="6382412"/>
                </a:cubicBezTo>
                <a:cubicBezTo>
                  <a:pt x="643729" y="6382412"/>
                  <a:pt x="650259" y="6379409"/>
                  <a:pt x="655701" y="6373404"/>
                </a:cubicBezTo>
                <a:cubicBezTo>
                  <a:pt x="661142" y="6367398"/>
                  <a:pt x="663863" y="6358893"/>
                  <a:pt x="663863" y="6347889"/>
                </a:cubicBezTo>
                <a:cubicBezTo>
                  <a:pt x="663863" y="6343253"/>
                  <a:pt x="663218" y="6338900"/>
                  <a:pt x="661928" y="6334829"/>
                </a:cubicBezTo>
                <a:cubicBezTo>
                  <a:pt x="660638" y="6330758"/>
                  <a:pt x="658855" y="6327282"/>
                  <a:pt x="656577" y="6324400"/>
                </a:cubicBezTo>
                <a:cubicBezTo>
                  <a:pt x="654300" y="6321518"/>
                  <a:pt x="651398" y="6319281"/>
                  <a:pt x="647871" y="6317688"/>
                </a:cubicBezTo>
                <a:cubicBezTo>
                  <a:pt x="644344" y="6316096"/>
                  <a:pt x="640606" y="6315300"/>
                  <a:pt x="636655" y="6315300"/>
                </a:cubicBezTo>
                <a:cubicBezTo>
                  <a:pt x="629521" y="6315300"/>
                  <a:pt x="623656" y="6318182"/>
                  <a:pt x="619061" y="6323946"/>
                </a:cubicBezTo>
                <a:lnTo>
                  <a:pt x="619061" y="6292325"/>
                </a:lnTo>
                <a:close/>
                <a:moveTo>
                  <a:pt x="519635" y="6292325"/>
                </a:moveTo>
                <a:lnTo>
                  <a:pt x="485595" y="6380961"/>
                </a:lnTo>
                <a:lnTo>
                  <a:pt x="498050" y="6380961"/>
                </a:lnTo>
                <a:lnTo>
                  <a:pt x="507784" y="6354116"/>
                </a:lnTo>
                <a:lnTo>
                  <a:pt x="544847" y="6354116"/>
                </a:lnTo>
                <a:lnTo>
                  <a:pt x="555186" y="6380961"/>
                </a:lnTo>
                <a:lnTo>
                  <a:pt x="568548" y="6380961"/>
                </a:lnTo>
                <a:lnTo>
                  <a:pt x="532271" y="6292325"/>
                </a:lnTo>
                <a:close/>
                <a:moveTo>
                  <a:pt x="1228689" y="6290813"/>
                </a:moveTo>
                <a:cubicBezTo>
                  <a:pt x="1223933" y="6290813"/>
                  <a:pt x="1220235" y="6291690"/>
                  <a:pt x="1217594" y="6293443"/>
                </a:cubicBezTo>
                <a:cubicBezTo>
                  <a:pt x="1214954" y="6295197"/>
                  <a:pt x="1213110" y="6297484"/>
                  <a:pt x="1212062" y="6300306"/>
                </a:cubicBezTo>
                <a:cubicBezTo>
                  <a:pt x="1211296" y="6302402"/>
                  <a:pt x="1210914" y="6305606"/>
                  <a:pt x="1210914" y="6309919"/>
                </a:cubicBezTo>
                <a:lnTo>
                  <a:pt x="1210914" y="6316751"/>
                </a:lnTo>
                <a:lnTo>
                  <a:pt x="1201300" y="6316751"/>
                </a:lnTo>
                <a:lnTo>
                  <a:pt x="1201300" y="6325216"/>
                </a:lnTo>
                <a:lnTo>
                  <a:pt x="1210914" y="6325216"/>
                </a:lnTo>
                <a:lnTo>
                  <a:pt x="1210914" y="6380961"/>
                </a:lnTo>
                <a:lnTo>
                  <a:pt x="1221736" y="6380961"/>
                </a:lnTo>
                <a:lnTo>
                  <a:pt x="1221736" y="6325216"/>
                </a:lnTo>
                <a:lnTo>
                  <a:pt x="1234252" y="6325216"/>
                </a:lnTo>
                <a:lnTo>
                  <a:pt x="1234252" y="6316751"/>
                </a:lnTo>
                <a:lnTo>
                  <a:pt x="1221736" y="6316751"/>
                </a:lnTo>
                <a:lnTo>
                  <a:pt x="1221736" y="6310826"/>
                </a:lnTo>
                <a:cubicBezTo>
                  <a:pt x="1221736" y="6306956"/>
                  <a:pt x="1222421" y="6304316"/>
                  <a:pt x="1223792" y="6302906"/>
                </a:cubicBezTo>
                <a:cubicBezTo>
                  <a:pt x="1225162" y="6301495"/>
                  <a:pt x="1227500" y="6300789"/>
                  <a:pt x="1230805" y="6300789"/>
                </a:cubicBezTo>
                <a:cubicBezTo>
                  <a:pt x="1232820" y="6300789"/>
                  <a:pt x="1234957" y="6300991"/>
                  <a:pt x="1237214" y="6301394"/>
                </a:cubicBezTo>
                <a:lnTo>
                  <a:pt x="1238847" y="6291902"/>
                </a:lnTo>
                <a:cubicBezTo>
                  <a:pt x="1235138" y="6291176"/>
                  <a:pt x="1231753" y="6290813"/>
                  <a:pt x="1228689" y="6290813"/>
                </a:cubicBezTo>
                <a:close/>
                <a:moveTo>
                  <a:pt x="7175501" y="1"/>
                </a:moveTo>
                <a:lnTo>
                  <a:pt x="12191999" y="1"/>
                </a:lnTo>
                <a:lnTo>
                  <a:pt x="12191999" y="6858001"/>
                </a:lnTo>
                <a:lnTo>
                  <a:pt x="1" y="6858001"/>
                </a:lnTo>
                <a:lnTo>
                  <a:pt x="1" y="5752619"/>
                </a:lnTo>
                <a:lnTo>
                  <a:pt x="7175501" y="5752619"/>
                </a:lnTo>
                <a:close/>
                <a:moveTo>
                  <a:pt x="0" y="0"/>
                </a:moveTo>
                <a:lnTo>
                  <a:pt x="7175501" y="0"/>
                </a:lnTo>
                <a:lnTo>
                  <a:pt x="7175501" y="1"/>
                </a:lnTo>
                <a:lnTo>
                  <a:pt x="1" y="1"/>
                </a:lnTo>
                <a:lnTo>
                  <a:pt x="1" y="5752619"/>
                </a:lnTo>
                <a:lnTo>
                  <a:pt x="0" y="5752619"/>
                </a:lnTo>
                <a:close/>
              </a:path>
            </a:pathLst>
          </a:custGeom>
          <a:solidFill>
            <a:srgbClr val="F0F0F0"/>
          </a:solidFill>
        </p:spPr>
        <p:txBody>
          <a:bodyPr wrap="square">
            <a:no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1200">
                <a:solidFill>
                  <a:srgbClr val="FF0000"/>
                </a:solidFill>
              </a:defRPr>
            </a:lvl1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t>Click on picture icon to insert picture. Reset layout.</a:t>
            </a:r>
          </a:p>
        </p:txBody>
      </p:sp>
      <p:sp>
        <p:nvSpPr>
          <p:cNvPr id="12"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609725"/>
            <a:ext cx="6485763" cy="1600200"/>
          </a:xfrm>
        </p:spPr>
        <p:txBody>
          <a:bodyPr vert="horz" anchor="b" anchorCtr="0"/>
          <a:lstStyle>
            <a:lvl1pPr>
              <a:lnSpc>
                <a:spcPct val="90000"/>
              </a:lnSpc>
              <a:defRPr lang="en-US" sz="4800" b="1" i="0" kern="1200" cap="none" baseline="0" dirty="0">
                <a:solidFill>
                  <a:schemeClr val="tx2"/>
                </a:solidFill>
                <a:latin typeface="Arial" panose="020B0604020202020204" pitchFamily="34" charset="0"/>
                <a:ea typeface="+mj-ea"/>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405820"/>
            <a:ext cx="6447769"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9" name="Text Placeholder 3">
            <a:extLst>
              <a:ext uri="{FF2B5EF4-FFF2-40B4-BE49-F238E27FC236}">
                <a16:creationId xmlns:a16="http://schemas.microsoft.com/office/drawing/2014/main" id="{408D7265-22AD-444D-9DAE-694197297FA6}"/>
              </a:ext>
            </a:extLst>
          </p:cNvPr>
          <p:cNvSpPr>
            <a:spLocks noGrp="1"/>
          </p:cNvSpPr>
          <p:nvPr>
            <p:ph type="body" sz="half" idx="2" hasCustomPrompt="1"/>
          </p:nvPr>
        </p:nvSpPr>
        <p:spPr>
          <a:xfrm>
            <a:off x="485775" y="4429126"/>
            <a:ext cx="64484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2"/>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pic>
        <p:nvPicPr>
          <p:cNvPr id="11" name="Graphic 12">
            <a:extLst>
              <a:ext uri="{FF2B5EF4-FFF2-40B4-BE49-F238E27FC236}">
                <a16:creationId xmlns:a16="http://schemas.microsoft.com/office/drawing/2014/main" id="{CB3E854A-C626-6940-8EB7-1215314D076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86803" y="341762"/>
            <a:ext cx="1623974" cy="338328"/>
          </a:xfrm>
          <a:prstGeom prst="rect">
            <a:avLst/>
          </a:prstGeom>
        </p:spPr>
      </p:pic>
      <p:pic>
        <p:nvPicPr>
          <p:cNvPr id="29" name="Picture 28"/>
          <p:cNvPicPr>
            <a:picLocks noChangeAspect="1"/>
          </p:cNvPicPr>
          <p:nvPr userDrawn="1"/>
        </p:nvPicPr>
        <p:blipFill>
          <a:blip r:embed="rId7"/>
          <a:stretch>
            <a:fillRect/>
          </a:stretch>
        </p:blipFill>
        <p:spPr>
          <a:xfrm>
            <a:off x="486803" y="1174876"/>
            <a:ext cx="3548512" cy="438912"/>
          </a:xfrm>
          <a:prstGeom prst="rect">
            <a:avLst/>
          </a:prstGeom>
        </p:spPr>
      </p:pic>
    </p:spTree>
    <p:extLst>
      <p:ext uri="{BB962C8B-B14F-4D97-AF65-F5344CB8AC3E}">
        <p14:creationId xmlns:p14="http://schemas.microsoft.com/office/powerpoint/2010/main" val="278747099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p:cSld name="Title slide A">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5793"/>
            <a:ext cx="9365488" cy="1602882"/>
          </a:xfrm>
        </p:spPr>
        <p:txBody>
          <a:bodyPr vert="horz"/>
          <a:lstStyle>
            <a:lvl1pPr>
              <a:lnSpc>
                <a:spcPct val="90000"/>
              </a:lnSpc>
              <a:defRPr sz="6000" b="1" i="0" cap="none" baseline="0">
                <a:latin typeface="Arial" panose="020B0604020202020204" pitchFamily="34" charset="0"/>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60887"/>
            <a:ext cx="9310624"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pic>
        <p:nvPicPr>
          <p:cNvPr id="12" name="Graphic 11">
            <a:extLst>
              <a:ext uri="{FF2B5EF4-FFF2-40B4-BE49-F238E27FC236}">
                <a16:creationId xmlns:a16="http://schemas.microsoft.com/office/drawing/2014/main" id="{4BDA5969-2C42-8648-93E3-BF7B87CBB66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EB52CC60-D837-D647-A567-2B63058DBF94}"/>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sp>
        <p:nvSpPr>
          <p:cNvPr id="14" name="Rectangle 13">
            <a:extLst>
              <a:ext uri="{FF2B5EF4-FFF2-40B4-BE49-F238E27FC236}">
                <a16:creationId xmlns:a16="http://schemas.microsoft.com/office/drawing/2014/main" id="{8A000828-AFAC-3B45-BED9-82169A449934}"/>
              </a:ext>
            </a:extLst>
          </p:cNvPr>
          <p:cNvSpPr/>
          <p:nvPr/>
        </p:nvSpPr>
        <p:spPr>
          <a:xfrm>
            <a:off x="485775" y="6257135"/>
            <a:ext cx="1785745" cy="153888"/>
          </a:xfrm>
          <a:prstGeom prst="rect">
            <a:avLst/>
          </a:prstGeom>
        </p:spPr>
        <p:txBody>
          <a:bodyPr wrap="none" lIns="0" tIns="0" rIns="0" bIns="0">
            <a:spAutoFit/>
          </a:bodyPr>
          <a:lstStyle/>
          <a:p>
            <a:r>
              <a:rPr lang="en-US" sz="1000" dirty="0">
                <a:effectLst/>
                <a:latin typeface="Arial" panose="020B0604020202020204" pitchFamily="34" charset="0"/>
              </a:rPr>
              <a:t>A business of Marsh McLennan</a:t>
            </a:r>
            <a:endParaRPr lang="en-US" sz="1000" dirty="0"/>
          </a:p>
        </p:txBody>
      </p:sp>
      <p:pic>
        <p:nvPicPr>
          <p:cNvPr id="9" name="Picture 8"/>
          <p:cNvPicPr>
            <a:picLocks noChangeAspect="1"/>
          </p:cNvPicPr>
          <p:nvPr userDrawn="1"/>
        </p:nvPicPr>
        <p:blipFill>
          <a:blip r:embed="rId7"/>
          <a:stretch>
            <a:fillRect/>
          </a:stretch>
        </p:blipFill>
        <p:spPr>
          <a:xfrm>
            <a:off x="486803" y="1174876"/>
            <a:ext cx="3548512" cy="438912"/>
          </a:xfrm>
          <a:prstGeom prst="rect">
            <a:avLst/>
          </a:prstGeom>
        </p:spPr>
      </p:pic>
    </p:spTree>
    <p:extLst>
      <p:ext uri="{BB962C8B-B14F-4D97-AF65-F5344CB8AC3E}">
        <p14:creationId xmlns:p14="http://schemas.microsoft.com/office/powerpoint/2010/main" val="46351807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p:cSld name="Title slide B: blue">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sz="6000" b="1" i="0" cap="none" baseline="0">
                <a:solidFill>
                  <a:schemeClr val="bg1"/>
                </a:solidFill>
                <a:latin typeface="Arial" panose="020B0604020202020204" pitchFamily="34" charset="0"/>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a:p>
            <a:endParaRPr lang="en-US" dirty="0"/>
          </a:p>
        </p:txBody>
      </p:sp>
      <p:pic>
        <p:nvPicPr>
          <p:cNvPr id="10" name="Graphic 9">
            <a:extLst>
              <a:ext uri="{FF2B5EF4-FFF2-40B4-BE49-F238E27FC236}">
                <a16:creationId xmlns:a16="http://schemas.microsoft.com/office/drawing/2014/main" id="{DEE86180-B41F-7848-B765-50E102B103F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21CF6247-A2E8-674A-8D8D-44D4EAEBC5F3}"/>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sp>
        <p:nvSpPr>
          <p:cNvPr id="12" name="Text Placeholder 3">
            <a:extLst>
              <a:ext uri="{FF2B5EF4-FFF2-40B4-BE49-F238E27FC236}">
                <a16:creationId xmlns:a16="http://schemas.microsoft.com/office/drawing/2014/main" id="{57A2FE8B-9C7D-A345-BB2B-099F6C5E5640}"/>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D5790EA8-AA62-F64A-8A53-EECC7CCE7712}"/>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pic>
        <p:nvPicPr>
          <p:cNvPr id="9" name="Picture 8"/>
          <p:cNvPicPr>
            <a:picLocks noChangeAspect="1"/>
          </p:cNvPicPr>
          <p:nvPr userDrawn="1"/>
        </p:nvPicPr>
        <p:blipFill>
          <a:blip r:embed="rId7"/>
          <a:stretch>
            <a:fillRect/>
          </a:stretch>
        </p:blipFill>
        <p:spPr>
          <a:xfrm>
            <a:off x="486803" y="1174876"/>
            <a:ext cx="3548512" cy="438912"/>
          </a:xfrm>
          <a:prstGeom prst="rect">
            <a:avLst/>
          </a:prstGeom>
        </p:spPr>
      </p:pic>
    </p:spTree>
    <p:extLst>
      <p:ext uri="{BB962C8B-B14F-4D97-AF65-F5344CB8AC3E}">
        <p14:creationId xmlns:p14="http://schemas.microsoft.com/office/powerpoint/2010/main" val="207384152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p:cSld name="Title slide B: gradi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lang="en-US" sz="6000" b="1" i="0" kern="1200" cap="none" baseline="0" dirty="0">
                <a:solidFill>
                  <a:schemeClr val="bg1"/>
                </a:solidFill>
                <a:latin typeface="+mn-lt"/>
                <a:ea typeface="+mj-ea"/>
                <a:cs typeface="Arial Narrow"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pic>
        <p:nvPicPr>
          <p:cNvPr id="11" name="Graphic 10">
            <a:extLst>
              <a:ext uri="{FF2B5EF4-FFF2-40B4-BE49-F238E27FC236}">
                <a16:creationId xmlns:a16="http://schemas.microsoft.com/office/drawing/2014/main" id="{FDA1005D-C174-6644-AA58-EB820552A19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36A2096B-1D09-3D42-BA78-B882F2057281}"/>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sp>
        <p:nvSpPr>
          <p:cNvPr id="12" name="Text Placeholder 3">
            <a:extLst>
              <a:ext uri="{FF2B5EF4-FFF2-40B4-BE49-F238E27FC236}">
                <a16:creationId xmlns:a16="http://schemas.microsoft.com/office/drawing/2014/main" id="{376AD702-0276-0141-A183-937FB3505BA2}"/>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F0B5321B-5321-A64E-90E9-3AC4B69C0ADD}"/>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pic>
        <p:nvPicPr>
          <p:cNvPr id="58" name="Picture 57"/>
          <p:cNvPicPr>
            <a:picLocks noChangeAspect="1"/>
          </p:cNvPicPr>
          <p:nvPr userDrawn="1"/>
        </p:nvPicPr>
        <p:blipFill>
          <a:blip r:embed="rId8"/>
          <a:stretch>
            <a:fillRect/>
          </a:stretch>
        </p:blipFill>
        <p:spPr>
          <a:xfrm>
            <a:off x="486803" y="1174876"/>
            <a:ext cx="3548512" cy="438912"/>
          </a:xfrm>
          <a:prstGeom prst="rect">
            <a:avLst/>
          </a:prstGeom>
        </p:spPr>
      </p:pic>
    </p:spTree>
    <p:extLst>
      <p:ext uri="{BB962C8B-B14F-4D97-AF65-F5344CB8AC3E}">
        <p14:creationId xmlns:p14="http://schemas.microsoft.com/office/powerpoint/2010/main" val="118816904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p:cSld name="Title slide C">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08843" y="2347270"/>
            <a:ext cx="9433657" cy="1519880"/>
          </a:xfrm>
        </p:spPr>
        <p:txBody>
          <a:bodyPr vert="horz"/>
          <a:lstStyle>
            <a:lvl1pPr>
              <a:lnSpc>
                <a:spcPct val="80000"/>
              </a:lnSpc>
              <a:defRPr sz="12000" b="1" i="0" cap="none" baseline="0">
                <a:solidFill>
                  <a:schemeClr val="tx2"/>
                </a:solidFill>
                <a:latin typeface="Arial" panose="020B0604020202020204" pitchFamily="34" charset="0"/>
                <a:cs typeface="Arial" panose="020B0604020202020204" pitchFamily="34" charset="0"/>
              </a:defRPr>
            </a:lvl1pPr>
          </a:lstStyle>
          <a:p>
            <a:r>
              <a:rPr lang="en-US" dirty="0"/>
              <a:t>Heading 1</a:t>
            </a:r>
          </a:p>
        </p:txBody>
      </p:sp>
      <p:sp>
        <p:nvSpPr>
          <p:cNvPr id="3" name="Subtitle 2"/>
          <p:cNvSpPr>
            <a:spLocks noGrp="1"/>
          </p:cNvSpPr>
          <p:nvPr>
            <p:ph type="subTitle" idx="1" hasCustomPrompt="1"/>
          </p:nvPr>
        </p:nvSpPr>
        <p:spPr>
          <a:xfrm>
            <a:off x="465995" y="1784598"/>
            <a:ext cx="9313005" cy="381732"/>
          </a:xfrm>
        </p:spPr>
        <p:txBody>
          <a:bodyPr anchor="b"/>
          <a:lstStyle>
            <a:lvl1pPr marL="0" indent="0" algn="l">
              <a:buNone/>
              <a:defRPr sz="2400" b="1">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ing 2</a:t>
            </a:r>
          </a:p>
        </p:txBody>
      </p:sp>
      <p:sp>
        <p:nvSpPr>
          <p:cNvPr id="8" name="Picture Placeholder 5">
            <a:extLst>
              <a:ext uri="{FF2B5EF4-FFF2-40B4-BE49-F238E27FC236}">
                <a16:creationId xmlns:a16="http://schemas.microsoft.com/office/drawing/2014/main" id="{F83B2B48-1865-EF4B-9973-D5EE72C1B4A1}"/>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pic>
        <p:nvPicPr>
          <p:cNvPr id="13" name="Graphic 12">
            <a:extLst>
              <a:ext uri="{FF2B5EF4-FFF2-40B4-BE49-F238E27FC236}">
                <a16:creationId xmlns:a16="http://schemas.microsoft.com/office/drawing/2014/main" id="{CB3E854A-C626-6940-8EB7-1215314D076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6803" y="341762"/>
            <a:ext cx="1623974" cy="338328"/>
          </a:xfrm>
          <a:prstGeom prst="rect">
            <a:avLst/>
          </a:prstGeom>
        </p:spPr>
      </p:pic>
      <p:sp>
        <p:nvSpPr>
          <p:cNvPr id="11" name="Text Placeholder 3">
            <a:extLst>
              <a:ext uri="{FF2B5EF4-FFF2-40B4-BE49-F238E27FC236}">
                <a16:creationId xmlns:a16="http://schemas.microsoft.com/office/drawing/2014/main" id="{7DCD9D50-BDCD-8D45-9767-5C243626118C}"/>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2" name="Rectangle 11">
            <a:extLst>
              <a:ext uri="{FF2B5EF4-FFF2-40B4-BE49-F238E27FC236}">
                <a16:creationId xmlns:a16="http://schemas.microsoft.com/office/drawing/2014/main" id="{2F37011C-C36F-8D4D-96C4-15011C56AD67}"/>
              </a:ext>
            </a:extLst>
          </p:cNvPr>
          <p:cNvSpPr/>
          <p:nvPr/>
        </p:nvSpPr>
        <p:spPr>
          <a:xfrm>
            <a:off x="485775" y="6257135"/>
            <a:ext cx="1785745" cy="153888"/>
          </a:xfrm>
          <a:prstGeom prst="rect">
            <a:avLst/>
          </a:prstGeom>
        </p:spPr>
        <p:txBody>
          <a:bodyPr wrap="none" lIns="0" tIns="0" rIns="0" bIns="0">
            <a:spAutoFit/>
          </a:bodyPr>
          <a:lstStyle/>
          <a:p>
            <a:r>
              <a:rPr lang="en-US" sz="1000" dirty="0">
                <a:effectLst/>
                <a:latin typeface="Arial" panose="020B0604020202020204" pitchFamily="34" charset="0"/>
              </a:rPr>
              <a:t>A business of Marsh McLennan</a:t>
            </a:r>
            <a:endParaRPr lang="en-US" sz="1000" dirty="0"/>
          </a:p>
        </p:txBody>
      </p:sp>
      <p:pic>
        <p:nvPicPr>
          <p:cNvPr id="10" name="Picture 9"/>
          <p:cNvPicPr>
            <a:picLocks noChangeAspect="1"/>
          </p:cNvPicPr>
          <p:nvPr userDrawn="1"/>
        </p:nvPicPr>
        <p:blipFill>
          <a:blip r:embed="rId7"/>
          <a:stretch>
            <a:fillRect/>
          </a:stretch>
        </p:blipFill>
        <p:spPr>
          <a:xfrm>
            <a:off x="486803" y="1174876"/>
            <a:ext cx="3548512" cy="438912"/>
          </a:xfrm>
          <a:prstGeom prst="rect">
            <a:avLst/>
          </a:prstGeom>
        </p:spPr>
      </p:pic>
    </p:spTree>
    <p:extLst>
      <p:ext uri="{BB962C8B-B14F-4D97-AF65-F5344CB8AC3E}">
        <p14:creationId xmlns:p14="http://schemas.microsoft.com/office/powerpoint/2010/main" val="411760758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p:cSld name="Title slide C: blue">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09829" y="2350190"/>
            <a:ext cx="9429496" cy="1516960"/>
          </a:xfrm>
        </p:spPr>
        <p:txBody>
          <a:bodyPr vert="horz" lIns="0" tIns="0" rIns="0" bIns="0" rtlCol="0" anchor="t">
            <a:noAutofit/>
          </a:bodyPr>
          <a:lstStyle>
            <a:lvl1pPr>
              <a:defRPr lang="en-US" sz="12000" i="0" cap="none" baseline="0" dirty="0">
                <a:solidFill>
                  <a:schemeClr val="bg1"/>
                </a:solidFill>
                <a:latin typeface="Arial" panose="020B0604020202020204" pitchFamily="34" charset="0"/>
                <a:cs typeface="Arial" panose="020B0604020202020204" pitchFamily="34" charset="0"/>
              </a:defRPr>
            </a:lvl1pPr>
          </a:lstStyle>
          <a:p>
            <a:pPr lvl="0"/>
            <a:r>
              <a:rPr lang="en-US" dirty="0"/>
              <a:t>Heading 1</a:t>
            </a:r>
          </a:p>
        </p:txBody>
      </p:sp>
      <p:sp>
        <p:nvSpPr>
          <p:cNvPr id="3" name="Subtitle 2"/>
          <p:cNvSpPr>
            <a:spLocks noGrp="1"/>
          </p:cNvSpPr>
          <p:nvPr>
            <p:ph type="subTitle" idx="1" hasCustomPrompt="1"/>
          </p:nvPr>
        </p:nvSpPr>
        <p:spPr>
          <a:xfrm>
            <a:off x="465201" y="1783080"/>
            <a:ext cx="9310624" cy="384048"/>
          </a:xfrm>
        </p:spPr>
        <p:txBody>
          <a:bodyPr anchor="b"/>
          <a:lstStyle>
            <a:lvl1pPr marL="0" indent="0" algn="l">
              <a:buNone/>
              <a:defRPr sz="24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ing 2</a:t>
            </a:r>
          </a:p>
        </p:txBody>
      </p:sp>
      <p:sp>
        <p:nvSpPr>
          <p:cNvPr id="8" name="Picture Placeholder 5">
            <a:extLst>
              <a:ext uri="{FF2B5EF4-FFF2-40B4-BE49-F238E27FC236}">
                <a16:creationId xmlns:a16="http://schemas.microsoft.com/office/drawing/2014/main" id="{2443E10E-D359-3B49-9FDB-877AADFF144B}"/>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pic>
        <p:nvPicPr>
          <p:cNvPr id="13" name="Graphic 12">
            <a:extLst>
              <a:ext uri="{FF2B5EF4-FFF2-40B4-BE49-F238E27FC236}">
                <a16:creationId xmlns:a16="http://schemas.microsoft.com/office/drawing/2014/main" id="{D426043B-0359-FC46-BCF1-DAFF274E75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6803" y="341762"/>
            <a:ext cx="1623974" cy="338328"/>
          </a:xfrm>
          <a:prstGeom prst="rect">
            <a:avLst/>
          </a:prstGeom>
        </p:spPr>
      </p:pic>
      <p:sp>
        <p:nvSpPr>
          <p:cNvPr id="11" name="Text Placeholder 3">
            <a:extLst>
              <a:ext uri="{FF2B5EF4-FFF2-40B4-BE49-F238E27FC236}">
                <a16:creationId xmlns:a16="http://schemas.microsoft.com/office/drawing/2014/main" id="{07BC8A92-AD16-9240-917F-017431DBB319}"/>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2" name="Rectangle 11">
            <a:extLst>
              <a:ext uri="{FF2B5EF4-FFF2-40B4-BE49-F238E27FC236}">
                <a16:creationId xmlns:a16="http://schemas.microsoft.com/office/drawing/2014/main" id="{F751746A-3C5A-ED4C-8A74-566F52CC4087}"/>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pic>
        <p:nvPicPr>
          <p:cNvPr id="9" name="Picture 8"/>
          <p:cNvPicPr>
            <a:picLocks noChangeAspect="1"/>
          </p:cNvPicPr>
          <p:nvPr userDrawn="1"/>
        </p:nvPicPr>
        <p:blipFill>
          <a:blip r:embed="rId7"/>
          <a:stretch>
            <a:fillRect/>
          </a:stretch>
        </p:blipFill>
        <p:spPr>
          <a:xfrm>
            <a:off x="486803" y="1174876"/>
            <a:ext cx="3548512" cy="438912"/>
          </a:xfrm>
          <a:prstGeom prst="rect">
            <a:avLst/>
          </a:prstGeom>
        </p:spPr>
      </p:pic>
    </p:spTree>
    <p:extLst>
      <p:ext uri="{BB962C8B-B14F-4D97-AF65-F5344CB8AC3E}">
        <p14:creationId xmlns:p14="http://schemas.microsoft.com/office/powerpoint/2010/main" val="124734497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Title slide C: gradi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09829" y="2350190"/>
            <a:ext cx="9429496" cy="1516960"/>
          </a:xfrm>
        </p:spPr>
        <p:txBody>
          <a:bodyPr vert="horz" lIns="0" tIns="0" rIns="0" bIns="0" rtlCol="0" anchor="t">
            <a:noAutofit/>
          </a:bodyPr>
          <a:lstStyle>
            <a:lvl1pPr>
              <a:defRPr lang="en-US" sz="12000" i="0" cap="none" baseline="0" dirty="0">
                <a:solidFill>
                  <a:schemeClr val="bg1"/>
                </a:solidFill>
                <a:latin typeface="Arial" panose="020B0604020202020204" pitchFamily="34" charset="0"/>
                <a:cs typeface="Arial" panose="020B0604020202020204" pitchFamily="34" charset="0"/>
              </a:defRPr>
            </a:lvl1pPr>
          </a:lstStyle>
          <a:p>
            <a:pPr lvl="0"/>
            <a:r>
              <a:rPr lang="en-US" dirty="0"/>
              <a:t>Heading 1</a:t>
            </a:r>
          </a:p>
        </p:txBody>
      </p:sp>
      <p:sp>
        <p:nvSpPr>
          <p:cNvPr id="3" name="Subtitle 2"/>
          <p:cNvSpPr>
            <a:spLocks noGrp="1"/>
          </p:cNvSpPr>
          <p:nvPr>
            <p:ph type="subTitle" idx="1" hasCustomPrompt="1"/>
          </p:nvPr>
        </p:nvSpPr>
        <p:spPr>
          <a:xfrm>
            <a:off x="465201" y="1783080"/>
            <a:ext cx="9310624" cy="384048"/>
          </a:xfrm>
        </p:spPr>
        <p:txBody>
          <a:bodyPr anchor="b"/>
          <a:lstStyle>
            <a:lvl1pPr marL="0" indent="0" algn="l">
              <a:buNone/>
              <a:defRPr sz="24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ing 2</a:t>
            </a:r>
          </a:p>
        </p:txBody>
      </p:sp>
      <p:sp>
        <p:nvSpPr>
          <p:cNvPr id="8" name="Picture Placeholder 5">
            <a:extLst>
              <a:ext uri="{FF2B5EF4-FFF2-40B4-BE49-F238E27FC236}">
                <a16:creationId xmlns:a16="http://schemas.microsoft.com/office/drawing/2014/main" id="{F55BF0EB-E95B-664F-A15D-0229B8770981}"/>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pic>
        <p:nvPicPr>
          <p:cNvPr id="13" name="Graphic 12">
            <a:extLst>
              <a:ext uri="{FF2B5EF4-FFF2-40B4-BE49-F238E27FC236}">
                <a16:creationId xmlns:a16="http://schemas.microsoft.com/office/drawing/2014/main" id="{1BA474F9-B22C-C040-A8F5-54032CC0E97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6803" y="341762"/>
            <a:ext cx="1623974" cy="338328"/>
          </a:xfrm>
          <a:prstGeom prst="rect">
            <a:avLst/>
          </a:prstGeom>
        </p:spPr>
      </p:pic>
      <p:sp>
        <p:nvSpPr>
          <p:cNvPr id="14" name="Text Placeholder 3">
            <a:extLst>
              <a:ext uri="{FF2B5EF4-FFF2-40B4-BE49-F238E27FC236}">
                <a16:creationId xmlns:a16="http://schemas.microsoft.com/office/drawing/2014/main" id="{BE2A3662-8B11-554F-91F3-6F854BB72FA3}"/>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5" name="Rectangle 14">
            <a:extLst>
              <a:ext uri="{FF2B5EF4-FFF2-40B4-BE49-F238E27FC236}">
                <a16:creationId xmlns:a16="http://schemas.microsoft.com/office/drawing/2014/main" id="{147B2DAB-CB78-D146-B818-52855D95EA0D}"/>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pic>
        <p:nvPicPr>
          <p:cNvPr id="9" name="Picture 8"/>
          <p:cNvPicPr>
            <a:picLocks noChangeAspect="1"/>
          </p:cNvPicPr>
          <p:nvPr userDrawn="1"/>
        </p:nvPicPr>
        <p:blipFill>
          <a:blip r:embed="rId8"/>
          <a:stretch>
            <a:fillRect/>
          </a:stretch>
        </p:blipFill>
        <p:spPr>
          <a:xfrm>
            <a:off x="486803" y="1174876"/>
            <a:ext cx="3548512" cy="438912"/>
          </a:xfrm>
          <a:prstGeom prst="rect">
            <a:avLst/>
          </a:prstGeom>
        </p:spPr>
      </p:pic>
    </p:spTree>
    <p:extLst>
      <p:ext uri="{BB962C8B-B14F-4D97-AF65-F5344CB8AC3E}">
        <p14:creationId xmlns:p14="http://schemas.microsoft.com/office/powerpoint/2010/main" val="398557986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p:cSld name="COVERS JOINT BUSINES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52E706-1FE4-5448-BF88-BDD1A5847DF0}"/>
              </a:ext>
            </a:extLst>
          </p:cNvPr>
          <p:cNvSpPr txBox="1"/>
          <p:nvPr/>
        </p:nvSpPr>
        <p:spPr>
          <a:xfrm>
            <a:off x="374977" y="1582341"/>
            <a:ext cx="10345781" cy="369331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Covers for a</a:t>
            </a:r>
          </a:p>
          <a:p>
            <a:pPr algn="l"/>
            <a:r>
              <a:rPr lang="en-US" sz="12000" b="1" i="0" dirty="0">
                <a:solidFill>
                  <a:schemeClr val="bg1"/>
                </a:solidFill>
                <a:latin typeface="Arial" panose="020B0604020202020204" pitchFamily="34" charset="0"/>
                <a:cs typeface="Arial" panose="020B0604020202020204" pitchFamily="34" charset="0"/>
              </a:rPr>
              <a:t>joint business</a:t>
            </a:r>
          </a:p>
        </p:txBody>
      </p:sp>
    </p:spTree>
    <p:extLst>
      <p:ext uri="{BB962C8B-B14F-4D97-AF65-F5344CB8AC3E}">
        <p14:creationId xmlns:p14="http://schemas.microsoft.com/office/powerpoint/2010/main" val="26156571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x">
  <p:cSld name="Title slide A: image light box">
    <p:bg>
      <p:bgPr>
        <a:solidFill>
          <a:srgbClr val="76D3FF"/>
        </a:solidFill>
        <a:effectLst/>
      </p:bgPr>
    </p:bg>
    <p:spTree>
      <p:nvGrpSpPr>
        <p:cNvPr id="1" name=""/>
        <p:cNvGrpSpPr/>
        <p:nvPr/>
      </p:nvGrpSpPr>
      <p:grpSpPr>
        <a:xfrm>
          <a:off x="0" y="0"/>
          <a:ext cx="0" cy="0"/>
          <a:chOff x="0" y="0"/>
          <a:chExt cx="0" cy="0"/>
        </a:xfrm>
      </p:grpSpPr>
      <p:sp>
        <p:nvSpPr>
          <p:cNvPr id="281" name="Shape 281"/>
          <p:cNvSpPr/>
          <p:nvPr/>
        </p:nvSpPr>
        <p:spPr>
          <a:xfrm>
            <a:off x="355599" y="6121400"/>
            <a:ext cx="2032001" cy="495300"/>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pic>
        <p:nvPicPr>
          <p:cNvPr id="282" name="image2.png"/>
          <p:cNvPicPr>
            <a:picLocks noChangeAspect="1"/>
          </p:cNvPicPr>
          <p:nvPr/>
        </p:nvPicPr>
        <p:blipFill>
          <a:blip r:embed="rId2"/>
          <a:stretch>
            <a:fillRect/>
          </a:stretch>
        </p:blipFill>
        <p:spPr>
          <a:xfrm>
            <a:off x="486802" y="341761"/>
            <a:ext cx="1623976" cy="338329"/>
          </a:xfrm>
          <a:prstGeom prst="rect">
            <a:avLst/>
          </a:prstGeom>
          <a:ln w="12700">
            <a:miter lim="400000"/>
          </a:ln>
        </p:spPr>
      </p:pic>
      <p:sp>
        <p:nvSpPr>
          <p:cNvPr id="283" name="Shape 283"/>
          <p:cNvSpPr>
            <a:spLocks noGrp="1"/>
          </p:cNvSpPr>
          <p:nvPr>
            <p:ph type="pic" idx="13"/>
          </p:nvPr>
        </p:nvSpPr>
        <p:spPr>
          <a:xfrm>
            <a:off x="-2" y="-1"/>
            <a:ext cx="12192001" cy="6858001"/>
          </a:xfrm>
          <a:prstGeom prst="rect">
            <a:avLst/>
          </a:prstGeom>
        </p:spPr>
        <p:txBody>
          <a:bodyPr lIns="91439" tIns="45719" rIns="91439" bIns="45719"/>
          <a:lstStyle/>
          <a:p>
            <a:endParaRPr/>
          </a:p>
        </p:txBody>
      </p:sp>
      <p:sp>
        <p:nvSpPr>
          <p:cNvPr id="284" name="Shape 284"/>
          <p:cNvSpPr>
            <a:spLocks noGrp="1"/>
          </p:cNvSpPr>
          <p:nvPr>
            <p:ph type="pic" sz="quarter" idx="14"/>
          </p:nvPr>
        </p:nvSpPr>
        <p:spPr>
          <a:xfrm>
            <a:off x="8133618" y="361950"/>
            <a:ext cx="3575783" cy="495301"/>
          </a:xfrm>
          <a:prstGeom prst="rect">
            <a:avLst/>
          </a:prstGeom>
        </p:spPr>
        <p:txBody>
          <a:bodyPr lIns="91439" tIns="45719" rIns="91439" bIns="45719"/>
          <a:lstStyle/>
          <a:p>
            <a:endParaRPr/>
          </a:p>
        </p:txBody>
      </p:sp>
      <p:sp>
        <p:nvSpPr>
          <p:cNvPr id="285" name="Shape 285"/>
          <p:cNvSpPr>
            <a:spLocks noGrp="1"/>
          </p:cNvSpPr>
          <p:nvPr>
            <p:ph type="body" sz="quarter" idx="15"/>
          </p:nvPr>
        </p:nvSpPr>
        <p:spPr>
          <a:xfrm>
            <a:off x="485775" y="4429126"/>
            <a:ext cx="6448425" cy="1038526"/>
          </a:xfrm>
          <a:prstGeom prst="rect">
            <a:avLst/>
          </a:prstGeom>
        </p:spPr>
        <p:txBody>
          <a:bodyPr anchor="b"/>
          <a:lstStyle>
            <a:lvl1pPr>
              <a:spcBef>
                <a:spcPts val="0"/>
              </a:spcBef>
              <a:defRPr sz="1400">
                <a:solidFill>
                  <a:srgbClr val="002C77"/>
                </a:solidFill>
              </a:defRPr>
            </a:lvl1pPr>
          </a:lstStyle>
          <a:p>
            <a:r>
              <a:t> </a:t>
            </a:r>
          </a:p>
        </p:txBody>
      </p:sp>
      <p:sp>
        <p:nvSpPr>
          <p:cNvPr id="286" name="Shape 286"/>
          <p:cNvSpPr>
            <a:spLocks noGrp="1"/>
          </p:cNvSpPr>
          <p:nvPr>
            <p:ph type="title"/>
          </p:nvPr>
        </p:nvSpPr>
        <p:spPr>
          <a:xfrm>
            <a:off x="448437" y="1609725"/>
            <a:ext cx="6485764" cy="1600200"/>
          </a:xfrm>
          <a:prstGeom prst="rect">
            <a:avLst/>
          </a:prstGeom>
        </p:spPr>
        <p:txBody>
          <a:bodyPr anchor="b">
            <a:normAutofit/>
          </a:bodyPr>
          <a:lstStyle>
            <a:lvl1pPr>
              <a:lnSpc>
                <a:spcPct val="90000"/>
              </a:lnSpc>
              <a:defRPr sz="4800"/>
            </a:lvl1pPr>
          </a:lstStyle>
          <a:p>
            <a:r>
              <a:t>Texto del título</a:t>
            </a:r>
          </a:p>
        </p:txBody>
      </p:sp>
      <p:sp>
        <p:nvSpPr>
          <p:cNvPr id="287" name="Shape 287"/>
          <p:cNvSpPr>
            <a:spLocks noGrp="1"/>
          </p:cNvSpPr>
          <p:nvPr>
            <p:ph type="body" sz="quarter" idx="1"/>
          </p:nvPr>
        </p:nvSpPr>
        <p:spPr>
          <a:xfrm>
            <a:off x="462026" y="3405820"/>
            <a:ext cx="6447769" cy="807914"/>
          </a:xfrm>
          <a:prstGeom prst="rect">
            <a:avLst/>
          </a:prstGeom>
        </p:spPr>
        <p:txBody>
          <a:bodyPr>
            <a:normAutofit/>
          </a:bodyPr>
          <a:lstStyle>
            <a:lvl1pPr>
              <a:defRPr sz="2400">
                <a:solidFill>
                  <a:srgbClr val="002C77"/>
                </a:solidFill>
              </a:defRPr>
            </a:lvl1pPr>
            <a:lvl2pPr marL="0" indent="457200">
              <a:buSzTx/>
              <a:buNone/>
              <a:defRPr sz="2400">
                <a:solidFill>
                  <a:srgbClr val="002C77"/>
                </a:solidFill>
              </a:defRPr>
            </a:lvl2pPr>
            <a:lvl3pPr marL="0" indent="914400">
              <a:buSzTx/>
              <a:buNone/>
              <a:defRPr sz="2400">
                <a:solidFill>
                  <a:srgbClr val="002C77"/>
                </a:solidFill>
              </a:defRPr>
            </a:lvl3pPr>
            <a:lvl4pPr marL="0" indent="1371600">
              <a:buSzTx/>
              <a:buNone/>
              <a:defRPr sz="2400">
                <a:solidFill>
                  <a:srgbClr val="002C77"/>
                </a:solidFill>
              </a:defRPr>
            </a:lvl4pPr>
            <a:lvl5pPr marL="0" indent="1828800">
              <a:buSzTx/>
              <a:buNone/>
              <a:defRPr sz="2400">
                <a:solidFill>
                  <a:srgbClr val="002C77"/>
                </a:solidFill>
              </a:defRPr>
            </a:lvl5pPr>
          </a:lstStyle>
          <a:p>
            <a:r>
              <a:t>Nivel de texto 1</a:t>
            </a:r>
          </a:p>
          <a:p>
            <a:pPr lvl="1"/>
            <a:r>
              <a:t>Nivel de texto 2</a:t>
            </a:r>
          </a:p>
          <a:p>
            <a:pPr lvl="2"/>
            <a:r>
              <a:t>Nivel de texto 3</a:t>
            </a:r>
          </a:p>
          <a:p>
            <a:pPr lvl="3"/>
            <a:r>
              <a:t>Nivel de texto 4</a:t>
            </a:r>
          </a:p>
          <a:p>
            <a:pPr lvl="4"/>
            <a:r>
              <a:t>Nivel de texto 5</a:t>
            </a:r>
          </a:p>
        </p:txBody>
      </p:sp>
      <p:sp>
        <p:nvSpPr>
          <p:cNvPr id="288" name="Shape 288"/>
          <p:cNvSpPr>
            <a:spLocks noGrp="1"/>
          </p:cNvSpPr>
          <p:nvPr>
            <p:ph type="sldNum" sz="quarter" idx="2"/>
          </p:nvPr>
        </p:nvSpPr>
        <p:spPr>
          <a:prstGeom prst="rect">
            <a:avLst/>
          </a:prstGeom>
        </p:spPr>
        <p:txBody>
          <a:bodyPr/>
          <a:lstStyle/>
          <a:p>
            <a:fld id="{86CB4B4D-7CA3-9044-876B-883B54F8677D}" type="slidenum">
              <a:t>‹Nº›</a:t>
            </a:fld>
            <a:endParaRPr/>
          </a:p>
        </p:txBody>
      </p:sp>
    </p:spTree>
  </p:cSld>
  <p:clrMapOvr>
    <a:masterClrMapping/>
  </p:clrMapOvr>
  <p:transition spd="med"/>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p:cSld name="Title slide A: stripe/log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5793"/>
            <a:ext cx="9365488" cy="1602882"/>
          </a:xfrm>
        </p:spPr>
        <p:txBody>
          <a:bodyPr vert="horz"/>
          <a:lstStyle>
            <a:lvl1pPr>
              <a:lnSpc>
                <a:spcPct val="90000"/>
              </a:lnSpc>
              <a:defRPr sz="6000" b="1" i="0" cap="none" baseline="0">
                <a:latin typeface="Arial" panose="020B0604020202020204" pitchFamily="34" charset="0"/>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60887"/>
            <a:ext cx="9310624"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8" name="Picture Placeholder 5">
            <a:extLst>
              <a:ext uri="{FF2B5EF4-FFF2-40B4-BE49-F238E27FC236}">
                <a16:creationId xmlns:a16="http://schemas.microsoft.com/office/drawing/2014/main" id="{6AA4DE2D-F68B-BB43-AF2C-40B2A7B333AD}"/>
              </a:ext>
            </a:extLst>
          </p:cNvPr>
          <p:cNvSpPr>
            <a:spLocks noGrp="1" noChangeAspect="1"/>
          </p:cNvSpPr>
          <p:nvPr>
            <p:ph type="pic" sz="quarter" idx="12" hasCustomPrompt="1"/>
          </p:nvPr>
        </p:nvSpPr>
        <p:spPr>
          <a:xfrm>
            <a:off x="2202227" y="341143"/>
            <a:ext cx="2863215" cy="342900"/>
          </a:xfrm>
          <a:noFill/>
        </p:spPr>
        <p:txBody>
          <a:bodyPr anchor="t" anchorCtr="0"/>
          <a:lstStyle>
            <a:lvl1pPr algn="l">
              <a:spcBef>
                <a:spcPts val="0"/>
              </a:spcBef>
              <a:spcAft>
                <a:spcPts val="0"/>
              </a:spcAft>
              <a:defRPr sz="1000" baseline="0">
                <a:solidFill>
                  <a:srgbClr val="FF0000"/>
                </a:solidFill>
              </a:defRPr>
            </a:lvl1pPr>
          </a:lstStyle>
          <a:p>
            <a:r>
              <a:rPr lang="en-US" dirty="0"/>
              <a:t>Placeholder for collaborator (MMC business) logo. </a:t>
            </a:r>
            <a:br>
              <a:rPr lang="en-US" dirty="0"/>
            </a:br>
            <a:r>
              <a:rPr lang="en-US" dirty="0"/>
              <a:t>Delete box if not used.</a:t>
            </a:r>
          </a:p>
        </p:txBody>
      </p:sp>
      <p:pic>
        <p:nvPicPr>
          <p:cNvPr id="11" name="Graphic 10">
            <a:extLst>
              <a:ext uri="{FF2B5EF4-FFF2-40B4-BE49-F238E27FC236}">
                <a16:creationId xmlns:a16="http://schemas.microsoft.com/office/drawing/2014/main" id="{4D8D969B-1ECE-2C44-8889-FF09503BD87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6803" y="341762"/>
            <a:ext cx="1623974" cy="338328"/>
          </a:xfrm>
          <a:prstGeom prst="rect">
            <a:avLst/>
          </a:prstGeom>
        </p:spPr>
      </p:pic>
      <p:sp>
        <p:nvSpPr>
          <p:cNvPr id="12" name="Picture Placeholder 5">
            <a:extLst>
              <a:ext uri="{FF2B5EF4-FFF2-40B4-BE49-F238E27FC236}">
                <a16:creationId xmlns:a16="http://schemas.microsoft.com/office/drawing/2014/main" id="{080A16FD-0635-534B-8EF0-AC82A24FE50A}"/>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sp>
        <p:nvSpPr>
          <p:cNvPr id="13" name="Text Placeholder 3">
            <a:extLst>
              <a:ext uri="{FF2B5EF4-FFF2-40B4-BE49-F238E27FC236}">
                <a16:creationId xmlns:a16="http://schemas.microsoft.com/office/drawing/2014/main" id="{7731C4F9-CCD2-1349-A6C5-1F63598D3F2C}"/>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779E8AEE-4750-3448-90BB-1CA12B7B33ED}"/>
              </a:ext>
            </a:extLst>
          </p:cNvPr>
          <p:cNvSpPr/>
          <p:nvPr/>
        </p:nvSpPr>
        <p:spPr>
          <a:xfrm>
            <a:off x="485775" y="6257135"/>
            <a:ext cx="1814599" cy="153888"/>
          </a:xfrm>
          <a:prstGeom prst="rect">
            <a:avLst/>
          </a:prstGeom>
        </p:spPr>
        <p:txBody>
          <a:bodyPr wrap="none" lIns="0" tIns="0" rIns="0" bIns="0">
            <a:spAutoFit/>
          </a:bodyPr>
          <a:lstStyle/>
          <a:p>
            <a:r>
              <a:rPr lang="en-US" sz="1000" dirty="0">
                <a:solidFill>
                  <a:schemeClr val="tx1"/>
                </a:solidFill>
                <a:effectLst/>
                <a:latin typeface="Arial" panose="020B0604020202020204" pitchFamily="34" charset="0"/>
              </a:rPr>
              <a:t>Businesses of Marsh McLennan</a:t>
            </a:r>
            <a:endParaRPr lang="en-US" sz="1000" dirty="0">
              <a:solidFill>
                <a:schemeClr val="tx1"/>
              </a:solidFill>
            </a:endParaRPr>
          </a:p>
        </p:txBody>
      </p:sp>
    </p:spTree>
    <p:extLst>
      <p:ext uri="{BB962C8B-B14F-4D97-AF65-F5344CB8AC3E}">
        <p14:creationId xmlns:p14="http://schemas.microsoft.com/office/powerpoint/2010/main" val="378729349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Title slide A: blue - stripe/logo">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sz="6000" b="1" i="0" cap="none" baseline="0">
                <a:solidFill>
                  <a:schemeClr val="bg1"/>
                </a:solidFill>
                <a:latin typeface="Arial" panose="020B0604020202020204" pitchFamily="34" charset="0"/>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a:p>
            <a:endParaRPr lang="en-US" dirty="0"/>
          </a:p>
        </p:txBody>
      </p:sp>
      <p:sp>
        <p:nvSpPr>
          <p:cNvPr id="10" name="Picture Placeholder 5">
            <a:extLst>
              <a:ext uri="{FF2B5EF4-FFF2-40B4-BE49-F238E27FC236}">
                <a16:creationId xmlns:a16="http://schemas.microsoft.com/office/drawing/2014/main" id="{CD55AD5D-7D50-4F42-A265-20F46833B070}"/>
              </a:ext>
            </a:extLst>
          </p:cNvPr>
          <p:cNvSpPr>
            <a:spLocks noGrp="1" noChangeAspect="1"/>
          </p:cNvSpPr>
          <p:nvPr>
            <p:ph type="pic" sz="quarter" idx="12" hasCustomPrompt="1"/>
          </p:nvPr>
        </p:nvSpPr>
        <p:spPr>
          <a:xfrm>
            <a:off x="2202227" y="341143"/>
            <a:ext cx="2863215" cy="342900"/>
          </a:xfrm>
          <a:noFill/>
        </p:spPr>
        <p:txBody>
          <a:bodyPr anchor="t" anchorCtr="0"/>
          <a:lstStyle>
            <a:lvl1pPr algn="l">
              <a:spcBef>
                <a:spcPts val="0"/>
              </a:spcBef>
              <a:spcAft>
                <a:spcPts val="0"/>
              </a:spcAft>
              <a:defRPr sz="1000">
                <a:solidFill>
                  <a:srgbClr val="FF0000"/>
                </a:solidFill>
              </a:defRPr>
            </a:lvl1pPr>
          </a:lstStyle>
          <a:p>
            <a:r>
              <a:rPr lang="en-US" dirty="0"/>
              <a:t>Placeholder for collaborator (MMC business) logo. </a:t>
            </a:r>
            <a:br>
              <a:rPr lang="en-US" dirty="0"/>
            </a:br>
            <a:r>
              <a:rPr lang="en-US" dirty="0"/>
              <a:t>Delete box if not used.</a:t>
            </a:r>
          </a:p>
        </p:txBody>
      </p:sp>
      <p:pic>
        <p:nvPicPr>
          <p:cNvPr id="11" name="Graphic 10">
            <a:extLst>
              <a:ext uri="{FF2B5EF4-FFF2-40B4-BE49-F238E27FC236}">
                <a16:creationId xmlns:a16="http://schemas.microsoft.com/office/drawing/2014/main" id="{8592E6A1-8C6D-B446-81B7-94340E3547D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047A2875-C8A1-A446-8F58-D4B2DE1E532B}"/>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sp>
        <p:nvSpPr>
          <p:cNvPr id="14" name="Text Placeholder 3">
            <a:extLst>
              <a:ext uri="{FF2B5EF4-FFF2-40B4-BE49-F238E27FC236}">
                <a16:creationId xmlns:a16="http://schemas.microsoft.com/office/drawing/2014/main" id="{2E6207F1-15CB-6546-A549-DF244E46D6F3}"/>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5" name="Rectangle 14">
            <a:extLst>
              <a:ext uri="{FF2B5EF4-FFF2-40B4-BE49-F238E27FC236}">
                <a16:creationId xmlns:a16="http://schemas.microsoft.com/office/drawing/2014/main" id="{35F05B11-D474-A04D-8E61-5AEFD7224969}"/>
              </a:ext>
            </a:extLst>
          </p:cNvPr>
          <p:cNvSpPr/>
          <p:nvPr/>
        </p:nvSpPr>
        <p:spPr>
          <a:xfrm>
            <a:off x="485775" y="6257135"/>
            <a:ext cx="1814599"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Businesses of Marsh McLennan</a:t>
            </a:r>
            <a:endParaRPr lang="en-US" sz="1000" dirty="0">
              <a:solidFill>
                <a:schemeClr val="bg1"/>
              </a:solidFill>
            </a:endParaRPr>
          </a:p>
        </p:txBody>
      </p:sp>
    </p:spTree>
    <p:extLst>
      <p:ext uri="{BB962C8B-B14F-4D97-AF65-F5344CB8AC3E}">
        <p14:creationId xmlns:p14="http://schemas.microsoft.com/office/powerpoint/2010/main" val="388083866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p:cSld name="AGENDA + CONTENT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5064E14D-7EB8-984D-B09A-CDFF8DFEAAB9}"/>
              </a:ext>
            </a:extLst>
          </p:cNvPr>
          <p:cNvSpPr txBox="1"/>
          <p:nvPr/>
        </p:nvSpPr>
        <p:spPr>
          <a:xfrm>
            <a:off x="374977" y="1582341"/>
            <a:ext cx="7824258" cy="369331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Agendas +</a:t>
            </a:r>
          </a:p>
          <a:p>
            <a:pPr algn="l"/>
            <a:r>
              <a:rPr lang="en-US" sz="12000" b="1" i="0" dirty="0">
                <a:solidFill>
                  <a:schemeClr val="bg1"/>
                </a:solidFill>
                <a:latin typeface="Arial" panose="020B0604020202020204" pitchFamily="34" charset="0"/>
                <a:cs typeface="Arial" panose="020B0604020202020204" pitchFamily="34" charset="0"/>
              </a:rPr>
              <a:t>Contents</a:t>
            </a:r>
          </a:p>
        </p:txBody>
      </p:sp>
    </p:spTree>
    <p:extLst>
      <p:ext uri="{BB962C8B-B14F-4D97-AF65-F5344CB8AC3E}">
        <p14:creationId xmlns:p14="http://schemas.microsoft.com/office/powerpoint/2010/main" val="223162568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1950"/>
            <a:ext cx="5495925" cy="5759450"/>
          </a:xfrm>
        </p:spPr>
        <p:txBody>
          <a:bodyPr/>
          <a:lstStyle>
            <a:lvl1pPr marL="233363" indent="-233363">
              <a:lnSpc>
                <a:spcPct val="90000"/>
              </a:lnSpc>
              <a:spcBef>
                <a:spcPts val="600"/>
              </a:spcBef>
              <a:buFont typeface="+mj-lt"/>
              <a:buAutoNum type="arabicPeriod"/>
              <a:tabLst/>
              <a:defRPr/>
            </a:lvl1pPr>
            <a:lvl2pPr marL="461963" indent="-230188">
              <a:buFont typeface="Arial" panose="020B0604020202020204" pitchFamily="34" charset="0"/>
              <a:buChar char="•"/>
              <a:defRPr baseline="0"/>
            </a:lvl2pPr>
            <a:lvl3pPr marL="685800" indent="-228600">
              <a:defRPr baseline="0"/>
            </a:lvl3pPr>
            <a:lvl4pPr marL="914400" indent="-228600">
              <a:defRPr baseline="0"/>
            </a:lvl4pPr>
            <a:lvl5pPr marL="1143000" indent="-228600">
              <a:defRPr baseline="0"/>
            </a:lvl5pPr>
            <a:lvl6pPr marL="1371600" indent="-227013">
              <a:defRPr baseline="0"/>
            </a:lvl6pPr>
            <a:lvl7pPr marL="1600200" indent="-228600">
              <a:defRPr baseline="0"/>
            </a:lvl7pPr>
            <a:lvl8pPr marL="1828800" indent="-227013">
              <a:defRPr/>
            </a:lvl8pPr>
            <a:lvl9pPr marL="1828800" indent="0">
              <a:buFont typeface="Arial" panose="020B0604020202020204" pitchFamily="34" charset="0"/>
              <a:buNone/>
              <a:defRPr baseline="0"/>
            </a:lvl9pPr>
          </a:lstStyle>
          <a:p>
            <a:pPr lvl="0"/>
            <a:r>
              <a:rPr lang="en-US" dirty="0"/>
              <a:t>Click to add topic</a:t>
            </a:r>
          </a:p>
        </p:txBody>
      </p:sp>
      <p:sp>
        <p:nvSpPr>
          <p:cNvPr id="7"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85775" y="4901386"/>
            <a:ext cx="11223626" cy="1846659"/>
          </a:xfrm>
        </p:spPr>
        <p:txBody>
          <a:bodyPr vert="horz" wrap="square">
            <a:spAutoFit/>
          </a:bodyPr>
          <a:lstStyle>
            <a:lvl1pPr algn="r">
              <a:lnSpc>
                <a:spcPct val="100000"/>
              </a:lnSpc>
              <a:defRPr sz="12000"/>
            </a:lvl1pPr>
          </a:lstStyle>
          <a:p>
            <a:r>
              <a:rPr lang="en-US" dirty="0"/>
              <a:t>Add title</a:t>
            </a:r>
          </a:p>
        </p:txBody>
      </p:sp>
    </p:spTree>
    <p:extLst>
      <p:ext uri="{BB962C8B-B14F-4D97-AF65-F5344CB8AC3E}">
        <p14:creationId xmlns:p14="http://schemas.microsoft.com/office/powerpoint/2010/main" val="136136700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Agenda: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1950"/>
            <a:ext cx="5495925" cy="5759450"/>
          </a:xfrm>
        </p:spPr>
        <p:txBody>
          <a:bodyPr/>
          <a:lstStyle>
            <a:lvl1pPr marL="233363" indent="-233363">
              <a:lnSpc>
                <a:spcPct val="90000"/>
              </a:lnSpc>
              <a:spcBef>
                <a:spcPts val="600"/>
              </a:spcBef>
              <a:buFont typeface="+mj-lt"/>
              <a:buAutoNum type="arabicPeriod"/>
              <a:tabLst/>
              <a:defRPr>
                <a:solidFill>
                  <a:schemeClr val="bg1"/>
                </a:solidFill>
              </a:defRPr>
            </a:lvl1pPr>
            <a:lvl2pPr marL="512763" indent="-285750">
              <a:buFont typeface="Arial" panose="020B0604020202020204" pitchFamily="34" charset="0"/>
              <a:buChar char="•"/>
              <a:defRPr>
                <a:solidFill>
                  <a:schemeClr val="bg1"/>
                </a:solidFill>
              </a:defRPr>
            </a:lvl2pPr>
            <a:lvl3pPr marL="685800" indent="-228600">
              <a:defRPr>
                <a:solidFill>
                  <a:schemeClr val="bg1"/>
                </a:solidFill>
              </a:defRPr>
            </a:lvl3pPr>
            <a:lvl4pPr marL="914400" indent="-228600">
              <a:defRPr>
                <a:solidFill>
                  <a:schemeClr val="bg1"/>
                </a:solidFill>
              </a:defRPr>
            </a:lvl4pPr>
            <a:lvl5pPr marL="1143000" indent="-228600">
              <a:defRPr baseline="0">
                <a:solidFill>
                  <a:schemeClr val="bg1"/>
                </a:solidFill>
              </a:defRPr>
            </a:lvl5pPr>
            <a:lvl6pPr marL="1371600" indent="-227013">
              <a:defRPr baseline="0">
                <a:solidFill>
                  <a:schemeClr val="bg1"/>
                </a:solidFill>
              </a:defRPr>
            </a:lvl6pPr>
            <a:lvl7pPr marL="1600200" indent="-228600">
              <a:defRPr baseline="0">
                <a:solidFill>
                  <a:schemeClr val="bg1"/>
                </a:solidFill>
              </a:defRPr>
            </a:lvl7pPr>
            <a:lvl8pPr marL="1828800" indent="-227013">
              <a:defRPr baseline="0">
                <a:solidFill>
                  <a:schemeClr val="bg1"/>
                </a:solidFill>
              </a:defRPr>
            </a:lvl8pPr>
            <a:lvl9pPr marL="2057400" indent="-219075">
              <a:defRPr baseline="0">
                <a:solidFill>
                  <a:schemeClr val="bg1"/>
                </a:solidFill>
              </a:defRPr>
            </a:lvl9pPr>
          </a:lstStyle>
          <a:p>
            <a:pPr lvl="0"/>
            <a:r>
              <a:rPr lang="en-US" dirty="0"/>
              <a:t>Click to add topic</a:t>
            </a:r>
          </a:p>
        </p:txBody>
      </p:sp>
      <p:sp>
        <p:nvSpPr>
          <p:cNvPr id="7"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85775" y="4901386"/>
            <a:ext cx="11223626" cy="1846659"/>
          </a:xfrm>
        </p:spPr>
        <p:txBody>
          <a:bodyPr vert="horz" wrap="square">
            <a:spAutoFit/>
          </a:bodyPr>
          <a:lstStyle>
            <a:lvl1pPr algn="r">
              <a:lnSpc>
                <a:spcPct val="100000"/>
              </a:lnSpc>
              <a:defRPr sz="12000">
                <a:solidFill>
                  <a:schemeClr val="bg1"/>
                </a:solidFill>
              </a:defRPr>
            </a:lvl1pPr>
          </a:lstStyle>
          <a:p>
            <a:r>
              <a:rPr lang="en-US" dirty="0"/>
              <a:t>Add title</a:t>
            </a:r>
          </a:p>
        </p:txBody>
      </p:sp>
    </p:spTree>
    <p:extLst>
      <p:ext uri="{BB962C8B-B14F-4D97-AF65-F5344CB8AC3E}">
        <p14:creationId xmlns:p14="http://schemas.microsoft.com/office/powerpoint/2010/main" val="3919106572"/>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p:cSld name="DIVID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5064E14D-7EB8-984D-B09A-CDFF8DFEAAB9}"/>
              </a:ext>
            </a:extLst>
          </p:cNvPr>
          <p:cNvSpPr txBox="1"/>
          <p:nvPr/>
        </p:nvSpPr>
        <p:spPr>
          <a:xfrm>
            <a:off x="374977" y="2505671"/>
            <a:ext cx="6073779" cy="184665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Dividers</a:t>
            </a:r>
          </a:p>
        </p:txBody>
      </p:sp>
    </p:spTree>
    <p:extLst>
      <p:ext uri="{BB962C8B-B14F-4D97-AF65-F5344CB8AC3E}">
        <p14:creationId xmlns:p14="http://schemas.microsoft.com/office/powerpoint/2010/main" val="272064141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1"/>
          <p:cNvSpPr>
            <a:spLocks noGrp="1"/>
          </p:cNvSpPr>
          <p:nvPr>
            <p:ph type="title" hasCustomPrompt="1"/>
          </p:nvPr>
        </p:nvSpPr>
        <p:spPr>
          <a:xfrm>
            <a:off x="482600" y="265694"/>
            <a:ext cx="8356600" cy="5855705"/>
          </a:xfrm>
        </p:spPr>
        <p:txBody>
          <a:bodyPr/>
          <a:lstStyle>
            <a:lvl1pPr>
              <a:lnSpc>
                <a:spcPct val="90000"/>
              </a:lnSpc>
              <a:defRPr sz="5400"/>
            </a:lvl1pPr>
          </a:lstStyle>
          <a:p>
            <a:pPr lvl="0"/>
            <a:r>
              <a:rPr lang="en-US" dirty="0"/>
              <a:t>This slide is for </a:t>
            </a:r>
            <a:br>
              <a:rPr lang="en-US" dirty="0"/>
            </a:br>
            <a:r>
              <a:rPr lang="en-US" dirty="0"/>
              <a:t>divider, statement </a:t>
            </a:r>
            <a:br>
              <a:rPr lang="en-US" dirty="0"/>
            </a:br>
            <a:r>
              <a:rPr lang="en-US" dirty="0"/>
              <a:t>or takeaway.</a:t>
            </a:r>
          </a:p>
        </p:txBody>
      </p:sp>
    </p:spTree>
    <p:extLst>
      <p:ext uri="{BB962C8B-B14F-4D97-AF65-F5344CB8AC3E}">
        <p14:creationId xmlns:p14="http://schemas.microsoft.com/office/powerpoint/2010/main" val="221628852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1"/>
          <p:cNvSpPr>
            <a:spLocks noGrp="1"/>
          </p:cNvSpPr>
          <p:nvPr>
            <p:ph type="title" hasCustomPrompt="1"/>
          </p:nvPr>
        </p:nvSpPr>
        <p:spPr>
          <a:xfrm>
            <a:off x="482600" y="265694"/>
            <a:ext cx="8356600" cy="5855705"/>
          </a:xfrm>
        </p:spPr>
        <p:txBody>
          <a:bodyPr/>
          <a:lstStyle>
            <a:lvl1pPr>
              <a:lnSpc>
                <a:spcPct val="90000"/>
              </a:lnSpc>
              <a:defRPr sz="5400">
                <a:solidFill>
                  <a:schemeClr val="bg1"/>
                </a:solidFill>
              </a:defRPr>
            </a:lvl1pPr>
          </a:lstStyle>
          <a:p>
            <a:pPr lvl="0"/>
            <a:r>
              <a:rPr lang="en-US" dirty="0"/>
              <a:t>This slide is for </a:t>
            </a:r>
            <a:br>
              <a:rPr lang="en-US" dirty="0"/>
            </a:br>
            <a:r>
              <a:rPr lang="en-US" dirty="0"/>
              <a:t>divider, statement </a:t>
            </a:r>
            <a:br>
              <a:rPr lang="en-US" dirty="0"/>
            </a:br>
            <a:r>
              <a:rPr lang="en-US" dirty="0"/>
              <a:t>or takeaway.</a:t>
            </a:r>
          </a:p>
        </p:txBody>
      </p:sp>
    </p:spTree>
    <p:extLst>
      <p:ext uri="{BB962C8B-B14F-4D97-AF65-F5344CB8AC3E}">
        <p14:creationId xmlns:p14="http://schemas.microsoft.com/office/powerpoint/2010/main" val="263618435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Divider: gradient teal">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Title 1"/>
          <p:cNvSpPr>
            <a:spLocks noGrp="1"/>
          </p:cNvSpPr>
          <p:nvPr>
            <p:ph type="title" hasCustomPrompt="1"/>
          </p:nvPr>
        </p:nvSpPr>
        <p:spPr>
          <a:xfrm>
            <a:off x="482600" y="265694"/>
            <a:ext cx="8356600" cy="5855705"/>
          </a:xfrm>
        </p:spPr>
        <p:txBody>
          <a:bodyPr/>
          <a:lstStyle>
            <a:lvl1pPr>
              <a:lnSpc>
                <a:spcPct val="90000"/>
              </a:lnSpc>
              <a:defRPr sz="5400">
                <a:solidFill>
                  <a:schemeClr val="bg1"/>
                </a:solidFill>
              </a:defRPr>
            </a:lvl1pPr>
          </a:lstStyle>
          <a:p>
            <a:pPr lvl="0"/>
            <a:r>
              <a:rPr lang="en-US" dirty="0"/>
              <a:t>This slide is for </a:t>
            </a:r>
            <a:br>
              <a:rPr lang="en-US" dirty="0"/>
            </a:br>
            <a:r>
              <a:rPr lang="en-US" dirty="0"/>
              <a:t>divider, statement </a:t>
            </a:r>
            <a:br>
              <a:rPr lang="en-US" dirty="0"/>
            </a:br>
            <a:r>
              <a:rPr lang="en-US" dirty="0"/>
              <a:t>or takeaway.</a:t>
            </a:r>
          </a:p>
        </p:txBody>
      </p:sp>
    </p:spTree>
    <p:extLst>
      <p:ext uri="{BB962C8B-B14F-4D97-AF65-F5344CB8AC3E}">
        <p14:creationId xmlns:p14="http://schemas.microsoft.com/office/powerpoint/2010/main" val="77305414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p:cSld name="BIOS + PRESENT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54EA0D7-47B3-5149-B51A-CABC5742FBE7}"/>
              </a:ext>
            </a:extLst>
          </p:cNvPr>
          <p:cNvSpPr txBox="1"/>
          <p:nvPr/>
        </p:nvSpPr>
        <p:spPr>
          <a:xfrm>
            <a:off x="374977" y="1582341"/>
            <a:ext cx="7870744" cy="369331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Bios</a:t>
            </a:r>
            <a:r>
              <a:rPr lang="en-US" sz="12000" b="1" i="0" baseline="0" dirty="0">
                <a:solidFill>
                  <a:schemeClr val="bg1"/>
                </a:solidFill>
                <a:latin typeface="Arial" panose="020B0604020202020204" pitchFamily="34" charset="0"/>
                <a:cs typeface="Arial" panose="020B0604020202020204" pitchFamily="34" charset="0"/>
              </a:rPr>
              <a:t> + </a:t>
            </a:r>
          </a:p>
          <a:p>
            <a:pPr algn="l"/>
            <a:r>
              <a:rPr lang="en-US" sz="12000" b="1" i="0" baseline="0" dirty="0">
                <a:solidFill>
                  <a:schemeClr val="bg1"/>
                </a:solidFill>
                <a:latin typeface="Arial" panose="020B0604020202020204" pitchFamily="34" charset="0"/>
                <a:cs typeface="Arial" panose="020B0604020202020204" pitchFamily="34" charset="0"/>
              </a:rPr>
              <a:t>presenter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929790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x">
  <p:cSld name="Title slide A">
    <p:bg>
      <p:bgPr>
        <a:solidFill>
          <a:srgbClr val="FFFFFF"/>
        </a:solidFill>
        <a:effectLst/>
      </p:bgPr>
    </p:bg>
    <p:spTree>
      <p:nvGrpSpPr>
        <p:cNvPr id="1" name=""/>
        <p:cNvGrpSpPr/>
        <p:nvPr/>
      </p:nvGrpSpPr>
      <p:grpSpPr>
        <a:xfrm>
          <a:off x="0" y="0"/>
          <a:ext cx="0" cy="0"/>
          <a:chOff x="0" y="0"/>
          <a:chExt cx="0" cy="0"/>
        </a:xfrm>
      </p:grpSpPr>
      <p:pic>
        <p:nvPicPr>
          <p:cNvPr id="295" name="image2.png"/>
          <p:cNvPicPr>
            <a:picLocks noChangeAspect="1"/>
          </p:cNvPicPr>
          <p:nvPr/>
        </p:nvPicPr>
        <p:blipFill>
          <a:blip r:embed="rId2"/>
          <a:stretch>
            <a:fillRect/>
          </a:stretch>
        </p:blipFill>
        <p:spPr>
          <a:xfrm>
            <a:off x="486802" y="341761"/>
            <a:ext cx="1623976" cy="338329"/>
          </a:xfrm>
          <a:prstGeom prst="rect">
            <a:avLst/>
          </a:prstGeom>
          <a:ln w="12700">
            <a:miter lim="400000"/>
          </a:ln>
        </p:spPr>
      </p:pic>
      <p:sp>
        <p:nvSpPr>
          <p:cNvPr id="296" name="Shape 296"/>
          <p:cNvSpPr/>
          <p:nvPr/>
        </p:nvSpPr>
        <p:spPr>
          <a:xfrm>
            <a:off x="485774" y="6257135"/>
            <a:ext cx="1784624" cy="1397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lvl1pPr>
              <a:defRPr sz="1000"/>
            </a:lvl1pPr>
          </a:lstStyle>
          <a:p>
            <a:r>
              <a:t>A business of Marsh McLennan</a:t>
            </a:r>
          </a:p>
        </p:txBody>
      </p:sp>
      <p:sp>
        <p:nvSpPr>
          <p:cNvPr id="297" name="Shape 297"/>
          <p:cNvSpPr>
            <a:spLocks noGrp="1"/>
          </p:cNvSpPr>
          <p:nvPr>
            <p:ph type="body" sz="quarter" idx="13"/>
          </p:nvPr>
        </p:nvSpPr>
        <p:spPr>
          <a:xfrm>
            <a:off x="485775" y="4870889"/>
            <a:ext cx="7400925" cy="1038526"/>
          </a:xfrm>
          <a:prstGeom prst="rect">
            <a:avLst/>
          </a:prstGeom>
        </p:spPr>
        <p:txBody>
          <a:bodyPr anchor="b"/>
          <a:lstStyle>
            <a:lvl1pPr>
              <a:spcBef>
                <a:spcPts val="0"/>
              </a:spcBef>
              <a:defRPr sz="1400"/>
            </a:lvl1pPr>
          </a:lstStyle>
          <a:p>
            <a:r>
              <a:t> </a:t>
            </a:r>
          </a:p>
        </p:txBody>
      </p:sp>
      <p:sp>
        <p:nvSpPr>
          <p:cNvPr id="298" name="Shape 298"/>
          <p:cNvSpPr>
            <a:spLocks noGrp="1"/>
          </p:cNvSpPr>
          <p:nvPr>
            <p:ph type="pic" sz="quarter" idx="14"/>
          </p:nvPr>
        </p:nvSpPr>
        <p:spPr>
          <a:xfrm>
            <a:off x="8133618" y="361950"/>
            <a:ext cx="3575783" cy="495301"/>
          </a:xfrm>
          <a:prstGeom prst="rect">
            <a:avLst/>
          </a:prstGeom>
        </p:spPr>
        <p:txBody>
          <a:bodyPr lIns="91439" tIns="45719" rIns="91439" bIns="45719"/>
          <a:lstStyle/>
          <a:p>
            <a:endParaRPr/>
          </a:p>
        </p:txBody>
      </p:sp>
      <p:sp>
        <p:nvSpPr>
          <p:cNvPr id="299" name="Shape 299"/>
          <p:cNvSpPr>
            <a:spLocks noGrp="1"/>
          </p:cNvSpPr>
          <p:nvPr>
            <p:ph type="title"/>
          </p:nvPr>
        </p:nvSpPr>
        <p:spPr>
          <a:xfrm>
            <a:off x="448437" y="1765792"/>
            <a:ext cx="9365489" cy="1602883"/>
          </a:xfrm>
          <a:prstGeom prst="rect">
            <a:avLst/>
          </a:prstGeom>
        </p:spPr>
        <p:txBody>
          <a:bodyPr>
            <a:normAutofit/>
          </a:bodyPr>
          <a:lstStyle>
            <a:lvl1pPr>
              <a:lnSpc>
                <a:spcPct val="90000"/>
              </a:lnSpc>
              <a:defRPr sz="6000"/>
            </a:lvl1pPr>
          </a:lstStyle>
          <a:p>
            <a:r>
              <a:t>Texto del título</a:t>
            </a:r>
          </a:p>
        </p:txBody>
      </p:sp>
      <p:sp>
        <p:nvSpPr>
          <p:cNvPr id="300" name="Shape 300"/>
          <p:cNvSpPr>
            <a:spLocks noGrp="1"/>
          </p:cNvSpPr>
          <p:nvPr>
            <p:ph type="body" sz="quarter" idx="1"/>
          </p:nvPr>
        </p:nvSpPr>
        <p:spPr>
          <a:xfrm>
            <a:off x="462026" y="3560886"/>
            <a:ext cx="9310624" cy="807914"/>
          </a:xfrm>
          <a:prstGeom prst="rect">
            <a:avLst/>
          </a:prstGeom>
        </p:spPr>
        <p:txBody>
          <a:bodyPr>
            <a:normAutofit/>
          </a:bodyPr>
          <a:lstStyle>
            <a:lvl1pPr>
              <a:defRPr sz="2400">
                <a:solidFill>
                  <a:srgbClr val="002C77"/>
                </a:solidFill>
              </a:defRPr>
            </a:lvl1pPr>
            <a:lvl2pPr marL="0" indent="457200">
              <a:buSzTx/>
              <a:buNone/>
              <a:defRPr sz="2400">
                <a:solidFill>
                  <a:srgbClr val="002C77"/>
                </a:solidFill>
              </a:defRPr>
            </a:lvl2pPr>
            <a:lvl3pPr marL="0" indent="914400">
              <a:buSzTx/>
              <a:buNone/>
              <a:defRPr sz="2400">
                <a:solidFill>
                  <a:srgbClr val="002C77"/>
                </a:solidFill>
              </a:defRPr>
            </a:lvl3pPr>
            <a:lvl4pPr marL="0" indent="1371600">
              <a:buSzTx/>
              <a:buNone/>
              <a:defRPr sz="2400">
                <a:solidFill>
                  <a:srgbClr val="002C77"/>
                </a:solidFill>
              </a:defRPr>
            </a:lvl4pPr>
            <a:lvl5pPr marL="0" indent="1828800">
              <a:buSzTx/>
              <a:buNone/>
              <a:defRPr sz="2400">
                <a:solidFill>
                  <a:srgbClr val="002C77"/>
                </a:solidFill>
              </a:defRPr>
            </a:lvl5pPr>
          </a:lstStyle>
          <a:p>
            <a:r>
              <a:t>Nivel de texto 1</a:t>
            </a:r>
          </a:p>
          <a:p>
            <a:pPr lvl="1"/>
            <a:r>
              <a:t>Nivel de texto 2</a:t>
            </a:r>
          </a:p>
          <a:p>
            <a:pPr lvl="2"/>
            <a:r>
              <a:t>Nivel de texto 3</a:t>
            </a:r>
          </a:p>
          <a:p>
            <a:pPr lvl="3"/>
            <a:r>
              <a:t>Nivel de texto 4</a:t>
            </a:r>
          </a:p>
          <a:p>
            <a:pPr lvl="4"/>
            <a:r>
              <a:t>Nivel de texto 5</a:t>
            </a:r>
          </a:p>
        </p:txBody>
      </p:sp>
      <p:sp>
        <p:nvSpPr>
          <p:cNvPr id="301" name="Shape 301"/>
          <p:cNvSpPr>
            <a:spLocks noGrp="1"/>
          </p:cNvSpPr>
          <p:nvPr>
            <p:ph type="sldNum" sz="quarter" idx="2"/>
          </p:nvPr>
        </p:nvSpPr>
        <p:spPr>
          <a:prstGeom prst="rect">
            <a:avLst/>
          </a:prstGeom>
        </p:spPr>
        <p:txBody>
          <a:bodyPr/>
          <a:lstStyle/>
          <a:p>
            <a:fld id="{86CB4B4D-7CA3-9044-876B-883B54F8677D}" type="slidenum">
              <a:t>‹Nº›</a:t>
            </a:fld>
            <a:endParaRPr/>
          </a:p>
        </p:txBody>
      </p:sp>
    </p:spTree>
  </p:cSld>
  <p:clrMapOvr>
    <a:masterClrMapping/>
  </p:clrMapOvr>
  <p:transition spd="med"/>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1 Squar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3578224" cy="3578224"/>
          </a:xfrm>
          <a:prstGeom prst="rect">
            <a:avLst/>
          </a:prstGeom>
          <a:solidFill>
            <a:srgbClr val="F0F0F0"/>
          </a:solidFill>
        </p:spPr>
        <p:txBody>
          <a:bodyPr/>
          <a:lstStyle>
            <a:lvl1pPr algn="l">
              <a:defRPr sz="1200" baseline="0">
                <a:solidFill>
                  <a:srgbClr val="FF0000"/>
                </a:solidFill>
              </a:defRPr>
            </a:lvl1pPr>
          </a:lstStyle>
          <a:p>
            <a:r>
              <a:rPr lang="en-US" dirty="0"/>
              <a:t>Click icon to add picture. Use “Crop” feature on “Format” tab to resize or reposition picture once added. Reset slide layout if needed.</a:t>
            </a:r>
          </a:p>
        </p:txBody>
      </p:sp>
      <p:sp>
        <p:nvSpPr>
          <p:cNvPr id="11" name="Subtitle 2">
            <a:extLst>
              <a:ext uri="{FF2B5EF4-FFF2-40B4-BE49-F238E27FC236}">
                <a16:creationId xmlns:a16="http://schemas.microsoft.com/office/drawing/2014/main" id="{8FB48F80-0958-024B-9A43-F726B5006EF6}"/>
              </a:ext>
            </a:extLst>
          </p:cNvPr>
          <p:cNvSpPr>
            <a:spLocks noGrp="1"/>
          </p:cNvSpPr>
          <p:nvPr>
            <p:ph type="subTitle" idx="1" hasCustomPrompt="1"/>
          </p:nvPr>
        </p:nvSpPr>
        <p:spPr>
          <a:xfrm>
            <a:off x="4312994" y="1557463"/>
            <a:ext cx="7396407" cy="318476"/>
          </a:xfrm>
        </p:spPr>
        <p:txBody>
          <a:bodyPr anchor="t"/>
          <a:lstStyle>
            <a:lvl1pPr marL="0" indent="0" algn="l">
              <a:spcBef>
                <a:spcPts val="0"/>
              </a:spcBef>
              <a:spcAft>
                <a:spcPts val="0"/>
              </a:spcAft>
              <a:buNone/>
              <a:defRPr sz="18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4312994" y="2308118"/>
            <a:ext cx="7396406" cy="3813282"/>
          </a:xfrm>
        </p:spPr>
        <p:txBody>
          <a:bodyPr/>
          <a:lstStyle>
            <a:lvl1pPr>
              <a:defRPr sz="1500"/>
            </a:lvl1pPr>
            <a:lvl2pPr>
              <a:spcBef>
                <a:spcPts val="600"/>
              </a:spcBef>
              <a:defRPr sz="1500"/>
            </a:lvl2pPr>
            <a:lvl3pPr>
              <a:defRPr sz="1500"/>
            </a:lvl3pPr>
            <a:lvl4pPr>
              <a:defRPr sz="1500"/>
            </a:lvl4pPr>
            <a:lvl5pPr>
              <a:defRPr sz="1500"/>
            </a:lvl5pPr>
            <a:lvl6pPr>
              <a:defRPr/>
            </a:lvl6pPr>
            <a:lvl7pPr>
              <a:defRPr/>
            </a:lvl7pPr>
            <a:lvl8pPr>
              <a:defRPr/>
            </a:lvl8pPr>
          </a:lstStyle>
          <a:p>
            <a:pPr lvl="0"/>
            <a:r>
              <a:rPr lang="es-ES"/>
              <a:t>Editar el estilo de texto del patrón</a:t>
            </a:r>
          </a:p>
          <a:p>
            <a:pPr lvl="1"/>
            <a:r>
              <a:rPr lang="es-ES"/>
              <a:t>Segundo nivel</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4312995" y="1875118"/>
            <a:ext cx="7396406"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9" name="Title 1">
            <a:extLst>
              <a:ext uri="{FF2B5EF4-FFF2-40B4-BE49-F238E27FC236}">
                <a16:creationId xmlns:a16="http://schemas.microsoft.com/office/drawing/2014/main" id="{07528AAB-5505-3B4E-8BF6-F6444612DEDF}"/>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D0AFCE9C-2323-C542-8AB3-51D29AAD0400}"/>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141665061"/>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2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F1E2AC-3027-3048-8FE1-F9832E4FA9E1}"/>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6" name="Text Placeholder 3">
            <a:extLst>
              <a:ext uri="{FF2B5EF4-FFF2-40B4-BE49-F238E27FC236}">
                <a16:creationId xmlns:a16="http://schemas.microsoft.com/office/drawing/2014/main" id="{478E7F30-C13D-CC4E-B648-9CE1EDF3C6B8}"/>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224" cy="1704974"/>
          </a:xfrm>
          <a:prstGeom prst="rect">
            <a:avLst/>
          </a:prstGeom>
          <a:solidFill>
            <a:srgbClr val="F0F0F0"/>
          </a:solidFill>
        </p:spPr>
        <p:txBody>
          <a:bodyPr/>
          <a:lstStyle>
            <a:lvl1pPr algn="l">
              <a:defRPr sz="1200" baseline="0">
                <a:solidFill>
                  <a:srgbClr val="FF0000"/>
                </a:solidFill>
              </a:defRPr>
            </a:lvl1pPr>
          </a:lstStyle>
          <a:p>
            <a:r>
              <a:rPr lang="en-US" dirty="0"/>
              <a:t>Click icon to add picture. Use “Crop” feature on “Format” tab to resize or reposition picture once added. Reset slide layout if needed.</a:t>
            </a:r>
          </a:p>
        </p:txBody>
      </p:sp>
      <p:sp>
        <p:nvSpPr>
          <p:cNvPr id="13"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6217381" y="1620838"/>
            <a:ext cx="1669319"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6226174" y="3548674"/>
            <a:ext cx="5495924"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485777" y="3548674"/>
            <a:ext cx="5495924"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6226176" y="4319152"/>
            <a:ext cx="5495922" cy="1802248"/>
          </a:xfrm>
        </p:spPr>
        <p:txBody>
          <a:bodyPr/>
          <a:lstStyle>
            <a:lvl1pPr>
              <a:defRPr sz="1500"/>
            </a:lvl1pPr>
            <a:lvl2pPr>
              <a:spcBef>
                <a:spcPts val="600"/>
              </a:spcBef>
              <a:defRPr sz="1500"/>
            </a:lvl2pPr>
            <a:lvl3pPr>
              <a:defRPr sz="1500"/>
            </a:lvl3pPr>
            <a:lvl4pPr>
              <a:defRPr sz="1500"/>
            </a:lvl4pPr>
            <a:lvl5pPr>
              <a:defRPr sz="1500"/>
            </a:lvl5pPr>
            <a:lvl6pPr>
              <a:defRPr/>
            </a:lvl6pPr>
          </a:lstStyle>
          <a:p>
            <a:pPr lvl="0"/>
            <a:r>
              <a:rPr lang="es-ES"/>
              <a:t>Editar el estilo de texto del patrón</a:t>
            </a:r>
          </a:p>
          <a:p>
            <a:pPr lvl="1"/>
            <a:r>
              <a:rPr lang="es-ES"/>
              <a:t>Segundo nivel</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6226174" y="3866329"/>
            <a:ext cx="5495924"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17" name="Text Placeholder 13">
            <a:extLst>
              <a:ext uri="{FF2B5EF4-FFF2-40B4-BE49-F238E27FC236}">
                <a16:creationId xmlns:a16="http://schemas.microsoft.com/office/drawing/2014/main" id="{FA11E823-0F61-B144-9A65-89A2F749C474}"/>
              </a:ext>
            </a:extLst>
          </p:cNvPr>
          <p:cNvSpPr>
            <a:spLocks noGrp="1"/>
          </p:cNvSpPr>
          <p:nvPr>
            <p:ph type="body" sz="quarter" idx="14"/>
          </p:nvPr>
        </p:nvSpPr>
        <p:spPr>
          <a:xfrm>
            <a:off x="485779" y="4319152"/>
            <a:ext cx="5495922" cy="1802248"/>
          </a:xfrm>
        </p:spPr>
        <p:txBody>
          <a:bodyPr/>
          <a:lstStyle>
            <a:lvl1pPr>
              <a:defRPr sz="1500"/>
            </a:lvl1pPr>
            <a:lvl2pPr>
              <a:spcBef>
                <a:spcPts val="600"/>
              </a:spcBef>
              <a:defRPr sz="1500"/>
            </a:lvl2pPr>
            <a:lvl3pPr>
              <a:defRPr sz="1500"/>
            </a:lvl3pPr>
            <a:lvl4pPr>
              <a:defRPr sz="1500"/>
            </a:lvl4pPr>
            <a:lvl5pPr>
              <a:defRPr sz="1500"/>
            </a:lvl5pPr>
          </a:lstStyle>
          <a:p>
            <a:pPr lvl="0"/>
            <a:r>
              <a:rPr lang="es-ES"/>
              <a:t>Editar el estilo de texto del patrón</a:t>
            </a:r>
          </a:p>
          <a:p>
            <a:pPr lvl="1"/>
            <a:r>
              <a:rPr lang="es-ES"/>
              <a:t>Segundo nivel</a:t>
            </a:r>
          </a:p>
        </p:txBody>
      </p:sp>
      <p:sp>
        <p:nvSpPr>
          <p:cNvPr id="1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485777" y="3866329"/>
            <a:ext cx="5495924"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Tree>
    <p:extLst>
      <p:ext uri="{BB962C8B-B14F-4D97-AF65-F5344CB8AC3E}">
        <p14:creationId xmlns:p14="http://schemas.microsoft.com/office/powerpoint/2010/main" val="3659051148"/>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3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224"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3"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4308478" y="1620838"/>
            <a:ext cx="1673222" cy="1704974"/>
          </a:xfrm>
          <a:prstGeom prst="rect">
            <a:avLst/>
          </a:prstGeom>
          <a:solidFill>
            <a:srgbClr val="F0F0F0"/>
          </a:solidFill>
        </p:spPr>
        <p:txBody>
          <a:bodyPr/>
          <a:lstStyle>
            <a:lvl1pPr marL="0" marR="0" indent="0" algn="l" defTabSz="457200" rtl="0" eaLnBrk="1" fontAlgn="auto" latinLnBrk="0" hangingPunct="1">
              <a:lnSpc>
                <a:spcPct val="100000"/>
              </a:lnSpc>
              <a:spcBef>
                <a:spcPts val="1200"/>
              </a:spcBef>
              <a:spcAft>
                <a:spcPts val="600"/>
              </a:spcAft>
              <a:buClrTx/>
              <a:buSzTx/>
              <a:buFont typeface="Arial"/>
              <a:buNone/>
              <a:tabLst/>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4305301" y="3548674"/>
            <a:ext cx="3581400"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485777" y="3548674"/>
            <a:ext cx="3578223"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4305303" y="4319152"/>
            <a:ext cx="3581399" cy="1802248"/>
          </a:xfrm>
        </p:spPr>
        <p:txBody>
          <a:bodyPr/>
          <a:lstStyle>
            <a:lvl1pPr>
              <a:defRPr sz="1500"/>
            </a:lvl1pPr>
            <a:lvl2pPr>
              <a:spcBef>
                <a:spcPts val="600"/>
              </a:spcBef>
              <a:defRPr sz="1500"/>
            </a:lvl2pPr>
            <a:lvl3pPr>
              <a:defRPr sz="1500"/>
            </a:lvl3pPr>
            <a:lvl4pPr>
              <a:defRPr sz="1500"/>
            </a:lvl4pPr>
            <a:lvl5pPr>
              <a:defRPr sz="1500"/>
            </a:lvl5pPr>
            <a:lvl6pPr marL="919162" indent="0">
              <a:buNone/>
              <a:defRPr/>
            </a:lvl6pPr>
          </a:lstStyle>
          <a:p>
            <a:pPr lvl="0"/>
            <a:r>
              <a:rPr lang="es-ES"/>
              <a:t>Editar el estilo de texto del patrón</a:t>
            </a:r>
          </a:p>
          <a:p>
            <a:pPr lvl="1"/>
            <a:r>
              <a:rPr lang="es-ES"/>
              <a:t>Segundo nivel</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4305301" y="3866329"/>
            <a:ext cx="3581400" cy="318476"/>
          </a:xfrm>
        </p:spPr>
        <p:txBody>
          <a:bodyPr/>
          <a:lstStyle>
            <a:lvl1pPr marL="0" indent="0">
              <a:spcBef>
                <a:spcPts val="0"/>
              </a:spcBef>
              <a:spcAft>
                <a:spcPts val="0"/>
              </a:spcAft>
              <a:buNone/>
              <a:defRPr sz="20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17" name="Text Placeholder 13">
            <a:extLst>
              <a:ext uri="{FF2B5EF4-FFF2-40B4-BE49-F238E27FC236}">
                <a16:creationId xmlns:a16="http://schemas.microsoft.com/office/drawing/2014/main" id="{FA11E823-0F61-B144-9A65-89A2F749C474}"/>
              </a:ext>
            </a:extLst>
          </p:cNvPr>
          <p:cNvSpPr>
            <a:spLocks noGrp="1"/>
          </p:cNvSpPr>
          <p:nvPr>
            <p:ph type="body" sz="quarter" idx="14"/>
          </p:nvPr>
        </p:nvSpPr>
        <p:spPr>
          <a:xfrm>
            <a:off x="485779" y="4319152"/>
            <a:ext cx="3578222" cy="1802248"/>
          </a:xfrm>
        </p:spPr>
        <p:txBody>
          <a:bodyPr/>
          <a:lstStyle>
            <a:lvl1pPr>
              <a:defRPr sz="1500"/>
            </a:lvl1pPr>
            <a:lvl2pPr>
              <a:spcBef>
                <a:spcPts val="600"/>
              </a:spcBef>
              <a:defRPr sz="1500"/>
            </a:lvl2pPr>
            <a:lvl3pPr>
              <a:defRPr sz="1500"/>
            </a:lvl3pPr>
            <a:lvl4pPr>
              <a:defRPr sz="1500"/>
            </a:lvl4pPr>
            <a:lvl5pPr>
              <a:defRPr sz="1500"/>
            </a:lvl5pPr>
            <a:lvl6pPr>
              <a:defRPr/>
            </a:lvl6pPr>
          </a:lstStyle>
          <a:p>
            <a:pPr lvl="0"/>
            <a:r>
              <a:rPr lang="es-ES"/>
              <a:t>Editar el estilo de texto del patrón</a:t>
            </a:r>
          </a:p>
          <a:p>
            <a:pPr lvl="1"/>
            <a:r>
              <a:rPr lang="es-ES"/>
              <a:t>Segundo nivel</a:t>
            </a:r>
          </a:p>
        </p:txBody>
      </p:sp>
      <p:sp>
        <p:nvSpPr>
          <p:cNvPr id="1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485777" y="3866329"/>
            <a:ext cx="3578223"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1" name="Text Placeholder 3">
            <a:extLst>
              <a:ext uri="{FF2B5EF4-FFF2-40B4-BE49-F238E27FC236}">
                <a16:creationId xmlns:a16="http://schemas.microsoft.com/office/drawing/2014/main" id="{AC0CDF27-1ADD-8342-879D-707AFEFCFEF8}"/>
              </a:ext>
            </a:extLst>
          </p:cNvPr>
          <p:cNvSpPr>
            <a:spLocks noGrp="1"/>
          </p:cNvSpPr>
          <p:nvPr>
            <p:ph type="body" sz="half" idx="18" hasCustomPrompt="1"/>
          </p:nvPr>
        </p:nvSpPr>
        <p:spPr>
          <a:xfrm>
            <a:off x="8130667" y="3548674"/>
            <a:ext cx="3578733"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2" name="Text Placeholder 13">
            <a:extLst>
              <a:ext uri="{FF2B5EF4-FFF2-40B4-BE49-F238E27FC236}">
                <a16:creationId xmlns:a16="http://schemas.microsoft.com/office/drawing/2014/main" id="{E53B07F7-1C0A-6047-A541-C601FCBCE8EF}"/>
              </a:ext>
            </a:extLst>
          </p:cNvPr>
          <p:cNvSpPr>
            <a:spLocks noGrp="1"/>
          </p:cNvSpPr>
          <p:nvPr>
            <p:ph type="body" sz="quarter" idx="19"/>
          </p:nvPr>
        </p:nvSpPr>
        <p:spPr>
          <a:xfrm>
            <a:off x="8130670" y="4319152"/>
            <a:ext cx="3578732" cy="1802248"/>
          </a:xfrm>
        </p:spPr>
        <p:txBody>
          <a:bodyPr/>
          <a:lstStyle>
            <a:lvl1pPr>
              <a:defRPr sz="1500"/>
            </a:lvl1pPr>
            <a:lvl2pPr>
              <a:spcBef>
                <a:spcPts val="600"/>
              </a:spcBef>
              <a:defRPr sz="1500"/>
            </a:lvl2pPr>
            <a:lvl3pPr>
              <a:defRPr sz="1500"/>
            </a:lvl3pPr>
            <a:lvl4pPr>
              <a:defRPr sz="1500"/>
            </a:lvl4pPr>
            <a:lvl5pPr>
              <a:defRPr sz="1500"/>
            </a:lvl5pPr>
            <a:lvl6pPr marL="919162" indent="0">
              <a:buNone/>
              <a:defRPr/>
            </a:lvl6pPr>
          </a:lstStyle>
          <a:p>
            <a:pPr lvl="0"/>
            <a:r>
              <a:rPr lang="es-ES"/>
              <a:t>Editar el estilo de texto del patrón</a:t>
            </a:r>
          </a:p>
          <a:p>
            <a:pPr lvl="1"/>
            <a:r>
              <a:rPr lang="es-ES"/>
              <a:t>Segundo nivel</a:t>
            </a:r>
          </a:p>
        </p:txBody>
      </p:sp>
      <p:sp>
        <p:nvSpPr>
          <p:cNvPr id="23" name="Text Placeholder 3">
            <a:extLst>
              <a:ext uri="{FF2B5EF4-FFF2-40B4-BE49-F238E27FC236}">
                <a16:creationId xmlns:a16="http://schemas.microsoft.com/office/drawing/2014/main" id="{94746E12-3EC2-5141-8C5F-4B4265F409C4}"/>
              </a:ext>
            </a:extLst>
          </p:cNvPr>
          <p:cNvSpPr>
            <a:spLocks noGrp="1"/>
          </p:cNvSpPr>
          <p:nvPr>
            <p:ph type="body" sz="half" idx="20" hasCustomPrompt="1"/>
          </p:nvPr>
        </p:nvSpPr>
        <p:spPr>
          <a:xfrm>
            <a:off x="8130667" y="3866329"/>
            <a:ext cx="3578733"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4" name="Picture Placeholder 9">
            <a:extLst>
              <a:ext uri="{FF2B5EF4-FFF2-40B4-BE49-F238E27FC236}">
                <a16:creationId xmlns:a16="http://schemas.microsoft.com/office/drawing/2014/main" id="{FF57ADCE-A8E0-014E-9057-FA914AC44AB6}"/>
              </a:ext>
            </a:extLst>
          </p:cNvPr>
          <p:cNvSpPr>
            <a:spLocks noGrp="1" noChangeAspect="1"/>
          </p:cNvSpPr>
          <p:nvPr>
            <p:ph type="pic" sz="quarter" idx="21" hasCustomPrompt="1"/>
          </p:nvPr>
        </p:nvSpPr>
        <p:spPr>
          <a:xfrm>
            <a:off x="8128001" y="1620838"/>
            <a:ext cx="1676399"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25" name="Title 1">
            <a:extLst>
              <a:ext uri="{FF2B5EF4-FFF2-40B4-BE49-F238E27FC236}">
                <a16:creationId xmlns:a16="http://schemas.microsoft.com/office/drawing/2014/main" id="{1A557E69-B948-EE4F-8D3C-094A819B91FC}"/>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26" name="Text Placeholder 3">
            <a:extLst>
              <a:ext uri="{FF2B5EF4-FFF2-40B4-BE49-F238E27FC236}">
                <a16:creationId xmlns:a16="http://schemas.microsoft.com/office/drawing/2014/main" id="{E15F6C54-7BEE-0A47-9C13-2AD0DEE8A17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92043539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4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224"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3"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6226173" y="1620838"/>
            <a:ext cx="1660527"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8127999" y="3800320"/>
            <a:ext cx="35814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2387599" y="3800320"/>
            <a:ext cx="35941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hasCustomPrompt="1"/>
          </p:nvPr>
        </p:nvSpPr>
        <p:spPr>
          <a:xfrm>
            <a:off x="8128001" y="4502460"/>
            <a:ext cx="35814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8127999" y="4117975"/>
            <a:ext cx="35814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17" name="Text Placeholder 13">
            <a:extLst>
              <a:ext uri="{FF2B5EF4-FFF2-40B4-BE49-F238E27FC236}">
                <a16:creationId xmlns:a16="http://schemas.microsoft.com/office/drawing/2014/main" id="{FA11E823-0F61-B144-9A65-89A2F749C474}"/>
              </a:ext>
            </a:extLst>
          </p:cNvPr>
          <p:cNvSpPr>
            <a:spLocks noGrp="1"/>
          </p:cNvSpPr>
          <p:nvPr>
            <p:ph type="body" sz="quarter" idx="14" hasCustomPrompt="1"/>
          </p:nvPr>
        </p:nvSpPr>
        <p:spPr>
          <a:xfrm>
            <a:off x="2387601" y="4502460"/>
            <a:ext cx="35941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1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2387599" y="4117975"/>
            <a:ext cx="35941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1" name="Text Placeholder 3">
            <a:extLst>
              <a:ext uri="{FF2B5EF4-FFF2-40B4-BE49-F238E27FC236}">
                <a16:creationId xmlns:a16="http://schemas.microsoft.com/office/drawing/2014/main" id="{5F7713A0-A151-AC43-ADBC-57561531851D}"/>
              </a:ext>
            </a:extLst>
          </p:cNvPr>
          <p:cNvSpPr>
            <a:spLocks noGrp="1"/>
          </p:cNvSpPr>
          <p:nvPr>
            <p:ph type="body" sz="half" idx="18" hasCustomPrompt="1"/>
          </p:nvPr>
        </p:nvSpPr>
        <p:spPr>
          <a:xfrm>
            <a:off x="8127999" y="1564115"/>
            <a:ext cx="35814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2" name="Text Placeholder 3">
            <a:extLst>
              <a:ext uri="{FF2B5EF4-FFF2-40B4-BE49-F238E27FC236}">
                <a16:creationId xmlns:a16="http://schemas.microsoft.com/office/drawing/2014/main" id="{36990999-1C86-3C4A-9E86-512FFE509F06}"/>
              </a:ext>
            </a:extLst>
          </p:cNvPr>
          <p:cNvSpPr>
            <a:spLocks noGrp="1"/>
          </p:cNvSpPr>
          <p:nvPr>
            <p:ph type="body" sz="half" idx="19" hasCustomPrompt="1"/>
          </p:nvPr>
        </p:nvSpPr>
        <p:spPr>
          <a:xfrm>
            <a:off x="2387599" y="1564115"/>
            <a:ext cx="35941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3" name="Text Placeholder 13">
            <a:extLst>
              <a:ext uri="{FF2B5EF4-FFF2-40B4-BE49-F238E27FC236}">
                <a16:creationId xmlns:a16="http://schemas.microsoft.com/office/drawing/2014/main" id="{A71029AB-D37D-2644-A741-0C081A0EFD23}"/>
              </a:ext>
            </a:extLst>
          </p:cNvPr>
          <p:cNvSpPr>
            <a:spLocks noGrp="1"/>
          </p:cNvSpPr>
          <p:nvPr>
            <p:ph type="body" sz="quarter" idx="20" hasCustomPrompt="1"/>
          </p:nvPr>
        </p:nvSpPr>
        <p:spPr>
          <a:xfrm>
            <a:off x="8128001" y="2266255"/>
            <a:ext cx="35814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24" name="Text Placeholder 3">
            <a:extLst>
              <a:ext uri="{FF2B5EF4-FFF2-40B4-BE49-F238E27FC236}">
                <a16:creationId xmlns:a16="http://schemas.microsoft.com/office/drawing/2014/main" id="{C8BA4402-6CAF-594E-89D2-451CACAEAF49}"/>
              </a:ext>
            </a:extLst>
          </p:cNvPr>
          <p:cNvSpPr>
            <a:spLocks noGrp="1"/>
          </p:cNvSpPr>
          <p:nvPr>
            <p:ph type="body" sz="half" idx="21" hasCustomPrompt="1"/>
          </p:nvPr>
        </p:nvSpPr>
        <p:spPr>
          <a:xfrm>
            <a:off x="8127999" y="1881770"/>
            <a:ext cx="35814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5" name="Text Placeholder 13">
            <a:extLst>
              <a:ext uri="{FF2B5EF4-FFF2-40B4-BE49-F238E27FC236}">
                <a16:creationId xmlns:a16="http://schemas.microsoft.com/office/drawing/2014/main" id="{265C0D49-3234-5E4D-894F-6B46C7FB1261}"/>
              </a:ext>
            </a:extLst>
          </p:cNvPr>
          <p:cNvSpPr>
            <a:spLocks noGrp="1"/>
          </p:cNvSpPr>
          <p:nvPr>
            <p:ph type="body" sz="quarter" idx="22" hasCustomPrompt="1"/>
          </p:nvPr>
        </p:nvSpPr>
        <p:spPr>
          <a:xfrm>
            <a:off x="2387601" y="2266255"/>
            <a:ext cx="35941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26" name="Text Placeholder 3">
            <a:extLst>
              <a:ext uri="{FF2B5EF4-FFF2-40B4-BE49-F238E27FC236}">
                <a16:creationId xmlns:a16="http://schemas.microsoft.com/office/drawing/2014/main" id="{0257D817-539C-DD4E-AE71-8174AB5D41C0}"/>
              </a:ext>
            </a:extLst>
          </p:cNvPr>
          <p:cNvSpPr>
            <a:spLocks noGrp="1"/>
          </p:cNvSpPr>
          <p:nvPr>
            <p:ph type="body" sz="half" idx="23" hasCustomPrompt="1"/>
          </p:nvPr>
        </p:nvSpPr>
        <p:spPr>
          <a:xfrm>
            <a:off x="2387599" y="1881770"/>
            <a:ext cx="35941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7" name="Picture Placeholder 9">
            <a:extLst>
              <a:ext uri="{FF2B5EF4-FFF2-40B4-BE49-F238E27FC236}">
                <a16:creationId xmlns:a16="http://schemas.microsoft.com/office/drawing/2014/main" id="{6BD28324-F3EB-BE41-9D0C-98C0D13B4016}"/>
              </a:ext>
            </a:extLst>
          </p:cNvPr>
          <p:cNvSpPr>
            <a:spLocks noGrp="1" noChangeAspect="1"/>
          </p:cNvSpPr>
          <p:nvPr>
            <p:ph type="pic" sz="quarter" idx="24" hasCustomPrompt="1"/>
          </p:nvPr>
        </p:nvSpPr>
        <p:spPr>
          <a:xfrm>
            <a:off x="485776" y="3879092"/>
            <a:ext cx="1673224"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28" name="Picture Placeholder 9">
            <a:extLst>
              <a:ext uri="{FF2B5EF4-FFF2-40B4-BE49-F238E27FC236}">
                <a16:creationId xmlns:a16="http://schemas.microsoft.com/office/drawing/2014/main" id="{F9D2F30B-E1C7-574E-BAC9-2FA330852737}"/>
              </a:ext>
            </a:extLst>
          </p:cNvPr>
          <p:cNvSpPr>
            <a:spLocks noGrp="1" noChangeAspect="1"/>
          </p:cNvSpPr>
          <p:nvPr>
            <p:ph type="pic" sz="quarter" idx="25" hasCustomPrompt="1"/>
          </p:nvPr>
        </p:nvSpPr>
        <p:spPr>
          <a:xfrm>
            <a:off x="6226173" y="3879092"/>
            <a:ext cx="1660527"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29" name="Title 1">
            <a:extLst>
              <a:ext uri="{FF2B5EF4-FFF2-40B4-BE49-F238E27FC236}">
                <a16:creationId xmlns:a16="http://schemas.microsoft.com/office/drawing/2014/main" id="{7AA2A475-59E8-7C47-A042-7D18D3F485F0}"/>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30" name="Text Placeholder 3">
            <a:extLst>
              <a:ext uri="{FF2B5EF4-FFF2-40B4-BE49-F238E27FC236}">
                <a16:creationId xmlns:a16="http://schemas.microsoft.com/office/drawing/2014/main" id="{89251D6D-CA0A-B446-980B-987AD095401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877429908"/>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8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22" name="Text Placeholder 3">
            <a:extLst>
              <a:ext uri="{FF2B5EF4-FFF2-40B4-BE49-F238E27FC236}">
                <a16:creationId xmlns:a16="http://schemas.microsoft.com/office/drawing/2014/main" id="{36990999-1C86-3C4A-9E86-512FFE509F06}"/>
              </a:ext>
            </a:extLst>
          </p:cNvPr>
          <p:cNvSpPr>
            <a:spLocks noGrp="1"/>
          </p:cNvSpPr>
          <p:nvPr>
            <p:ph type="body" sz="half" idx="19" hasCustomPrompt="1"/>
          </p:nvPr>
        </p:nvSpPr>
        <p:spPr>
          <a:xfrm>
            <a:off x="48577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6" name="Text Placeholder 3">
            <a:extLst>
              <a:ext uri="{FF2B5EF4-FFF2-40B4-BE49-F238E27FC236}">
                <a16:creationId xmlns:a16="http://schemas.microsoft.com/office/drawing/2014/main" id="{0257D817-539C-DD4E-AE71-8174AB5D41C0}"/>
              </a:ext>
            </a:extLst>
          </p:cNvPr>
          <p:cNvSpPr>
            <a:spLocks noGrp="1"/>
          </p:cNvSpPr>
          <p:nvPr>
            <p:ph type="body" sz="half" idx="23" hasCustomPrompt="1"/>
          </p:nvPr>
        </p:nvSpPr>
        <p:spPr>
          <a:xfrm>
            <a:off x="48577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9" name="Title 1">
            <a:extLst>
              <a:ext uri="{FF2B5EF4-FFF2-40B4-BE49-F238E27FC236}">
                <a16:creationId xmlns:a16="http://schemas.microsoft.com/office/drawing/2014/main" id="{7AA2A475-59E8-7C47-A042-7D18D3F485F0}"/>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30" name="Text Placeholder 3">
            <a:extLst>
              <a:ext uri="{FF2B5EF4-FFF2-40B4-BE49-F238E27FC236}">
                <a16:creationId xmlns:a16="http://schemas.microsoft.com/office/drawing/2014/main" id="{89251D6D-CA0A-B446-980B-987AD095401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32"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4" hasCustomPrompt="1"/>
          </p:nvPr>
        </p:nvSpPr>
        <p:spPr>
          <a:xfrm>
            <a:off x="3361056" y="162083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33"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5" hasCustomPrompt="1"/>
          </p:nvPr>
        </p:nvSpPr>
        <p:spPr>
          <a:xfrm>
            <a:off x="6210300" y="162083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34"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6" hasCustomPrompt="1"/>
          </p:nvPr>
        </p:nvSpPr>
        <p:spPr>
          <a:xfrm>
            <a:off x="9080500" y="162083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35" name="Text Placeholder 3">
            <a:extLst>
              <a:ext uri="{FF2B5EF4-FFF2-40B4-BE49-F238E27FC236}">
                <a16:creationId xmlns:a16="http://schemas.microsoft.com/office/drawing/2014/main" id="{36990999-1C86-3C4A-9E86-512FFE509F06}"/>
              </a:ext>
            </a:extLst>
          </p:cNvPr>
          <p:cNvSpPr>
            <a:spLocks noGrp="1"/>
          </p:cNvSpPr>
          <p:nvPr>
            <p:ph type="body" sz="half" idx="27" hasCustomPrompt="1"/>
          </p:nvPr>
        </p:nvSpPr>
        <p:spPr>
          <a:xfrm>
            <a:off x="336105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36" name="Text Placeholder 3">
            <a:extLst>
              <a:ext uri="{FF2B5EF4-FFF2-40B4-BE49-F238E27FC236}">
                <a16:creationId xmlns:a16="http://schemas.microsoft.com/office/drawing/2014/main" id="{0257D817-539C-DD4E-AE71-8174AB5D41C0}"/>
              </a:ext>
            </a:extLst>
          </p:cNvPr>
          <p:cNvSpPr>
            <a:spLocks noGrp="1"/>
          </p:cNvSpPr>
          <p:nvPr>
            <p:ph type="body" sz="half" idx="28" hasCustomPrompt="1"/>
          </p:nvPr>
        </p:nvSpPr>
        <p:spPr>
          <a:xfrm>
            <a:off x="336105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37" name="Text Placeholder 3">
            <a:extLst>
              <a:ext uri="{FF2B5EF4-FFF2-40B4-BE49-F238E27FC236}">
                <a16:creationId xmlns:a16="http://schemas.microsoft.com/office/drawing/2014/main" id="{36990999-1C86-3C4A-9E86-512FFE509F06}"/>
              </a:ext>
            </a:extLst>
          </p:cNvPr>
          <p:cNvSpPr>
            <a:spLocks noGrp="1"/>
          </p:cNvSpPr>
          <p:nvPr>
            <p:ph type="body" sz="half" idx="29" hasCustomPrompt="1"/>
          </p:nvPr>
        </p:nvSpPr>
        <p:spPr>
          <a:xfrm>
            <a:off x="620585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38" name="Text Placeholder 3">
            <a:extLst>
              <a:ext uri="{FF2B5EF4-FFF2-40B4-BE49-F238E27FC236}">
                <a16:creationId xmlns:a16="http://schemas.microsoft.com/office/drawing/2014/main" id="{0257D817-539C-DD4E-AE71-8174AB5D41C0}"/>
              </a:ext>
            </a:extLst>
          </p:cNvPr>
          <p:cNvSpPr>
            <a:spLocks noGrp="1"/>
          </p:cNvSpPr>
          <p:nvPr>
            <p:ph type="body" sz="half" idx="30" hasCustomPrompt="1"/>
          </p:nvPr>
        </p:nvSpPr>
        <p:spPr>
          <a:xfrm>
            <a:off x="620585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39" name="Text Placeholder 3">
            <a:extLst>
              <a:ext uri="{FF2B5EF4-FFF2-40B4-BE49-F238E27FC236}">
                <a16:creationId xmlns:a16="http://schemas.microsoft.com/office/drawing/2014/main" id="{36990999-1C86-3C4A-9E86-512FFE509F06}"/>
              </a:ext>
            </a:extLst>
          </p:cNvPr>
          <p:cNvSpPr>
            <a:spLocks noGrp="1"/>
          </p:cNvSpPr>
          <p:nvPr>
            <p:ph type="body" sz="half" idx="31" hasCustomPrompt="1"/>
          </p:nvPr>
        </p:nvSpPr>
        <p:spPr>
          <a:xfrm>
            <a:off x="908113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40" name="Text Placeholder 3">
            <a:extLst>
              <a:ext uri="{FF2B5EF4-FFF2-40B4-BE49-F238E27FC236}">
                <a16:creationId xmlns:a16="http://schemas.microsoft.com/office/drawing/2014/main" id="{0257D817-539C-DD4E-AE71-8174AB5D41C0}"/>
              </a:ext>
            </a:extLst>
          </p:cNvPr>
          <p:cNvSpPr>
            <a:spLocks noGrp="1"/>
          </p:cNvSpPr>
          <p:nvPr>
            <p:ph type="body" sz="half" idx="32" hasCustomPrompt="1"/>
          </p:nvPr>
        </p:nvSpPr>
        <p:spPr>
          <a:xfrm>
            <a:off x="908113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41"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3" hasCustomPrompt="1"/>
          </p:nvPr>
        </p:nvSpPr>
        <p:spPr>
          <a:xfrm>
            <a:off x="485776" y="391699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42" name="Text Placeholder 3">
            <a:extLst>
              <a:ext uri="{FF2B5EF4-FFF2-40B4-BE49-F238E27FC236}">
                <a16:creationId xmlns:a16="http://schemas.microsoft.com/office/drawing/2014/main" id="{36990999-1C86-3C4A-9E86-512FFE509F06}"/>
              </a:ext>
            </a:extLst>
          </p:cNvPr>
          <p:cNvSpPr>
            <a:spLocks noGrp="1"/>
          </p:cNvSpPr>
          <p:nvPr>
            <p:ph type="body" sz="half" idx="34" hasCustomPrompt="1"/>
          </p:nvPr>
        </p:nvSpPr>
        <p:spPr>
          <a:xfrm>
            <a:off x="48577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43" name="Text Placeholder 3">
            <a:extLst>
              <a:ext uri="{FF2B5EF4-FFF2-40B4-BE49-F238E27FC236}">
                <a16:creationId xmlns:a16="http://schemas.microsoft.com/office/drawing/2014/main" id="{0257D817-539C-DD4E-AE71-8174AB5D41C0}"/>
              </a:ext>
            </a:extLst>
          </p:cNvPr>
          <p:cNvSpPr>
            <a:spLocks noGrp="1"/>
          </p:cNvSpPr>
          <p:nvPr>
            <p:ph type="body" sz="half" idx="35" hasCustomPrompt="1"/>
          </p:nvPr>
        </p:nvSpPr>
        <p:spPr>
          <a:xfrm>
            <a:off x="48577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44"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6" hasCustomPrompt="1"/>
          </p:nvPr>
        </p:nvSpPr>
        <p:spPr>
          <a:xfrm>
            <a:off x="3361056" y="391699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45"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7" hasCustomPrompt="1"/>
          </p:nvPr>
        </p:nvSpPr>
        <p:spPr>
          <a:xfrm>
            <a:off x="6210300" y="391699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46"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8" hasCustomPrompt="1"/>
          </p:nvPr>
        </p:nvSpPr>
        <p:spPr>
          <a:xfrm>
            <a:off x="9080500" y="391699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47" name="Text Placeholder 3">
            <a:extLst>
              <a:ext uri="{FF2B5EF4-FFF2-40B4-BE49-F238E27FC236}">
                <a16:creationId xmlns:a16="http://schemas.microsoft.com/office/drawing/2014/main" id="{36990999-1C86-3C4A-9E86-512FFE509F06}"/>
              </a:ext>
            </a:extLst>
          </p:cNvPr>
          <p:cNvSpPr>
            <a:spLocks noGrp="1"/>
          </p:cNvSpPr>
          <p:nvPr>
            <p:ph type="body" sz="half" idx="39" hasCustomPrompt="1"/>
          </p:nvPr>
        </p:nvSpPr>
        <p:spPr>
          <a:xfrm>
            <a:off x="336105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48" name="Text Placeholder 3">
            <a:extLst>
              <a:ext uri="{FF2B5EF4-FFF2-40B4-BE49-F238E27FC236}">
                <a16:creationId xmlns:a16="http://schemas.microsoft.com/office/drawing/2014/main" id="{0257D817-539C-DD4E-AE71-8174AB5D41C0}"/>
              </a:ext>
            </a:extLst>
          </p:cNvPr>
          <p:cNvSpPr>
            <a:spLocks noGrp="1"/>
          </p:cNvSpPr>
          <p:nvPr>
            <p:ph type="body" sz="half" idx="40" hasCustomPrompt="1"/>
          </p:nvPr>
        </p:nvSpPr>
        <p:spPr>
          <a:xfrm>
            <a:off x="336105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49" name="Text Placeholder 3">
            <a:extLst>
              <a:ext uri="{FF2B5EF4-FFF2-40B4-BE49-F238E27FC236}">
                <a16:creationId xmlns:a16="http://schemas.microsoft.com/office/drawing/2014/main" id="{36990999-1C86-3C4A-9E86-512FFE509F06}"/>
              </a:ext>
            </a:extLst>
          </p:cNvPr>
          <p:cNvSpPr>
            <a:spLocks noGrp="1"/>
          </p:cNvSpPr>
          <p:nvPr>
            <p:ph type="body" sz="half" idx="41" hasCustomPrompt="1"/>
          </p:nvPr>
        </p:nvSpPr>
        <p:spPr>
          <a:xfrm>
            <a:off x="620585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50" name="Text Placeholder 3">
            <a:extLst>
              <a:ext uri="{FF2B5EF4-FFF2-40B4-BE49-F238E27FC236}">
                <a16:creationId xmlns:a16="http://schemas.microsoft.com/office/drawing/2014/main" id="{0257D817-539C-DD4E-AE71-8174AB5D41C0}"/>
              </a:ext>
            </a:extLst>
          </p:cNvPr>
          <p:cNvSpPr>
            <a:spLocks noGrp="1"/>
          </p:cNvSpPr>
          <p:nvPr>
            <p:ph type="body" sz="half" idx="42" hasCustomPrompt="1"/>
          </p:nvPr>
        </p:nvSpPr>
        <p:spPr>
          <a:xfrm>
            <a:off x="620585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51" name="Text Placeholder 3">
            <a:extLst>
              <a:ext uri="{FF2B5EF4-FFF2-40B4-BE49-F238E27FC236}">
                <a16:creationId xmlns:a16="http://schemas.microsoft.com/office/drawing/2014/main" id="{36990999-1C86-3C4A-9E86-512FFE509F06}"/>
              </a:ext>
            </a:extLst>
          </p:cNvPr>
          <p:cNvSpPr>
            <a:spLocks noGrp="1"/>
          </p:cNvSpPr>
          <p:nvPr>
            <p:ph type="body" sz="half" idx="43" hasCustomPrompt="1"/>
          </p:nvPr>
        </p:nvSpPr>
        <p:spPr>
          <a:xfrm>
            <a:off x="908113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52" name="Text Placeholder 3">
            <a:extLst>
              <a:ext uri="{FF2B5EF4-FFF2-40B4-BE49-F238E27FC236}">
                <a16:creationId xmlns:a16="http://schemas.microsoft.com/office/drawing/2014/main" id="{0257D817-539C-DD4E-AE71-8174AB5D41C0}"/>
              </a:ext>
            </a:extLst>
          </p:cNvPr>
          <p:cNvSpPr>
            <a:spLocks noGrp="1"/>
          </p:cNvSpPr>
          <p:nvPr>
            <p:ph type="body" sz="half" idx="44" hasCustomPrompt="1"/>
          </p:nvPr>
        </p:nvSpPr>
        <p:spPr>
          <a:xfrm>
            <a:off x="908113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Tree>
    <p:extLst>
      <p:ext uri="{BB962C8B-B14F-4D97-AF65-F5344CB8AC3E}">
        <p14:creationId xmlns:p14="http://schemas.microsoft.com/office/powerpoint/2010/main" val="246878803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p:cSld name="QUOT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54EA0D7-47B3-5149-B51A-CABC5742FBE7}"/>
              </a:ext>
            </a:extLst>
          </p:cNvPr>
          <p:cNvSpPr txBox="1"/>
          <p:nvPr/>
        </p:nvSpPr>
        <p:spPr>
          <a:xfrm>
            <a:off x="374977" y="2505671"/>
            <a:ext cx="5301131" cy="184665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Quotes</a:t>
            </a:r>
          </a:p>
        </p:txBody>
      </p:sp>
    </p:spTree>
    <p:extLst>
      <p:ext uri="{BB962C8B-B14F-4D97-AF65-F5344CB8AC3E}">
        <p14:creationId xmlns:p14="http://schemas.microsoft.com/office/powerpoint/2010/main" val="1668588832"/>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160A2B-5371-CA41-BD2F-F42585E23A6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7B160A2B-5371-CA41-BD2F-F42585E23A6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3">
            <a:extLst>
              <a:ext uri="{FF2B5EF4-FFF2-40B4-BE49-F238E27FC236}">
                <a16:creationId xmlns:a16="http://schemas.microsoft.com/office/drawing/2014/main" id="{2C68D909-7F77-144F-A778-CADD0466B483}"/>
              </a:ext>
            </a:extLst>
          </p:cNvPr>
          <p:cNvSpPr>
            <a:spLocks noGrp="1"/>
          </p:cNvSpPr>
          <p:nvPr>
            <p:ph type="body" sz="half" idx="2" hasCustomPrompt="1"/>
          </p:nvPr>
        </p:nvSpPr>
        <p:spPr>
          <a:xfrm>
            <a:off x="485776" y="4979815"/>
            <a:ext cx="3578224" cy="803619"/>
          </a:xfrm>
        </p:spPr>
        <p:txBody>
          <a:bodyPr anchor="t"/>
          <a:lstStyle>
            <a:lvl1pPr marL="179388" indent="-179388">
              <a:lnSpc>
                <a:spcPct val="100000"/>
              </a:lnSpc>
              <a:spcBef>
                <a:spcPts val="0"/>
              </a:spcBef>
              <a:spcAft>
                <a:spcPts val="0"/>
              </a:spcAft>
              <a:buFont typeface="System Font Regular"/>
              <a:buChar char="–"/>
              <a:tabLst/>
              <a:defRPr lang="en-US" sz="1600" smtClean="0">
                <a:solidFill>
                  <a:schemeClr val="tx2"/>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dirty="0">
                <a:effectLst/>
                <a:latin typeface="Arial" panose="020B0604020202020204" pitchFamily="34" charset="0"/>
              </a:rPr>
              <a:t>Click to add author</a:t>
            </a:r>
          </a:p>
        </p:txBody>
      </p:sp>
      <p:sp>
        <p:nvSpPr>
          <p:cNvPr id="6" name="Title 1"/>
          <p:cNvSpPr>
            <a:spLocks noGrp="1"/>
          </p:cNvSpPr>
          <p:nvPr>
            <p:ph type="title" hasCustomPrompt="1"/>
          </p:nvPr>
        </p:nvSpPr>
        <p:spPr>
          <a:xfrm>
            <a:off x="482600" y="1807779"/>
            <a:ext cx="7404101" cy="3061084"/>
          </a:xfrm>
        </p:spPr>
        <p:txBody>
          <a:bodyPr/>
          <a:lstStyle>
            <a:lvl1pPr>
              <a:defRPr sz="5400">
                <a:solidFill>
                  <a:schemeClr val="tx2"/>
                </a:solidFill>
              </a:defRPr>
            </a:lvl1pPr>
          </a:lstStyle>
          <a:p>
            <a:r>
              <a:rPr lang="en-US" dirty="0"/>
              <a:t>Click to add quote</a:t>
            </a:r>
          </a:p>
        </p:txBody>
      </p:sp>
    </p:spTree>
    <p:extLst>
      <p:ext uri="{BB962C8B-B14F-4D97-AF65-F5344CB8AC3E}">
        <p14:creationId xmlns:p14="http://schemas.microsoft.com/office/powerpoint/2010/main" val="1420556566"/>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160A2B-5371-CA41-BD2F-F42585E23A6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7B160A2B-5371-CA41-BD2F-F42585E23A6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3">
            <a:extLst>
              <a:ext uri="{FF2B5EF4-FFF2-40B4-BE49-F238E27FC236}">
                <a16:creationId xmlns:a16="http://schemas.microsoft.com/office/drawing/2014/main" id="{2C68D909-7F77-144F-A778-CADD0466B483}"/>
              </a:ext>
            </a:extLst>
          </p:cNvPr>
          <p:cNvSpPr>
            <a:spLocks noGrp="1"/>
          </p:cNvSpPr>
          <p:nvPr>
            <p:ph type="body" sz="half" idx="2" hasCustomPrompt="1"/>
          </p:nvPr>
        </p:nvSpPr>
        <p:spPr>
          <a:xfrm>
            <a:off x="485776" y="4979815"/>
            <a:ext cx="3578224" cy="803619"/>
          </a:xfrm>
        </p:spPr>
        <p:txBody>
          <a:bodyPr anchor="t"/>
          <a:lstStyle>
            <a:lvl1pPr marL="179388" indent="-179388">
              <a:lnSpc>
                <a:spcPct val="100000"/>
              </a:lnSpc>
              <a:spcBef>
                <a:spcPts val="0"/>
              </a:spcBef>
              <a:spcAft>
                <a:spcPts val="0"/>
              </a:spcAft>
              <a:buFont typeface="System Font Regular"/>
              <a:buChar char="–"/>
              <a:tabLst/>
              <a:defRPr lang="en-US" sz="1600" smtClean="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dirty="0">
                <a:effectLst/>
                <a:latin typeface="Arial" panose="020B0604020202020204" pitchFamily="34" charset="0"/>
              </a:rPr>
              <a:t>Click to add author</a:t>
            </a:r>
          </a:p>
        </p:txBody>
      </p:sp>
      <p:sp>
        <p:nvSpPr>
          <p:cNvPr id="9" name="TextBox 8">
            <a:extLst>
              <a:ext uri="{FF2B5EF4-FFF2-40B4-BE49-F238E27FC236}">
                <a16:creationId xmlns:a16="http://schemas.microsoft.com/office/drawing/2014/main" id="{02A92D50-B69F-614A-9C8F-D600BB0D9EB1}"/>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Nº›</a:t>
            </a:fld>
            <a:endParaRPr lang="en-US" sz="800" kern="1200" dirty="0">
              <a:solidFill>
                <a:schemeClr val="bg1"/>
              </a:solidFill>
              <a:effectLst/>
              <a:latin typeface="+mn-lt"/>
              <a:ea typeface="+mn-ea"/>
              <a:cs typeface="+mn-cs"/>
            </a:endParaRPr>
          </a:p>
        </p:txBody>
      </p:sp>
      <p:sp>
        <p:nvSpPr>
          <p:cNvPr id="6" name="Title 1"/>
          <p:cNvSpPr>
            <a:spLocks noGrp="1"/>
          </p:cNvSpPr>
          <p:nvPr>
            <p:ph type="title" hasCustomPrompt="1"/>
          </p:nvPr>
        </p:nvSpPr>
        <p:spPr>
          <a:xfrm>
            <a:off x="482600" y="1807779"/>
            <a:ext cx="7404101" cy="3061084"/>
          </a:xfrm>
        </p:spPr>
        <p:txBody>
          <a:bodyPr/>
          <a:lstStyle>
            <a:lvl1pPr>
              <a:defRPr sz="5400">
                <a:solidFill>
                  <a:schemeClr val="bg1"/>
                </a:solidFill>
              </a:defRPr>
            </a:lvl1pPr>
          </a:lstStyle>
          <a:p>
            <a:r>
              <a:rPr lang="en-US" dirty="0"/>
              <a:t>Click to add quote</a:t>
            </a:r>
          </a:p>
        </p:txBody>
      </p:sp>
    </p:spTree>
    <p:extLst>
      <p:ext uri="{BB962C8B-B14F-4D97-AF65-F5344CB8AC3E}">
        <p14:creationId xmlns:p14="http://schemas.microsoft.com/office/powerpoint/2010/main" val="822991124"/>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INTERACTIVE ELEMENT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52E706-1FE4-5448-BF88-BDD1A5847DF0}"/>
              </a:ext>
            </a:extLst>
          </p:cNvPr>
          <p:cNvSpPr txBox="1"/>
          <p:nvPr/>
        </p:nvSpPr>
        <p:spPr>
          <a:xfrm>
            <a:off x="374977" y="1582341"/>
            <a:ext cx="7700826" cy="369331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Interactive</a:t>
            </a:r>
          </a:p>
          <a:p>
            <a:pPr algn="l"/>
            <a:r>
              <a:rPr lang="en-US" sz="12000" b="1" i="0" dirty="0">
                <a:solidFill>
                  <a:schemeClr val="bg1"/>
                </a:solidFill>
                <a:latin typeface="Arial" panose="020B0604020202020204" pitchFamily="34" charset="0"/>
                <a:cs typeface="Arial" panose="020B0604020202020204" pitchFamily="34" charset="0"/>
              </a:rPr>
              <a:t>elements</a:t>
            </a:r>
          </a:p>
        </p:txBody>
      </p:sp>
    </p:spTree>
    <p:extLst>
      <p:ext uri="{BB962C8B-B14F-4D97-AF65-F5344CB8AC3E}">
        <p14:creationId xmlns:p14="http://schemas.microsoft.com/office/powerpoint/2010/main" val="178181651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Interactive top">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485776" y="866775"/>
            <a:ext cx="11461750"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6394451"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p:ph type="body" sz="half" idx="2" hasCustomPrompt="1"/>
          </p:nvPr>
        </p:nvSpPr>
        <p:spPr>
          <a:xfrm>
            <a:off x="485776" y="1311632"/>
            <a:ext cx="11461750"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3" name="Rectangle 2"/>
          <p:cNvSpPr/>
          <p:nvPr userDrawn="1"/>
        </p:nvSpPr>
        <p:spPr>
          <a:xfrm>
            <a:off x="2815" y="-1"/>
            <a:ext cx="12189185" cy="61370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 name="Rectangle 6"/>
          <p:cNvSpPr/>
          <p:nvPr userDrawn="1"/>
        </p:nvSpPr>
        <p:spPr>
          <a:xfrm>
            <a:off x="485776"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1</a:t>
            </a:r>
            <a:endParaRPr lang="en-GB" sz="1400" dirty="0"/>
          </a:p>
        </p:txBody>
      </p:sp>
      <p:sp>
        <p:nvSpPr>
          <p:cNvPr id="8" name="Rectangle 7"/>
          <p:cNvSpPr/>
          <p:nvPr userDrawn="1"/>
        </p:nvSpPr>
        <p:spPr>
          <a:xfrm>
            <a:off x="2437449"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2</a:t>
            </a:r>
            <a:endParaRPr lang="en-GB" sz="1400" dirty="0"/>
          </a:p>
        </p:txBody>
      </p:sp>
      <p:sp>
        <p:nvSpPr>
          <p:cNvPr id="9" name="Rectangle 8"/>
          <p:cNvSpPr/>
          <p:nvPr userDrawn="1"/>
        </p:nvSpPr>
        <p:spPr>
          <a:xfrm>
            <a:off x="4389122"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3</a:t>
            </a:r>
            <a:endParaRPr lang="en-GB" sz="1400" dirty="0"/>
          </a:p>
        </p:txBody>
      </p:sp>
      <p:sp>
        <p:nvSpPr>
          <p:cNvPr id="10" name="Rectangle 9"/>
          <p:cNvSpPr/>
          <p:nvPr userDrawn="1"/>
        </p:nvSpPr>
        <p:spPr>
          <a:xfrm>
            <a:off x="6340795"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4</a:t>
            </a:r>
            <a:endParaRPr lang="en-GB" sz="1400" dirty="0"/>
          </a:p>
        </p:txBody>
      </p:sp>
      <p:sp>
        <p:nvSpPr>
          <p:cNvPr id="11" name="Rectangle 10"/>
          <p:cNvSpPr/>
          <p:nvPr userDrawn="1"/>
        </p:nvSpPr>
        <p:spPr>
          <a:xfrm>
            <a:off x="8292468"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5</a:t>
            </a:r>
            <a:endParaRPr lang="en-GB" sz="1400" dirty="0"/>
          </a:p>
        </p:txBody>
      </p:sp>
      <p:sp>
        <p:nvSpPr>
          <p:cNvPr id="12" name="Rectangle 11"/>
          <p:cNvSpPr/>
          <p:nvPr userDrawn="1"/>
        </p:nvSpPr>
        <p:spPr>
          <a:xfrm>
            <a:off x="10244138"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6</a:t>
            </a:r>
            <a:endParaRPr lang="en-GB" sz="1400" dirty="0"/>
          </a:p>
        </p:txBody>
      </p:sp>
      <p:cxnSp>
        <p:nvCxnSpPr>
          <p:cNvPr id="14" name="Straight Connector 13"/>
          <p:cNvCxnSpPr/>
          <p:nvPr userDrawn="1"/>
        </p:nvCxnSpPr>
        <p:spPr>
          <a:xfrm>
            <a:off x="2314099"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4265772"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6217445"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8169118"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0120791"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Box 12"/>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a:solidFill>
                  <a:srgbClr val="FF0000"/>
                </a:solidFill>
              </a:rPr>
              <a:t>These slides provide</a:t>
            </a:r>
            <a:r>
              <a:rPr lang="en-US" sz="1050" baseline="0" dirty="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a:solidFill>
                <a:srgbClr val="FF0000"/>
              </a:solidFill>
            </a:endParaRPr>
          </a:p>
          <a:p>
            <a:pPr algn="l"/>
            <a:r>
              <a:rPr lang="en-US" sz="1050" baseline="0" dirty="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6698501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x">
  <p:cSld name="Title slide B: blue">
    <p:bg>
      <p:bgPr>
        <a:solidFill>
          <a:srgbClr val="002C77"/>
        </a:solidFill>
        <a:effectLst/>
      </p:bgPr>
    </p:bg>
    <p:spTree>
      <p:nvGrpSpPr>
        <p:cNvPr id="1" name=""/>
        <p:cNvGrpSpPr/>
        <p:nvPr/>
      </p:nvGrpSpPr>
      <p:grpSpPr>
        <a:xfrm>
          <a:off x="0" y="0"/>
          <a:ext cx="0" cy="0"/>
          <a:chOff x="0" y="0"/>
          <a:chExt cx="0" cy="0"/>
        </a:xfrm>
      </p:grpSpPr>
      <p:pic>
        <p:nvPicPr>
          <p:cNvPr id="308" name="image11.png"/>
          <p:cNvPicPr>
            <a:picLocks noChangeAspect="1"/>
          </p:cNvPicPr>
          <p:nvPr/>
        </p:nvPicPr>
        <p:blipFill>
          <a:blip r:embed="rId2"/>
          <a:stretch>
            <a:fillRect/>
          </a:stretch>
        </p:blipFill>
        <p:spPr>
          <a:xfrm>
            <a:off x="486802" y="341761"/>
            <a:ext cx="1623976" cy="338329"/>
          </a:xfrm>
          <a:prstGeom prst="rect">
            <a:avLst/>
          </a:prstGeom>
          <a:ln w="12700">
            <a:miter lim="400000"/>
          </a:ln>
        </p:spPr>
      </p:pic>
      <p:sp>
        <p:nvSpPr>
          <p:cNvPr id="309" name="Shape 309"/>
          <p:cNvSpPr/>
          <p:nvPr/>
        </p:nvSpPr>
        <p:spPr>
          <a:xfrm>
            <a:off x="485774" y="6257135"/>
            <a:ext cx="1784624" cy="1397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lvl1pPr>
              <a:defRPr sz="1000">
                <a:solidFill>
                  <a:srgbClr val="FFFFFF"/>
                </a:solidFill>
              </a:defRPr>
            </a:lvl1pPr>
          </a:lstStyle>
          <a:p>
            <a:r>
              <a:t>A business of Marsh McLennan</a:t>
            </a:r>
          </a:p>
        </p:txBody>
      </p:sp>
      <p:sp>
        <p:nvSpPr>
          <p:cNvPr id="310" name="Shape 310"/>
          <p:cNvSpPr>
            <a:spLocks noGrp="1"/>
          </p:cNvSpPr>
          <p:nvPr>
            <p:ph type="pic" sz="quarter" idx="13"/>
          </p:nvPr>
        </p:nvSpPr>
        <p:spPr>
          <a:xfrm>
            <a:off x="8133618" y="361950"/>
            <a:ext cx="3575783" cy="495301"/>
          </a:xfrm>
          <a:prstGeom prst="rect">
            <a:avLst/>
          </a:prstGeom>
        </p:spPr>
        <p:txBody>
          <a:bodyPr lIns="91439" tIns="45719" rIns="91439" bIns="45719"/>
          <a:lstStyle/>
          <a:p>
            <a:endParaRPr/>
          </a:p>
        </p:txBody>
      </p:sp>
      <p:sp>
        <p:nvSpPr>
          <p:cNvPr id="311" name="Shape 311"/>
          <p:cNvSpPr>
            <a:spLocks noGrp="1"/>
          </p:cNvSpPr>
          <p:nvPr>
            <p:ph type="body" sz="quarter" idx="14"/>
          </p:nvPr>
        </p:nvSpPr>
        <p:spPr>
          <a:xfrm>
            <a:off x="485775" y="4870889"/>
            <a:ext cx="7400925" cy="1038526"/>
          </a:xfrm>
          <a:prstGeom prst="rect">
            <a:avLst/>
          </a:prstGeom>
        </p:spPr>
        <p:txBody>
          <a:bodyPr anchor="b"/>
          <a:lstStyle>
            <a:lvl1pPr>
              <a:spcBef>
                <a:spcPts val="0"/>
              </a:spcBef>
              <a:defRPr sz="1400">
                <a:solidFill>
                  <a:srgbClr val="FFFFFF"/>
                </a:solidFill>
              </a:defRPr>
            </a:lvl1pPr>
          </a:lstStyle>
          <a:p>
            <a:r>
              <a:t> </a:t>
            </a:r>
          </a:p>
        </p:txBody>
      </p:sp>
      <p:sp>
        <p:nvSpPr>
          <p:cNvPr id="312" name="Shape 312"/>
          <p:cNvSpPr>
            <a:spLocks noGrp="1"/>
          </p:cNvSpPr>
          <p:nvPr>
            <p:ph type="title"/>
          </p:nvPr>
        </p:nvSpPr>
        <p:spPr>
          <a:xfrm>
            <a:off x="448437" y="1764792"/>
            <a:ext cx="9365489" cy="1600201"/>
          </a:xfrm>
          <a:prstGeom prst="rect">
            <a:avLst/>
          </a:prstGeom>
        </p:spPr>
        <p:txBody>
          <a:bodyPr>
            <a:normAutofit/>
          </a:bodyPr>
          <a:lstStyle>
            <a:lvl1pPr>
              <a:lnSpc>
                <a:spcPct val="90000"/>
              </a:lnSpc>
              <a:defRPr sz="6000">
                <a:solidFill>
                  <a:srgbClr val="FFFFFF"/>
                </a:solidFill>
              </a:defRPr>
            </a:lvl1pPr>
          </a:lstStyle>
          <a:p>
            <a:r>
              <a:t>Texto del título</a:t>
            </a:r>
          </a:p>
        </p:txBody>
      </p:sp>
      <p:sp>
        <p:nvSpPr>
          <p:cNvPr id="313" name="Shape 313"/>
          <p:cNvSpPr>
            <a:spLocks noGrp="1"/>
          </p:cNvSpPr>
          <p:nvPr>
            <p:ph type="body" sz="quarter" idx="1"/>
          </p:nvPr>
        </p:nvSpPr>
        <p:spPr>
          <a:xfrm>
            <a:off x="462026" y="3557015"/>
            <a:ext cx="9310624" cy="788378"/>
          </a:xfrm>
          <a:prstGeom prst="rect">
            <a:avLst/>
          </a:prstGeom>
        </p:spPr>
        <p:txBody>
          <a:bodyPr>
            <a:normAutofit/>
          </a:bodyPr>
          <a:lstStyle>
            <a:lvl1pPr>
              <a:defRPr sz="2400">
                <a:solidFill>
                  <a:srgbClr val="FFFFFF"/>
                </a:solidFill>
              </a:defRPr>
            </a:lvl1pPr>
            <a:lvl2pPr marL="0" indent="457200">
              <a:buSzTx/>
              <a:buNone/>
              <a:defRPr sz="2400">
                <a:solidFill>
                  <a:srgbClr val="FFFFFF"/>
                </a:solidFill>
              </a:defRPr>
            </a:lvl2pPr>
            <a:lvl3pPr marL="0" indent="914400">
              <a:buSzTx/>
              <a:buNone/>
              <a:defRPr sz="2400">
                <a:solidFill>
                  <a:srgbClr val="FFFFFF"/>
                </a:solidFill>
              </a:defRPr>
            </a:lvl3pPr>
            <a:lvl4pPr marL="0" indent="1371600">
              <a:buSzTx/>
              <a:buNone/>
              <a:defRPr sz="2400">
                <a:solidFill>
                  <a:srgbClr val="FFFFFF"/>
                </a:solidFill>
              </a:defRPr>
            </a:lvl4pPr>
            <a:lvl5pPr marL="0" indent="1828800">
              <a:buSzTx/>
              <a:buNone/>
              <a:defRPr sz="2400">
                <a:solidFill>
                  <a:srgbClr val="FFFFFF"/>
                </a:solidFill>
              </a:defRPr>
            </a:lvl5pPr>
          </a:lstStyle>
          <a:p>
            <a:r>
              <a:t>Nivel de texto 1</a:t>
            </a:r>
          </a:p>
          <a:p>
            <a:pPr lvl="1"/>
            <a:r>
              <a:t>Nivel de texto 2</a:t>
            </a:r>
          </a:p>
          <a:p>
            <a:pPr lvl="2"/>
            <a:r>
              <a:t>Nivel de texto 3</a:t>
            </a:r>
          </a:p>
          <a:p>
            <a:pPr lvl="3"/>
            <a:r>
              <a:t>Nivel de texto 4</a:t>
            </a:r>
          </a:p>
          <a:p>
            <a:pPr lvl="4"/>
            <a:r>
              <a:t>Nivel de texto 5</a:t>
            </a:r>
          </a:p>
        </p:txBody>
      </p:sp>
      <p:sp>
        <p:nvSpPr>
          <p:cNvPr id="314" name="Shape 314"/>
          <p:cNvSpPr>
            <a:spLocks noGrp="1"/>
          </p:cNvSpPr>
          <p:nvPr>
            <p:ph type="sldNum" sz="quarter" idx="2"/>
          </p:nvPr>
        </p:nvSpPr>
        <p:spPr>
          <a:prstGeom prst="rect">
            <a:avLst/>
          </a:prstGeom>
        </p:spPr>
        <p:txBody>
          <a:bodyPr/>
          <a:lstStyle/>
          <a:p>
            <a:fld id="{86CB4B4D-7CA3-9044-876B-883B54F8677D}" type="slidenum">
              <a:t>‹Nº›</a:t>
            </a:fld>
            <a:endParaRPr/>
          </a:p>
        </p:txBody>
      </p:sp>
    </p:spTree>
  </p:cSld>
  <p:clrMapOvr>
    <a:masterClrMapping/>
  </p:clrMapOvr>
  <p:transition spd="med"/>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Interactive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485776" y="361950"/>
            <a:ext cx="9509124"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5429250"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p:ph type="body" sz="half" idx="2" hasCustomPrompt="1"/>
          </p:nvPr>
        </p:nvSpPr>
        <p:spPr>
          <a:xfrm>
            <a:off x="485776" y="806807"/>
            <a:ext cx="9509124"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8" name="Rectangle 7"/>
          <p:cNvSpPr/>
          <p:nvPr userDrawn="1"/>
        </p:nvSpPr>
        <p:spPr>
          <a:xfrm>
            <a:off x="10239375" y="3176"/>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a:t>
            </a:r>
            <a:r>
              <a:rPr lang="en-GB" sz="1400" baseline="0" dirty="0"/>
              <a:t> 1</a:t>
            </a:r>
            <a:endParaRPr lang="en-GB" sz="1400" dirty="0"/>
          </a:p>
        </p:txBody>
      </p:sp>
      <p:sp>
        <p:nvSpPr>
          <p:cNvPr id="9" name="Rectangle 8"/>
          <p:cNvSpPr/>
          <p:nvPr userDrawn="1"/>
        </p:nvSpPr>
        <p:spPr>
          <a:xfrm>
            <a:off x="10239375" y="1146251"/>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 </a:t>
            </a:r>
            <a:r>
              <a:rPr lang="en-GB" sz="1400" baseline="0" dirty="0"/>
              <a:t>2</a:t>
            </a:r>
            <a:endParaRPr lang="en-GB" sz="1400" dirty="0"/>
          </a:p>
        </p:txBody>
      </p:sp>
      <p:sp>
        <p:nvSpPr>
          <p:cNvPr id="10" name="Rectangle 9"/>
          <p:cNvSpPr/>
          <p:nvPr userDrawn="1"/>
        </p:nvSpPr>
        <p:spPr>
          <a:xfrm>
            <a:off x="10239375" y="2289325"/>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a:t>
            </a:r>
            <a:r>
              <a:rPr lang="en-GB" sz="1400" baseline="0" dirty="0"/>
              <a:t> 3</a:t>
            </a:r>
            <a:endParaRPr lang="en-GB" sz="1400" dirty="0"/>
          </a:p>
        </p:txBody>
      </p:sp>
      <p:sp>
        <p:nvSpPr>
          <p:cNvPr id="11" name="Rectangle 10"/>
          <p:cNvSpPr/>
          <p:nvPr userDrawn="1"/>
        </p:nvSpPr>
        <p:spPr>
          <a:xfrm>
            <a:off x="10239375" y="3432400"/>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a:t>
            </a:r>
            <a:r>
              <a:rPr lang="en-GB" sz="1400" baseline="0" dirty="0"/>
              <a:t> 4</a:t>
            </a:r>
            <a:endParaRPr lang="en-GB" sz="1400" dirty="0"/>
          </a:p>
        </p:txBody>
      </p:sp>
      <p:sp>
        <p:nvSpPr>
          <p:cNvPr id="12" name="Rectangle 11"/>
          <p:cNvSpPr/>
          <p:nvPr userDrawn="1"/>
        </p:nvSpPr>
        <p:spPr>
          <a:xfrm>
            <a:off x="10239375" y="4575475"/>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a:t>
            </a:r>
            <a:r>
              <a:rPr lang="en-GB" sz="1400" baseline="0" dirty="0"/>
              <a:t> 5</a:t>
            </a:r>
            <a:endParaRPr lang="en-GB" sz="1400" dirty="0"/>
          </a:p>
        </p:txBody>
      </p:sp>
      <p:sp>
        <p:nvSpPr>
          <p:cNvPr id="14" name="Rectangle 13"/>
          <p:cNvSpPr/>
          <p:nvPr userDrawn="1"/>
        </p:nvSpPr>
        <p:spPr>
          <a:xfrm>
            <a:off x="10239375" y="5718547"/>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a:t>
            </a:r>
            <a:r>
              <a:rPr lang="en-GB" sz="1400" baseline="0" dirty="0"/>
              <a:t> 6</a:t>
            </a:r>
            <a:endParaRPr lang="en-GB" sz="1400" dirty="0"/>
          </a:p>
        </p:txBody>
      </p:sp>
      <p:sp>
        <p:nvSpPr>
          <p:cNvPr id="18" name="Freeform 10"/>
          <p:cNvSpPr>
            <a:spLocks noEditPoints="1"/>
          </p:cNvSpPr>
          <p:nvPr userDrawn="1"/>
        </p:nvSpPr>
        <p:spPr bwMode="auto">
          <a:xfrm>
            <a:off x="11069333" y="1424425"/>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23"/>
          <p:cNvSpPr>
            <a:spLocks noEditPoints="1"/>
          </p:cNvSpPr>
          <p:nvPr userDrawn="1"/>
        </p:nvSpPr>
        <p:spPr bwMode="auto">
          <a:xfrm>
            <a:off x="11081842" y="4837714"/>
            <a:ext cx="267691" cy="317727"/>
          </a:xfrm>
          <a:custGeom>
            <a:avLst/>
            <a:gdLst>
              <a:gd name="T0" fmla="*/ 76 w 80"/>
              <a:gd name="T1" fmla="*/ 96 h 96"/>
              <a:gd name="T2" fmla="*/ 40 w 80"/>
              <a:gd name="T3" fmla="*/ 96 h 96"/>
              <a:gd name="T4" fmla="*/ 36 w 80"/>
              <a:gd name="T5" fmla="*/ 92 h 96"/>
              <a:gd name="T6" fmla="*/ 36 w 80"/>
              <a:gd name="T7" fmla="*/ 76 h 96"/>
              <a:gd name="T8" fmla="*/ 40 w 80"/>
              <a:gd name="T9" fmla="*/ 72 h 96"/>
              <a:gd name="T10" fmla="*/ 76 w 80"/>
              <a:gd name="T11" fmla="*/ 72 h 96"/>
              <a:gd name="T12" fmla="*/ 80 w 80"/>
              <a:gd name="T13" fmla="*/ 76 h 96"/>
              <a:gd name="T14" fmla="*/ 80 w 80"/>
              <a:gd name="T15" fmla="*/ 92 h 96"/>
              <a:gd name="T16" fmla="*/ 76 w 80"/>
              <a:gd name="T17" fmla="*/ 96 h 96"/>
              <a:gd name="T18" fmla="*/ 44 w 80"/>
              <a:gd name="T19" fmla="*/ 88 h 96"/>
              <a:gd name="T20" fmla="*/ 72 w 80"/>
              <a:gd name="T21" fmla="*/ 88 h 96"/>
              <a:gd name="T22" fmla="*/ 72 w 80"/>
              <a:gd name="T23" fmla="*/ 80 h 96"/>
              <a:gd name="T24" fmla="*/ 44 w 80"/>
              <a:gd name="T25" fmla="*/ 80 h 96"/>
              <a:gd name="T26" fmla="*/ 44 w 80"/>
              <a:gd name="T27" fmla="*/ 88 h 96"/>
              <a:gd name="T28" fmla="*/ 76 w 80"/>
              <a:gd name="T29" fmla="*/ 64 h 96"/>
              <a:gd name="T30" fmla="*/ 4 w 80"/>
              <a:gd name="T31" fmla="*/ 64 h 96"/>
              <a:gd name="T32" fmla="*/ 0 w 80"/>
              <a:gd name="T33" fmla="*/ 60 h 96"/>
              <a:gd name="T34" fmla="*/ 0 w 80"/>
              <a:gd name="T35" fmla="*/ 4 h 96"/>
              <a:gd name="T36" fmla="*/ 4 w 80"/>
              <a:gd name="T37" fmla="*/ 0 h 96"/>
              <a:gd name="T38" fmla="*/ 76 w 80"/>
              <a:gd name="T39" fmla="*/ 0 h 96"/>
              <a:gd name="T40" fmla="*/ 80 w 80"/>
              <a:gd name="T41" fmla="*/ 4 h 96"/>
              <a:gd name="T42" fmla="*/ 80 w 80"/>
              <a:gd name="T43" fmla="*/ 60 h 96"/>
              <a:gd name="T44" fmla="*/ 76 w 80"/>
              <a:gd name="T45" fmla="*/ 64 h 96"/>
              <a:gd name="T46" fmla="*/ 8 w 80"/>
              <a:gd name="T47" fmla="*/ 56 h 96"/>
              <a:gd name="T48" fmla="*/ 72 w 80"/>
              <a:gd name="T49" fmla="*/ 56 h 96"/>
              <a:gd name="T50" fmla="*/ 72 w 80"/>
              <a:gd name="T51" fmla="*/ 24 h 96"/>
              <a:gd name="T52" fmla="*/ 8 w 80"/>
              <a:gd name="T53" fmla="*/ 24 h 96"/>
              <a:gd name="T54" fmla="*/ 8 w 80"/>
              <a:gd name="T55" fmla="*/ 56 h 96"/>
              <a:gd name="T56" fmla="*/ 8 w 80"/>
              <a:gd name="T57" fmla="*/ 16 h 96"/>
              <a:gd name="T58" fmla="*/ 72 w 80"/>
              <a:gd name="T59" fmla="*/ 16 h 96"/>
              <a:gd name="T60" fmla="*/ 72 w 80"/>
              <a:gd name="T61" fmla="*/ 8 h 96"/>
              <a:gd name="T62" fmla="*/ 8 w 80"/>
              <a:gd name="T63" fmla="*/ 8 h 96"/>
              <a:gd name="T64" fmla="*/ 8 w 80"/>
              <a:gd name="T65"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96">
                <a:moveTo>
                  <a:pt x="76" y="96"/>
                </a:moveTo>
                <a:cubicBezTo>
                  <a:pt x="40" y="96"/>
                  <a:pt x="40" y="96"/>
                  <a:pt x="40" y="96"/>
                </a:cubicBezTo>
                <a:cubicBezTo>
                  <a:pt x="38" y="96"/>
                  <a:pt x="36" y="94"/>
                  <a:pt x="36" y="92"/>
                </a:cubicBezTo>
                <a:cubicBezTo>
                  <a:pt x="36" y="76"/>
                  <a:pt x="36" y="76"/>
                  <a:pt x="36" y="76"/>
                </a:cubicBezTo>
                <a:cubicBezTo>
                  <a:pt x="36" y="74"/>
                  <a:pt x="38" y="72"/>
                  <a:pt x="40" y="72"/>
                </a:cubicBezTo>
                <a:cubicBezTo>
                  <a:pt x="76" y="72"/>
                  <a:pt x="76" y="72"/>
                  <a:pt x="76" y="72"/>
                </a:cubicBezTo>
                <a:cubicBezTo>
                  <a:pt x="78" y="72"/>
                  <a:pt x="80" y="74"/>
                  <a:pt x="80" y="76"/>
                </a:cubicBezTo>
                <a:cubicBezTo>
                  <a:pt x="80" y="92"/>
                  <a:pt x="80" y="92"/>
                  <a:pt x="80" y="92"/>
                </a:cubicBezTo>
                <a:cubicBezTo>
                  <a:pt x="80" y="94"/>
                  <a:pt x="78" y="96"/>
                  <a:pt x="76" y="96"/>
                </a:cubicBezTo>
                <a:close/>
                <a:moveTo>
                  <a:pt x="44" y="88"/>
                </a:moveTo>
                <a:cubicBezTo>
                  <a:pt x="72" y="88"/>
                  <a:pt x="72" y="88"/>
                  <a:pt x="72" y="88"/>
                </a:cubicBezTo>
                <a:cubicBezTo>
                  <a:pt x="72" y="80"/>
                  <a:pt x="72" y="80"/>
                  <a:pt x="72" y="80"/>
                </a:cubicBezTo>
                <a:cubicBezTo>
                  <a:pt x="44" y="80"/>
                  <a:pt x="44" y="80"/>
                  <a:pt x="44" y="80"/>
                </a:cubicBezTo>
                <a:lnTo>
                  <a:pt x="44" y="88"/>
                </a:lnTo>
                <a:close/>
                <a:moveTo>
                  <a:pt x="76" y="64"/>
                </a:moveTo>
                <a:cubicBezTo>
                  <a:pt x="4" y="64"/>
                  <a:pt x="4" y="64"/>
                  <a:pt x="4" y="64"/>
                </a:cubicBezTo>
                <a:cubicBezTo>
                  <a:pt x="2" y="64"/>
                  <a:pt x="0" y="62"/>
                  <a:pt x="0" y="60"/>
                </a:cubicBezTo>
                <a:cubicBezTo>
                  <a:pt x="0" y="4"/>
                  <a:pt x="0" y="4"/>
                  <a:pt x="0" y="4"/>
                </a:cubicBezTo>
                <a:cubicBezTo>
                  <a:pt x="0" y="2"/>
                  <a:pt x="2" y="0"/>
                  <a:pt x="4" y="0"/>
                </a:cubicBezTo>
                <a:cubicBezTo>
                  <a:pt x="76" y="0"/>
                  <a:pt x="76" y="0"/>
                  <a:pt x="76" y="0"/>
                </a:cubicBezTo>
                <a:cubicBezTo>
                  <a:pt x="78" y="0"/>
                  <a:pt x="80" y="2"/>
                  <a:pt x="80" y="4"/>
                </a:cubicBezTo>
                <a:cubicBezTo>
                  <a:pt x="80" y="60"/>
                  <a:pt x="80" y="60"/>
                  <a:pt x="80" y="60"/>
                </a:cubicBezTo>
                <a:cubicBezTo>
                  <a:pt x="80" y="62"/>
                  <a:pt x="78" y="64"/>
                  <a:pt x="76" y="64"/>
                </a:cubicBezTo>
                <a:close/>
                <a:moveTo>
                  <a:pt x="8" y="56"/>
                </a:moveTo>
                <a:cubicBezTo>
                  <a:pt x="72" y="56"/>
                  <a:pt x="72" y="56"/>
                  <a:pt x="72" y="56"/>
                </a:cubicBezTo>
                <a:cubicBezTo>
                  <a:pt x="72" y="24"/>
                  <a:pt x="72" y="24"/>
                  <a:pt x="72" y="24"/>
                </a:cubicBezTo>
                <a:cubicBezTo>
                  <a:pt x="8" y="24"/>
                  <a:pt x="8" y="24"/>
                  <a:pt x="8" y="24"/>
                </a:cubicBezTo>
                <a:lnTo>
                  <a:pt x="8" y="56"/>
                </a:lnTo>
                <a:close/>
                <a:moveTo>
                  <a:pt x="8" y="16"/>
                </a:moveTo>
                <a:cubicBezTo>
                  <a:pt x="72" y="16"/>
                  <a:pt x="72" y="16"/>
                  <a:pt x="72" y="16"/>
                </a:cubicBezTo>
                <a:cubicBezTo>
                  <a:pt x="72" y="8"/>
                  <a:pt x="72" y="8"/>
                  <a:pt x="72" y="8"/>
                </a:cubicBezTo>
                <a:cubicBezTo>
                  <a:pt x="8" y="8"/>
                  <a:pt x="8" y="8"/>
                  <a:pt x="8" y="8"/>
                </a:cubicBezTo>
                <a:lnTo>
                  <a:pt x="8"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0" name="Group 13"/>
          <p:cNvGrpSpPr>
            <a:grpSpLocks noChangeAspect="1"/>
          </p:cNvGrpSpPr>
          <p:nvPr userDrawn="1"/>
        </p:nvGrpSpPr>
        <p:grpSpPr bwMode="auto">
          <a:xfrm>
            <a:off x="11081216" y="2554763"/>
            <a:ext cx="268942" cy="323982"/>
            <a:chOff x="292" y="2131"/>
            <a:chExt cx="215" cy="259"/>
          </a:xfrm>
          <a:solidFill>
            <a:schemeClr val="bg1"/>
          </a:solidFill>
        </p:grpSpPr>
        <p:sp>
          <p:nvSpPr>
            <p:cNvPr id="21"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 name="Group 26"/>
          <p:cNvGrpSpPr>
            <a:grpSpLocks noChangeAspect="1"/>
          </p:cNvGrpSpPr>
          <p:nvPr userDrawn="1"/>
        </p:nvGrpSpPr>
        <p:grpSpPr bwMode="auto">
          <a:xfrm>
            <a:off x="11081841" y="5970546"/>
            <a:ext cx="267692" cy="317727"/>
            <a:chOff x="3091" y="1784"/>
            <a:chExt cx="214" cy="254"/>
          </a:xfrm>
          <a:solidFill>
            <a:schemeClr val="bg1"/>
          </a:solidFill>
        </p:grpSpPr>
        <p:sp>
          <p:nvSpPr>
            <p:cNvPr id="24" name="Freeform 27"/>
            <p:cNvSpPr>
              <a:spLocks noEditPoints="1"/>
            </p:cNvSpPr>
            <p:nvPr/>
          </p:nvSpPr>
          <p:spPr bwMode="auto">
            <a:xfrm>
              <a:off x="3091" y="1784"/>
              <a:ext cx="214" cy="254"/>
            </a:xfrm>
            <a:custGeom>
              <a:avLst/>
              <a:gdLst>
                <a:gd name="T0" fmla="*/ 76 w 80"/>
                <a:gd name="T1" fmla="*/ 96 h 96"/>
                <a:gd name="T2" fmla="*/ 4 w 80"/>
                <a:gd name="T3" fmla="*/ 96 h 96"/>
                <a:gd name="T4" fmla="*/ 0 w 80"/>
                <a:gd name="T5" fmla="*/ 92 h 96"/>
                <a:gd name="T6" fmla="*/ 0 w 80"/>
                <a:gd name="T7" fmla="*/ 4 h 96"/>
                <a:gd name="T8" fmla="*/ 4 w 80"/>
                <a:gd name="T9" fmla="*/ 0 h 96"/>
                <a:gd name="T10" fmla="*/ 76 w 80"/>
                <a:gd name="T11" fmla="*/ 0 h 96"/>
                <a:gd name="T12" fmla="*/ 80 w 80"/>
                <a:gd name="T13" fmla="*/ 4 h 96"/>
                <a:gd name="T14" fmla="*/ 80 w 80"/>
                <a:gd name="T15" fmla="*/ 92 h 96"/>
                <a:gd name="T16" fmla="*/ 76 w 80"/>
                <a:gd name="T17" fmla="*/ 96 h 96"/>
                <a:gd name="T18" fmla="*/ 8 w 80"/>
                <a:gd name="T19" fmla="*/ 88 h 96"/>
                <a:gd name="T20" fmla="*/ 72 w 80"/>
                <a:gd name="T21" fmla="*/ 88 h 96"/>
                <a:gd name="T22" fmla="*/ 72 w 80"/>
                <a:gd name="T23" fmla="*/ 8 h 96"/>
                <a:gd name="T24" fmla="*/ 8 w 80"/>
                <a:gd name="T25" fmla="*/ 8 h 96"/>
                <a:gd name="T26" fmla="*/ 8 w 80"/>
                <a:gd name="T27" fmla="*/ 88 h 96"/>
                <a:gd name="T28" fmla="*/ 40 w 80"/>
                <a:gd name="T29" fmla="*/ 80 h 96"/>
                <a:gd name="T30" fmla="*/ 36 w 80"/>
                <a:gd name="T31" fmla="*/ 76 h 96"/>
                <a:gd name="T32" fmla="*/ 36 w 80"/>
                <a:gd name="T33" fmla="*/ 20 h 96"/>
                <a:gd name="T34" fmla="*/ 40 w 80"/>
                <a:gd name="T35" fmla="*/ 16 h 96"/>
                <a:gd name="T36" fmla="*/ 44 w 80"/>
                <a:gd name="T37" fmla="*/ 20 h 96"/>
                <a:gd name="T38" fmla="*/ 44 w 80"/>
                <a:gd name="T39" fmla="*/ 76 h 96"/>
                <a:gd name="T40" fmla="*/ 40 w 80"/>
                <a:gd name="T41" fmla="*/ 8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96">
                  <a:moveTo>
                    <a:pt x="76" y="96"/>
                  </a:moveTo>
                  <a:cubicBezTo>
                    <a:pt x="4" y="96"/>
                    <a:pt x="4" y="96"/>
                    <a:pt x="4" y="96"/>
                  </a:cubicBezTo>
                  <a:cubicBezTo>
                    <a:pt x="2" y="96"/>
                    <a:pt x="0" y="94"/>
                    <a:pt x="0" y="92"/>
                  </a:cubicBezTo>
                  <a:cubicBezTo>
                    <a:pt x="0" y="4"/>
                    <a:pt x="0" y="4"/>
                    <a:pt x="0" y="4"/>
                  </a:cubicBezTo>
                  <a:cubicBezTo>
                    <a:pt x="0" y="2"/>
                    <a:pt x="2" y="0"/>
                    <a:pt x="4" y="0"/>
                  </a:cubicBezTo>
                  <a:cubicBezTo>
                    <a:pt x="76" y="0"/>
                    <a:pt x="76" y="0"/>
                    <a:pt x="76" y="0"/>
                  </a:cubicBezTo>
                  <a:cubicBezTo>
                    <a:pt x="78" y="0"/>
                    <a:pt x="80" y="2"/>
                    <a:pt x="80" y="4"/>
                  </a:cubicBezTo>
                  <a:cubicBezTo>
                    <a:pt x="80" y="92"/>
                    <a:pt x="80" y="92"/>
                    <a:pt x="80" y="92"/>
                  </a:cubicBezTo>
                  <a:cubicBezTo>
                    <a:pt x="80" y="94"/>
                    <a:pt x="78" y="96"/>
                    <a:pt x="76" y="96"/>
                  </a:cubicBezTo>
                  <a:close/>
                  <a:moveTo>
                    <a:pt x="8" y="88"/>
                  </a:moveTo>
                  <a:cubicBezTo>
                    <a:pt x="72" y="88"/>
                    <a:pt x="72" y="88"/>
                    <a:pt x="72" y="88"/>
                  </a:cubicBezTo>
                  <a:cubicBezTo>
                    <a:pt x="72" y="8"/>
                    <a:pt x="72" y="8"/>
                    <a:pt x="72" y="8"/>
                  </a:cubicBezTo>
                  <a:cubicBezTo>
                    <a:pt x="8" y="8"/>
                    <a:pt x="8" y="8"/>
                    <a:pt x="8" y="8"/>
                  </a:cubicBezTo>
                  <a:lnTo>
                    <a:pt x="8" y="88"/>
                  </a:lnTo>
                  <a:close/>
                  <a:moveTo>
                    <a:pt x="40" y="80"/>
                  </a:moveTo>
                  <a:cubicBezTo>
                    <a:pt x="38" y="80"/>
                    <a:pt x="36" y="78"/>
                    <a:pt x="36" y="76"/>
                  </a:cubicBezTo>
                  <a:cubicBezTo>
                    <a:pt x="36" y="20"/>
                    <a:pt x="36" y="20"/>
                    <a:pt x="36" y="20"/>
                  </a:cubicBezTo>
                  <a:cubicBezTo>
                    <a:pt x="36" y="18"/>
                    <a:pt x="38" y="16"/>
                    <a:pt x="40" y="16"/>
                  </a:cubicBezTo>
                  <a:cubicBezTo>
                    <a:pt x="42" y="16"/>
                    <a:pt x="44" y="18"/>
                    <a:pt x="44" y="20"/>
                  </a:cubicBezTo>
                  <a:cubicBezTo>
                    <a:pt x="44" y="76"/>
                    <a:pt x="44" y="76"/>
                    <a:pt x="44" y="76"/>
                  </a:cubicBezTo>
                  <a:cubicBezTo>
                    <a:pt x="44" y="78"/>
                    <a:pt x="42"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8"/>
            <p:cNvSpPr>
              <a:spLocks/>
            </p:cNvSpPr>
            <p:nvPr/>
          </p:nvSpPr>
          <p:spPr bwMode="auto">
            <a:xfrm>
              <a:off x="3145" y="1837"/>
              <a:ext cx="101" cy="138"/>
            </a:xfrm>
            <a:custGeom>
              <a:avLst/>
              <a:gdLst>
                <a:gd name="T0" fmla="*/ 19 w 38"/>
                <a:gd name="T1" fmla="*/ 52 h 52"/>
                <a:gd name="T2" fmla="*/ 3 w 38"/>
                <a:gd name="T3" fmla="*/ 49 h 52"/>
                <a:gd name="T4" fmla="*/ 1 w 38"/>
                <a:gd name="T5" fmla="*/ 43 h 52"/>
                <a:gd name="T6" fmla="*/ 6 w 38"/>
                <a:gd name="T7" fmla="*/ 41 h 52"/>
                <a:gd name="T8" fmla="*/ 27 w 38"/>
                <a:gd name="T9" fmla="*/ 42 h 52"/>
                <a:gd name="T10" fmla="*/ 29 w 38"/>
                <a:gd name="T11" fmla="*/ 37 h 52"/>
                <a:gd name="T12" fmla="*/ 19 w 38"/>
                <a:gd name="T13" fmla="*/ 31 h 52"/>
                <a:gd name="T14" fmla="*/ 3 w 38"/>
                <a:gd name="T15" fmla="*/ 15 h 52"/>
                <a:gd name="T16" fmla="*/ 9 w 38"/>
                <a:gd name="T17" fmla="*/ 4 h 52"/>
                <a:gd name="T18" fmla="*/ 36 w 38"/>
                <a:gd name="T19" fmla="*/ 5 h 52"/>
                <a:gd name="T20" fmla="*/ 37 w 38"/>
                <a:gd name="T21" fmla="*/ 11 h 52"/>
                <a:gd name="T22" fmla="*/ 32 w 38"/>
                <a:gd name="T23" fmla="*/ 12 h 52"/>
                <a:gd name="T24" fmla="*/ 13 w 38"/>
                <a:gd name="T25" fmla="*/ 11 h 52"/>
                <a:gd name="T26" fmla="*/ 11 w 38"/>
                <a:gd name="T27" fmla="*/ 15 h 52"/>
                <a:gd name="T28" fmla="*/ 22 w 38"/>
                <a:gd name="T29" fmla="*/ 23 h 52"/>
                <a:gd name="T30" fmla="*/ 37 w 38"/>
                <a:gd name="T31" fmla="*/ 37 h 52"/>
                <a:gd name="T32" fmla="*/ 31 w 38"/>
                <a:gd name="T33" fmla="*/ 49 h 52"/>
                <a:gd name="T34" fmla="*/ 19 w 38"/>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2">
                  <a:moveTo>
                    <a:pt x="19" y="52"/>
                  </a:moveTo>
                  <a:cubicBezTo>
                    <a:pt x="14" y="52"/>
                    <a:pt x="8" y="50"/>
                    <a:pt x="3" y="49"/>
                  </a:cubicBezTo>
                  <a:cubicBezTo>
                    <a:pt x="1" y="48"/>
                    <a:pt x="0" y="45"/>
                    <a:pt x="1" y="43"/>
                  </a:cubicBezTo>
                  <a:cubicBezTo>
                    <a:pt x="1" y="41"/>
                    <a:pt x="4" y="40"/>
                    <a:pt x="6" y="41"/>
                  </a:cubicBezTo>
                  <a:cubicBezTo>
                    <a:pt x="14" y="44"/>
                    <a:pt x="23" y="45"/>
                    <a:pt x="27" y="42"/>
                  </a:cubicBezTo>
                  <a:cubicBezTo>
                    <a:pt x="28" y="41"/>
                    <a:pt x="29" y="40"/>
                    <a:pt x="29" y="37"/>
                  </a:cubicBezTo>
                  <a:cubicBezTo>
                    <a:pt x="29" y="34"/>
                    <a:pt x="26" y="33"/>
                    <a:pt x="19" y="31"/>
                  </a:cubicBezTo>
                  <a:cubicBezTo>
                    <a:pt x="12" y="28"/>
                    <a:pt x="3" y="25"/>
                    <a:pt x="3" y="15"/>
                  </a:cubicBezTo>
                  <a:cubicBezTo>
                    <a:pt x="3" y="10"/>
                    <a:pt x="5" y="6"/>
                    <a:pt x="9" y="4"/>
                  </a:cubicBezTo>
                  <a:cubicBezTo>
                    <a:pt x="17" y="0"/>
                    <a:pt x="30" y="2"/>
                    <a:pt x="36" y="5"/>
                  </a:cubicBezTo>
                  <a:cubicBezTo>
                    <a:pt x="37" y="6"/>
                    <a:pt x="38" y="9"/>
                    <a:pt x="37" y="11"/>
                  </a:cubicBezTo>
                  <a:cubicBezTo>
                    <a:pt x="36" y="13"/>
                    <a:pt x="34" y="13"/>
                    <a:pt x="32" y="12"/>
                  </a:cubicBezTo>
                  <a:cubicBezTo>
                    <a:pt x="28" y="10"/>
                    <a:pt x="18" y="8"/>
                    <a:pt x="13" y="11"/>
                  </a:cubicBezTo>
                  <a:cubicBezTo>
                    <a:pt x="11" y="12"/>
                    <a:pt x="11" y="13"/>
                    <a:pt x="11" y="15"/>
                  </a:cubicBezTo>
                  <a:cubicBezTo>
                    <a:pt x="11" y="19"/>
                    <a:pt x="14" y="21"/>
                    <a:pt x="22" y="23"/>
                  </a:cubicBezTo>
                  <a:cubicBezTo>
                    <a:pt x="28" y="25"/>
                    <a:pt x="37" y="28"/>
                    <a:pt x="37" y="37"/>
                  </a:cubicBezTo>
                  <a:cubicBezTo>
                    <a:pt x="37" y="43"/>
                    <a:pt x="34" y="47"/>
                    <a:pt x="31" y="49"/>
                  </a:cubicBezTo>
                  <a:cubicBezTo>
                    <a:pt x="28" y="51"/>
                    <a:pt x="24" y="52"/>
                    <a:pt x="1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4"/>
          <p:cNvGrpSpPr>
            <a:grpSpLocks noChangeAspect="1"/>
          </p:cNvGrpSpPr>
          <p:nvPr userDrawn="1"/>
        </p:nvGrpSpPr>
        <p:grpSpPr bwMode="auto">
          <a:xfrm>
            <a:off x="11055573" y="291565"/>
            <a:ext cx="320229" cy="292709"/>
            <a:chOff x="293" y="695"/>
            <a:chExt cx="256" cy="234"/>
          </a:xfrm>
          <a:solidFill>
            <a:schemeClr val="bg1"/>
          </a:solidFill>
        </p:grpSpPr>
        <p:sp>
          <p:nvSpPr>
            <p:cNvPr id="27"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9" name="Freeform 19"/>
          <p:cNvSpPr>
            <a:spLocks noEditPoints="1"/>
          </p:cNvSpPr>
          <p:nvPr userDrawn="1"/>
        </p:nvSpPr>
        <p:spPr bwMode="auto">
          <a:xfrm>
            <a:off x="11063704" y="3701460"/>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0" name="TextBox 29"/>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a:solidFill>
                  <a:srgbClr val="FF0000"/>
                </a:solidFill>
              </a:rPr>
              <a:t>These slides provide</a:t>
            </a:r>
            <a:r>
              <a:rPr lang="en-US" sz="1050" baseline="0" dirty="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a:solidFill>
                <a:srgbClr val="FF0000"/>
              </a:solidFill>
            </a:endParaRPr>
          </a:p>
          <a:p>
            <a:pPr algn="l"/>
            <a:r>
              <a:rPr lang="en-US" sz="1050" baseline="0" dirty="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357550987"/>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Interactive right condensed">
    <p:spTree>
      <p:nvGrpSpPr>
        <p:cNvPr id="1" name=""/>
        <p:cNvGrpSpPr/>
        <p:nvPr/>
      </p:nvGrpSpPr>
      <p:grpSpPr>
        <a:xfrm>
          <a:off x="0" y="0"/>
          <a:ext cx="0" cy="0"/>
          <a:chOff x="0" y="0"/>
          <a:chExt cx="0" cy="0"/>
        </a:xfrm>
      </p:grpSpPr>
      <p:sp>
        <p:nvSpPr>
          <p:cNvPr id="88" name="Rectangle 87"/>
          <p:cNvSpPr/>
          <p:nvPr userDrawn="1"/>
        </p:nvSpPr>
        <p:spPr>
          <a:xfrm>
            <a:off x="10033000" y="0"/>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6" name="Rectangle 65"/>
          <p:cNvSpPr/>
          <p:nvPr userDrawn="1"/>
        </p:nvSpPr>
        <p:spPr>
          <a:xfrm>
            <a:off x="10033000" y="685682"/>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7" name="Rectangle 66"/>
          <p:cNvSpPr/>
          <p:nvPr userDrawn="1"/>
        </p:nvSpPr>
        <p:spPr>
          <a:xfrm>
            <a:off x="10033000" y="1371364"/>
            <a:ext cx="2159000" cy="68685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3" name="Rectangle 102"/>
          <p:cNvSpPr/>
          <p:nvPr userDrawn="1"/>
        </p:nvSpPr>
        <p:spPr>
          <a:xfrm>
            <a:off x="10033000" y="2057046"/>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4" name="Rectangle 103"/>
          <p:cNvSpPr/>
          <p:nvPr userDrawn="1"/>
        </p:nvSpPr>
        <p:spPr>
          <a:xfrm>
            <a:off x="10033000" y="2742728"/>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5" name="Rectangle 104"/>
          <p:cNvSpPr/>
          <p:nvPr userDrawn="1"/>
        </p:nvSpPr>
        <p:spPr>
          <a:xfrm>
            <a:off x="10033000" y="3428410"/>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6" name="Rectangle 105"/>
          <p:cNvSpPr/>
          <p:nvPr userDrawn="1"/>
        </p:nvSpPr>
        <p:spPr>
          <a:xfrm>
            <a:off x="10033000" y="4114092"/>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7" name="Rectangle 106"/>
          <p:cNvSpPr/>
          <p:nvPr userDrawn="1"/>
        </p:nvSpPr>
        <p:spPr>
          <a:xfrm>
            <a:off x="10033000" y="4799774"/>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8" name="Rectangle 107"/>
          <p:cNvSpPr/>
          <p:nvPr userDrawn="1"/>
        </p:nvSpPr>
        <p:spPr>
          <a:xfrm>
            <a:off x="10033000" y="5485456"/>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9" name="Rectangle 108"/>
          <p:cNvSpPr/>
          <p:nvPr userDrawn="1"/>
        </p:nvSpPr>
        <p:spPr>
          <a:xfrm>
            <a:off x="10033000" y="6171142"/>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userDrawn="1">
            <p:ph type="title" hasCustomPrompt="1"/>
          </p:nvPr>
        </p:nvSpPr>
        <p:spPr>
          <a:xfrm>
            <a:off x="485776" y="361950"/>
            <a:ext cx="9509124"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userDrawn="1">
            <p:ph type="body" sz="half" idx="15" hasCustomPrompt="1"/>
          </p:nvPr>
        </p:nvSpPr>
        <p:spPr>
          <a:xfrm>
            <a:off x="5200650"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userDrawn="1">
            <p:ph type="body" sz="half" idx="2" hasCustomPrompt="1"/>
          </p:nvPr>
        </p:nvSpPr>
        <p:spPr>
          <a:xfrm>
            <a:off x="485776" y="806807"/>
            <a:ext cx="9509124"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grpSp>
        <p:nvGrpSpPr>
          <p:cNvPr id="100" name="Group 99"/>
          <p:cNvGrpSpPr/>
          <p:nvPr userDrawn="1"/>
        </p:nvGrpSpPr>
        <p:grpSpPr>
          <a:xfrm>
            <a:off x="10460877" y="866671"/>
            <a:ext cx="1208299" cy="268942"/>
            <a:chOff x="10460877" y="887251"/>
            <a:chExt cx="1208299" cy="268942"/>
          </a:xfrm>
        </p:grpSpPr>
        <p:sp>
          <p:nvSpPr>
            <p:cNvPr id="9" name="Rectangle 8"/>
            <p:cNvSpPr/>
            <p:nvPr userDrawn="1"/>
          </p:nvSpPr>
          <p:spPr>
            <a:xfrm>
              <a:off x="10922177" y="913999"/>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 </a:t>
              </a:r>
              <a:r>
                <a:rPr lang="en-GB" sz="1400" baseline="0" dirty="0">
                  <a:solidFill>
                    <a:schemeClr val="accent2"/>
                  </a:solidFill>
                </a:rPr>
                <a:t>2</a:t>
              </a:r>
              <a:endParaRPr lang="en-GB" sz="1400" dirty="0">
                <a:solidFill>
                  <a:schemeClr val="accent2"/>
                </a:solidFill>
              </a:endParaRPr>
            </a:p>
          </p:txBody>
        </p:sp>
        <p:sp>
          <p:nvSpPr>
            <p:cNvPr id="68" name="Freeform 10"/>
            <p:cNvSpPr>
              <a:spLocks noEditPoints="1"/>
            </p:cNvSpPr>
            <p:nvPr userDrawn="1"/>
          </p:nvSpPr>
          <p:spPr bwMode="auto">
            <a:xfrm>
              <a:off x="10460877" y="887251"/>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5" name="Group 24"/>
          <p:cNvGrpSpPr/>
          <p:nvPr userDrawn="1"/>
        </p:nvGrpSpPr>
        <p:grpSpPr>
          <a:xfrm>
            <a:off x="10473386" y="2911468"/>
            <a:ext cx="1195790" cy="317727"/>
            <a:chOff x="10473386" y="2964687"/>
            <a:chExt cx="1195790" cy="317727"/>
          </a:xfrm>
        </p:grpSpPr>
        <p:sp>
          <p:nvSpPr>
            <p:cNvPr id="12" name="Rectangle 11"/>
            <p:cNvSpPr/>
            <p:nvPr userDrawn="1"/>
          </p:nvSpPr>
          <p:spPr>
            <a:xfrm>
              <a:off x="10922177" y="2977382"/>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5</a:t>
              </a:r>
              <a:endParaRPr lang="en-GB" sz="1400" dirty="0">
                <a:solidFill>
                  <a:schemeClr val="accent2"/>
                </a:solidFill>
              </a:endParaRPr>
            </a:p>
          </p:txBody>
        </p:sp>
        <p:sp>
          <p:nvSpPr>
            <p:cNvPr id="69" name="Freeform 23"/>
            <p:cNvSpPr>
              <a:spLocks noEditPoints="1"/>
            </p:cNvSpPr>
            <p:nvPr userDrawn="1"/>
          </p:nvSpPr>
          <p:spPr bwMode="auto">
            <a:xfrm>
              <a:off x="10473386" y="2964687"/>
              <a:ext cx="267691" cy="317727"/>
            </a:xfrm>
            <a:custGeom>
              <a:avLst/>
              <a:gdLst>
                <a:gd name="T0" fmla="*/ 76 w 80"/>
                <a:gd name="T1" fmla="*/ 96 h 96"/>
                <a:gd name="T2" fmla="*/ 40 w 80"/>
                <a:gd name="T3" fmla="*/ 96 h 96"/>
                <a:gd name="T4" fmla="*/ 36 w 80"/>
                <a:gd name="T5" fmla="*/ 92 h 96"/>
                <a:gd name="T6" fmla="*/ 36 w 80"/>
                <a:gd name="T7" fmla="*/ 76 h 96"/>
                <a:gd name="T8" fmla="*/ 40 w 80"/>
                <a:gd name="T9" fmla="*/ 72 h 96"/>
                <a:gd name="T10" fmla="*/ 76 w 80"/>
                <a:gd name="T11" fmla="*/ 72 h 96"/>
                <a:gd name="T12" fmla="*/ 80 w 80"/>
                <a:gd name="T13" fmla="*/ 76 h 96"/>
                <a:gd name="T14" fmla="*/ 80 w 80"/>
                <a:gd name="T15" fmla="*/ 92 h 96"/>
                <a:gd name="T16" fmla="*/ 76 w 80"/>
                <a:gd name="T17" fmla="*/ 96 h 96"/>
                <a:gd name="T18" fmla="*/ 44 w 80"/>
                <a:gd name="T19" fmla="*/ 88 h 96"/>
                <a:gd name="T20" fmla="*/ 72 w 80"/>
                <a:gd name="T21" fmla="*/ 88 h 96"/>
                <a:gd name="T22" fmla="*/ 72 w 80"/>
                <a:gd name="T23" fmla="*/ 80 h 96"/>
                <a:gd name="T24" fmla="*/ 44 w 80"/>
                <a:gd name="T25" fmla="*/ 80 h 96"/>
                <a:gd name="T26" fmla="*/ 44 w 80"/>
                <a:gd name="T27" fmla="*/ 88 h 96"/>
                <a:gd name="T28" fmla="*/ 76 w 80"/>
                <a:gd name="T29" fmla="*/ 64 h 96"/>
                <a:gd name="T30" fmla="*/ 4 w 80"/>
                <a:gd name="T31" fmla="*/ 64 h 96"/>
                <a:gd name="T32" fmla="*/ 0 w 80"/>
                <a:gd name="T33" fmla="*/ 60 h 96"/>
                <a:gd name="T34" fmla="*/ 0 w 80"/>
                <a:gd name="T35" fmla="*/ 4 h 96"/>
                <a:gd name="T36" fmla="*/ 4 w 80"/>
                <a:gd name="T37" fmla="*/ 0 h 96"/>
                <a:gd name="T38" fmla="*/ 76 w 80"/>
                <a:gd name="T39" fmla="*/ 0 h 96"/>
                <a:gd name="T40" fmla="*/ 80 w 80"/>
                <a:gd name="T41" fmla="*/ 4 h 96"/>
                <a:gd name="T42" fmla="*/ 80 w 80"/>
                <a:gd name="T43" fmla="*/ 60 h 96"/>
                <a:gd name="T44" fmla="*/ 76 w 80"/>
                <a:gd name="T45" fmla="*/ 64 h 96"/>
                <a:gd name="T46" fmla="*/ 8 w 80"/>
                <a:gd name="T47" fmla="*/ 56 h 96"/>
                <a:gd name="T48" fmla="*/ 72 w 80"/>
                <a:gd name="T49" fmla="*/ 56 h 96"/>
                <a:gd name="T50" fmla="*/ 72 w 80"/>
                <a:gd name="T51" fmla="*/ 24 h 96"/>
                <a:gd name="T52" fmla="*/ 8 w 80"/>
                <a:gd name="T53" fmla="*/ 24 h 96"/>
                <a:gd name="T54" fmla="*/ 8 w 80"/>
                <a:gd name="T55" fmla="*/ 56 h 96"/>
                <a:gd name="T56" fmla="*/ 8 w 80"/>
                <a:gd name="T57" fmla="*/ 16 h 96"/>
                <a:gd name="T58" fmla="*/ 72 w 80"/>
                <a:gd name="T59" fmla="*/ 16 h 96"/>
                <a:gd name="T60" fmla="*/ 72 w 80"/>
                <a:gd name="T61" fmla="*/ 8 h 96"/>
                <a:gd name="T62" fmla="*/ 8 w 80"/>
                <a:gd name="T63" fmla="*/ 8 h 96"/>
                <a:gd name="T64" fmla="*/ 8 w 80"/>
                <a:gd name="T65"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96">
                  <a:moveTo>
                    <a:pt x="76" y="96"/>
                  </a:moveTo>
                  <a:cubicBezTo>
                    <a:pt x="40" y="96"/>
                    <a:pt x="40" y="96"/>
                    <a:pt x="40" y="96"/>
                  </a:cubicBezTo>
                  <a:cubicBezTo>
                    <a:pt x="38" y="96"/>
                    <a:pt x="36" y="94"/>
                    <a:pt x="36" y="92"/>
                  </a:cubicBezTo>
                  <a:cubicBezTo>
                    <a:pt x="36" y="76"/>
                    <a:pt x="36" y="76"/>
                    <a:pt x="36" y="76"/>
                  </a:cubicBezTo>
                  <a:cubicBezTo>
                    <a:pt x="36" y="74"/>
                    <a:pt x="38" y="72"/>
                    <a:pt x="40" y="72"/>
                  </a:cubicBezTo>
                  <a:cubicBezTo>
                    <a:pt x="76" y="72"/>
                    <a:pt x="76" y="72"/>
                    <a:pt x="76" y="72"/>
                  </a:cubicBezTo>
                  <a:cubicBezTo>
                    <a:pt x="78" y="72"/>
                    <a:pt x="80" y="74"/>
                    <a:pt x="80" y="76"/>
                  </a:cubicBezTo>
                  <a:cubicBezTo>
                    <a:pt x="80" y="92"/>
                    <a:pt x="80" y="92"/>
                    <a:pt x="80" y="92"/>
                  </a:cubicBezTo>
                  <a:cubicBezTo>
                    <a:pt x="80" y="94"/>
                    <a:pt x="78" y="96"/>
                    <a:pt x="76" y="96"/>
                  </a:cubicBezTo>
                  <a:close/>
                  <a:moveTo>
                    <a:pt x="44" y="88"/>
                  </a:moveTo>
                  <a:cubicBezTo>
                    <a:pt x="72" y="88"/>
                    <a:pt x="72" y="88"/>
                    <a:pt x="72" y="88"/>
                  </a:cubicBezTo>
                  <a:cubicBezTo>
                    <a:pt x="72" y="80"/>
                    <a:pt x="72" y="80"/>
                    <a:pt x="72" y="80"/>
                  </a:cubicBezTo>
                  <a:cubicBezTo>
                    <a:pt x="44" y="80"/>
                    <a:pt x="44" y="80"/>
                    <a:pt x="44" y="80"/>
                  </a:cubicBezTo>
                  <a:lnTo>
                    <a:pt x="44" y="88"/>
                  </a:lnTo>
                  <a:close/>
                  <a:moveTo>
                    <a:pt x="76" y="64"/>
                  </a:moveTo>
                  <a:cubicBezTo>
                    <a:pt x="4" y="64"/>
                    <a:pt x="4" y="64"/>
                    <a:pt x="4" y="64"/>
                  </a:cubicBezTo>
                  <a:cubicBezTo>
                    <a:pt x="2" y="64"/>
                    <a:pt x="0" y="62"/>
                    <a:pt x="0" y="60"/>
                  </a:cubicBezTo>
                  <a:cubicBezTo>
                    <a:pt x="0" y="4"/>
                    <a:pt x="0" y="4"/>
                    <a:pt x="0" y="4"/>
                  </a:cubicBezTo>
                  <a:cubicBezTo>
                    <a:pt x="0" y="2"/>
                    <a:pt x="2" y="0"/>
                    <a:pt x="4" y="0"/>
                  </a:cubicBezTo>
                  <a:cubicBezTo>
                    <a:pt x="76" y="0"/>
                    <a:pt x="76" y="0"/>
                    <a:pt x="76" y="0"/>
                  </a:cubicBezTo>
                  <a:cubicBezTo>
                    <a:pt x="78" y="0"/>
                    <a:pt x="80" y="2"/>
                    <a:pt x="80" y="4"/>
                  </a:cubicBezTo>
                  <a:cubicBezTo>
                    <a:pt x="80" y="60"/>
                    <a:pt x="80" y="60"/>
                    <a:pt x="80" y="60"/>
                  </a:cubicBezTo>
                  <a:cubicBezTo>
                    <a:pt x="80" y="62"/>
                    <a:pt x="78" y="64"/>
                    <a:pt x="76" y="64"/>
                  </a:cubicBezTo>
                  <a:close/>
                  <a:moveTo>
                    <a:pt x="8" y="56"/>
                  </a:moveTo>
                  <a:cubicBezTo>
                    <a:pt x="72" y="56"/>
                    <a:pt x="72" y="56"/>
                    <a:pt x="72" y="56"/>
                  </a:cubicBezTo>
                  <a:cubicBezTo>
                    <a:pt x="72" y="24"/>
                    <a:pt x="72" y="24"/>
                    <a:pt x="72" y="24"/>
                  </a:cubicBezTo>
                  <a:cubicBezTo>
                    <a:pt x="8" y="24"/>
                    <a:pt x="8" y="24"/>
                    <a:pt x="8" y="24"/>
                  </a:cubicBezTo>
                  <a:lnTo>
                    <a:pt x="8" y="56"/>
                  </a:lnTo>
                  <a:close/>
                  <a:moveTo>
                    <a:pt x="8" y="16"/>
                  </a:moveTo>
                  <a:cubicBezTo>
                    <a:pt x="72" y="16"/>
                    <a:pt x="72" y="16"/>
                    <a:pt x="72" y="16"/>
                  </a:cubicBezTo>
                  <a:cubicBezTo>
                    <a:pt x="72" y="8"/>
                    <a:pt x="72" y="8"/>
                    <a:pt x="72" y="8"/>
                  </a:cubicBezTo>
                  <a:cubicBezTo>
                    <a:pt x="8" y="8"/>
                    <a:pt x="8" y="8"/>
                    <a:pt x="8" y="8"/>
                  </a:cubicBezTo>
                  <a:lnTo>
                    <a:pt x="8" y="1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99" name="Group 98"/>
          <p:cNvGrpSpPr/>
          <p:nvPr userDrawn="1"/>
        </p:nvGrpSpPr>
        <p:grpSpPr>
          <a:xfrm>
            <a:off x="10472760" y="1522001"/>
            <a:ext cx="1196416" cy="323982"/>
            <a:chOff x="10472760" y="1547526"/>
            <a:chExt cx="1196416" cy="323982"/>
          </a:xfrm>
        </p:grpSpPr>
        <p:sp>
          <p:nvSpPr>
            <p:cNvPr id="10" name="Rectangle 9"/>
            <p:cNvSpPr/>
            <p:nvPr userDrawn="1"/>
          </p:nvSpPr>
          <p:spPr>
            <a:xfrm>
              <a:off x="10922177" y="1601794"/>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bg1"/>
                  </a:solidFill>
                </a:rPr>
                <a:t>Section</a:t>
              </a:r>
              <a:r>
                <a:rPr lang="en-GB" sz="1400" baseline="0" dirty="0">
                  <a:solidFill>
                    <a:schemeClr val="bg1"/>
                  </a:solidFill>
                </a:rPr>
                <a:t> 3</a:t>
              </a:r>
              <a:endParaRPr lang="en-GB" sz="1400" dirty="0">
                <a:solidFill>
                  <a:schemeClr val="bg1"/>
                </a:solidFill>
              </a:endParaRPr>
            </a:p>
          </p:txBody>
        </p:sp>
        <p:grpSp>
          <p:nvGrpSpPr>
            <p:cNvPr id="70" name="Group 13"/>
            <p:cNvGrpSpPr>
              <a:grpSpLocks noChangeAspect="1"/>
            </p:cNvGrpSpPr>
            <p:nvPr userDrawn="1"/>
          </p:nvGrpSpPr>
          <p:grpSpPr bwMode="auto">
            <a:xfrm>
              <a:off x="10472760" y="1547526"/>
              <a:ext cx="268942" cy="323982"/>
              <a:chOff x="292" y="2131"/>
              <a:chExt cx="215" cy="259"/>
            </a:xfrm>
            <a:solidFill>
              <a:schemeClr val="bg1"/>
            </a:solidFill>
          </p:grpSpPr>
          <p:sp>
            <p:nvSpPr>
              <p:cNvPr id="71"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4" name="Group 23"/>
          <p:cNvGrpSpPr/>
          <p:nvPr userDrawn="1"/>
        </p:nvGrpSpPr>
        <p:grpSpPr>
          <a:xfrm>
            <a:off x="10473385" y="3615583"/>
            <a:ext cx="1195791" cy="317727"/>
            <a:chOff x="10473385" y="3630879"/>
            <a:chExt cx="1195791" cy="317727"/>
          </a:xfrm>
        </p:grpSpPr>
        <p:sp>
          <p:nvSpPr>
            <p:cNvPr id="14" name="Rectangle 13"/>
            <p:cNvSpPr/>
            <p:nvPr userDrawn="1"/>
          </p:nvSpPr>
          <p:spPr>
            <a:xfrm>
              <a:off x="10922177" y="3665176"/>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6</a:t>
              </a:r>
              <a:endParaRPr lang="en-GB" sz="1400" dirty="0">
                <a:solidFill>
                  <a:schemeClr val="accent2"/>
                </a:solidFill>
              </a:endParaRPr>
            </a:p>
          </p:txBody>
        </p:sp>
        <p:grpSp>
          <p:nvGrpSpPr>
            <p:cNvPr id="73" name="Group 26"/>
            <p:cNvGrpSpPr>
              <a:grpSpLocks noChangeAspect="1"/>
            </p:cNvGrpSpPr>
            <p:nvPr userDrawn="1"/>
          </p:nvGrpSpPr>
          <p:grpSpPr bwMode="auto">
            <a:xfrm>
              <a:off x="10473385" y="3630879"/>
              <a:ext cx="267692" cy="317727"/>
              <a:chOff x="3091" y="1784"/>
              <a:chExt cx="214" cy="254"/>
            </a:xfrm>
            <a:solidFill>
              <a:schemeClr val="accent2"/>
            </a:solidFill>
          </p:grpSpPr>
          <p:sp>
            <p:nvSpPr>
              <p:cNvPr id="74" name="Freeform 27"/>
              <p:cNvSpPr>
                <a:spLocks noEditPoints="1"/>
              </p:cNvSpPr>
              <p:nvPr/>
            </p:nvSpPr>
            <p:spPr bwMode="auto">
              <a:xfrm>
                <a:off x="3091" y="1784"/>
                <a:ext cx="214" cy="254"/>
              </a:xfrm>
              <a:custGeom>
                <a:avLst/>
                <a:gdLst>
                  <a:gd name="T0" fmla="*/ 76 w 80"/>
                  <a:gd name="T1" fmla="*/ 96 h 96"/>
                  <a:gd name="T2" fmla="*/ 4 w 80"/>
                  <a:gd name="T3" fmla="*/ 96 h 96"/>
                  <a:gd name="T4" fmla="*/ 0 w 80"/>
                  <a:gd name="T5" fmla="*/ 92 h 96"/>
                  <a:gd name="T6" fmla="*/ 0 w 80"/>
                  <a:gd name="T7" fmla="*/ 4 h 96"/>
                  <a:gd name="T8" fmla="*/ 4 w 80"/>
                  <a:gd name="T9" fmla="*/ 0 h 96"/>
                  <a:gd name="T10" fmla="*/ 76 w 80"/>
                  <a:gd name="T11" fmla="*/ 0 h 96"/>
                  <a:gd name="T12" fmla="*/ 80 w 80"/>
                  <a:gd name="T13" fmla="*/ 4 h 96"/>
                  <a:gd name="T14" fmla="*/ 80 w 80"/>
                  <a:gd name="T15" fmla="*/ 92 h 96"/>
                  <a:gd name="T16" fmla="*/ 76 w 80"/>
                  <a:gd name="T17" fmla="*/ 96 h 96"/>
                  <a:gd name="T18" fmla="*/ 8 w 80"/>
                  <a:gd name="T19" fmla="*/ 88 h 96"/>
                  <a:gd name="T20" fmla="*/ 72 w 80"/>
                  <a:gd name="T21" fmla="*/ 88 h 96"/>
                  <a:gd name="T22" fmla="*/ 72 w 80"/>
                  <a:gd name="T23" fmla="*/ 8 h 96"/>
                  <a:gd name="T24" fmla="*/ 8 w 80"/>
                  <a:gd name="T25" fmla="*/ 8 h 96"/>
                  <a:gd name="T26" fmla="*/ 8 w 80"/>
                  <a:gd name="T27" fmla="*/ 88 h 96"/>
                  <a:gd name="T28" fmla="*/ 40 w 80"/>
                  <a:gd name="T29" fmla="*/ 80 h 96"/>
                  <a:gd name="T30" fmla="*/ 36 w 80"/>
                  <a:gd name="T31" fmla="*/ 76 h 96"/>
                  <a:gd name="T32" fmla="*/ 36 w 80"/>
                  <a:gd name="T33" fmla="*/ 20 h 96"/>
                  <a:gd name="T34" fmla="*/ 40 w 80"/>
                  <a:gd name="T35" fmla="*/ 16 h 96"/>
                  <a:gd name="T36" fmla="*/ 44 w 80"/>
                  <a:gd name="T37" fmla="*/ 20 h 96"/>
                  <a:gd name="T38" fmla="*/ 44 w 80"/>
                  <a:gd name="T39" fmla="*/ 76 h 96"/>
                  <a:gd name="T40" fmla="*/ 40 w 80"/>
                  <a:gd name="T41" fmla="*/ 8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96">
                    <a:moveTo>
                      <a:pt x="76" y="96"/>
                    </a:moveTo>
                    <a:cubicBezTo>
                      <a:pt x="4" y="96"/>
                      <a:pt x="4" y="96"/>
                      <a:pt x="4" y="96"/>
                    </a:cubicBezTo>
                    <a:cubicBezTo>
                      <a:pt x="2" y="96"/>
                      <a:pt x="0" y="94"/>
                      <a:pt x="0" y="92"/>
                    </a:cubicBezTo>
                    <a:cubicBezTo>
                      <a:pt x="0" y="4"/>
                      <a:pt x="0" y="4"/>
                      <a:pt x="0" y="4"/>
                    </a:cubicBezTo>
                    <a:cubicBezTo>
                      <a:pt x="0" y="2"/>
                      <a:pt x="2" y="0"/>
                      <a:pt x="4" y="0"/>
                    </a:cubicBezTo>
                    <a:cubicBezTo>
                      <a:pt x="76" y="0"/>
                      <a:pt x="76" y="0"/>
                      <a:pt x="76" y="0"/>
                    </a:cubicBezTo>
                    <a:cubicBezTo>
                      <a:pt x="78" y="0"/>
                      <a:pt x="80" y="2"/>
                      <a:pt x="80" y="4"/>
                    </a:cubicBezTo>
                    <a:cubicBezTo>
                      <a:pt x="80" y="92"/>
                      <a:pt x="80" y="92"/>
                      <a:pt x="80" y="92"/>
                    </a:cubicBezTo>
                    <a:cubicBezTo>
                      <a:pt x="80" y="94"/>
                      <a:pt x="78" y="96"/>
                      <a:pt x="76" y="96"/>
                    </a:cubicBezTo>
                    <a:close/>
                    <a:moveTo>
                      <a:pt x="8" y="88"/>
                    </a:moveTo>
                    <a:cubicBezTo>
                      <a:pt x="72" y="88"/>
                      <a:pt x="72" y="88"/>
                      <a:pt x="72" y="88"/>
                    </a:cubicBezTo>
                    <a:cubicBezTo>
                      <a:pt x="72" y="8"/>
                      <a:pt x="72" y="8"/>
                      <a:pt x="72" y="8"/>
                    </a:cubicBezTo>
                    <a:cubicBezTo>
                      <a:pt x="8" y="8"/>
                      <a:pt x="8" y="8"/>
                      <a:pt x="8" y="8"/>
                    </a:cubicBezTo>
                    <a:lnTo>
                      <a:pt x="8" y="88"/>
                    </a:lnTo>
                    <a:close/>
                    <a:moveTo>
                      <a:pt x="40" y="80"/>
                    </a:moveTo>
                    <a:cubicBezTo>
                      <a:pt x="38" y="80"/>
                      <a:pt x="36" y="78"/>
                      <a:pt x="36" y="76"/>
                    </a:cubicBezTo>
                    <a:cubicBezTo>
                      <a:pt x="36" y="20"/>
                      <a:pt x="36" y="20"/>
                      <a:pt x="36" y="20"/>
                    </a:cubicBezTo>
                    <a:cubicBezTo>
                      <a:pt x="36" y="18"/>
                      <a:pt x="38" y="16"/>
                      <a:pt x="40" y="16"/>
                    </a:cubicBezTo>
                    <a:cubicBezTo>
                      <a:pt x="42" y="16"/>
                      <a:pt x="44" y="18"/>
                      <a:pt x="44" y="20"/>
                    </a:cubicBezTo>
                    <a:cubicBezTo>
                      <a:pt x="44" y="76"/>
                      <a:pt x="44" y="76"/>
                      <a:pt x="44" y="76"/>
                    </a:cubicBezTo>
                    <a:cubicBezTo>
                      <a:pt x="44" y="78"/>
                      <a:pt x="42"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8"/>
              <p:cNvSpPr>
                <a:spLocks/>
              </p:cNvSpPr>
              <p:nvPr/>
            </p:nvSpPr>
            <p:spPr bwMode="auto">
              <a:xfrm>
                <a:off x="3145" y="1837"/>
                <a:ext cx="101" cy="138"/>
              </a:xfrm>
              <a:custGeom>
                <a:avLst/>
                <a:gdLst>
                  <a:gd name="T0" fmla="*/ 19 w 38"/>
                  <a:gd name="T1" fmla="*/ 52 h 52"/>
                  <a:gd name="T2" fmla="*/ 3 w 38"/>
                  <a:gd name="T3" fmla="*/ 49 h 52"/>
                  <a:gd name="T4" fmla="*/ 1 w 38"/>
                  <a:gd name="T5" fmla="*/ 43 h 52"/>
                  <a:gd name="T6" fmla="*/ 6 w 38"/>
                  <a:gd name="T7" fmla="*/ 41 h 52"/>
                  <a:gd name="T8" fmla="*/ 27 w 38"/>
                  <a:gd name="T9" fmla="*/ 42 h 52"/>
                  <a:gd name="T10" fmla="*/ 29 w 38"/>
                  <a:gd name="T11" fmla="*/ 37 h 52"/>
                  <a:gd name="T12" fmla="*/ 19 w 38"/>
                  <a:gd name="T13" fmla="*/ 31 h 52"/>
                  <a:gd name="T14" fmla="*/ 3 w 38"/>
                  <a:gd name="T15" fmla="*/ 15 h 52"/>
                  <a:gd name="T16" fmla="*/ 9 w 38"/>
                  <a:gd name="T17" fmla="*/ 4 h 52"/>
                  <a:gd name="T18" fmla="*/ 36 w 38"/>
                  <a:gd name="T19" fmla="*/ 5 h 52"/>
                  <a:gd name="T20" fmla="*/ 37 w 38"/>
                  <a:gd name="T21" fmla="*/ 11 h 52"/>
                  <a:gd name="T22" fmla="*/ 32 w 38"/>
                  <a:gd name="T23" fmla="*/ 12 h 52"/>
                  <a:gd name="T24" fmla="*/ 13 w 38"/>
                  <a:gd name="T25" fmla="*/ 11 h 52"/>
                  <a:gd name="T26" fmla="*/ 11 w 38"/>
                  <a:gd name="T27" fmla="*/ 15 h 52"/>
                  <a:gd name="T28" fmla="*/ 22 w 38"/>
                  <a:gd name="T29" fmla="*/ 23 h 52"/>
                  <a:gd name="T30" fmla="*/ 37 w 38"/>
                  <a:gd name="T31" fmla="*/ 37 h 52"/>
                  <a:gd name="T32" fmla="*/ 31 w 38"/>
                  <a:gd name="T33" fmla="*/ 49 h 52"/>
                  <a:gd name="T34" fmla="*/ 19 w 38"/>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2">
                    <a:moveTo>
                      <a:pt x="19" y="52"/>
                    </a:moveTo>
                    <a:cubicBezTo>
                      <a:pt x="14" y="52"/>
                      <a:pt x="8" y="50"/>
                      <a:pt x="3" y="49"/>
                    </a:cubicBezTo>
                    <a:cubicBezTo>
                      <a:pt x="1" y="48"/>
                      <a:pt x="0" y="45"/>
                      <a:pt x="1" y="43"/>
                    </a:cubicBezTo>
                    <a:cubicBezTo>
                      <a:pt x="1" y="41"/>
                      <a:pt x="4" y="40"/>
                      <a:pt x="6" y="41"/>
                    </a:cubicBezTo>
                    <a:cubicBezTo>
                      <a:pt x="14" y="44"/>
                      <a:pt x="23" y="45"/>
                      <a:pt x="27" y="42"/>
                    </a:cubicBezTo>
                    <a:cubicBezTo>
                      <a:pt x="28" y="41"/>
                      <a:pt x="29" y="40"/>
                      <a:pt x="29" y="37"/>
                    </a:cubicBezTo>
                    <a:cubicBezTo>
                      <a:pt x="29" y="34"/>
                      <a:pt x="26" y="33"/>
                      <a:pt x="19" y="31"/>
                    </a:cubicBezTo>
                    <a:cubicBezTo>
                      <a:pt x="12" y="28"/>
                      <a:pt x="3" y="25"/>
                      <a:pt x="3" y="15"/>
                    </a:cubicBezTo>
                    <a:cubicBezTo>
                      <a:pt x="3" y="10"/>
                      <a:pt x="5" y="6"/>
                      <a:pt x="9" y="4"/>
                    </a:cubicBezTo>
                    <a:cubicBezTo>
                      <a:pt x="17" y="0"/>
                      <a:pt x="30" y="2"/>
                      <a:pt x="36" y="5"/>
                    </a:cubicBezTo>
                    <a:cubicBezTo>
                      <a:pt x="37" y="6"/>
                      <a:pt x="38" y="9"/>
                      <a:pt x="37" y="11"/>
                    </a:cubicBezTo>
                    <a:cubicBezTo>
                      <a:pt x="36" y="13"/>
                      <a:pt x="34" y="13"/>
                      <a:pt x="32" y="12"/>
                    </a:cubicBezTo>
                    <a:cubicBezTo>
                      <a:pt x="28" y="10"/>
                      <a:pt x="18" y="8"/>
                      <a:pt x="13" y="11"/>
                    </a:cubicBezTo>
                    <a:cubicBezTo>
                      <a:pt x="11" y="12"/>
                      <a:pt x="11" y="13"/>
                      <a:pt x="11" y="15"/>
                    </a:cubicBezTo>
                    <a:cubicBezTo>
                      <a:pt x="11" y="19"/>
                      <a:pt x="14" y="21"/>
                      <a:pt x="22" y="23"/>
                    </a:cubicBezTo>
                    <a:cubicBezTo>
                      <a:pt x="28" y="25"/>
                      <a:pt x="37" y="28"/>
                      <a:pt x="37" y="37"/>
                    </a:cubicBezTo>
                    <a:cubicBezTo>
                      <a:pt x="37" y="43"/>
                      <a:pt x="34" y="47"/>
                      <a:pt x="31" y="49"/>
                    </a:cubicBezTo>
                    <a:cubicBezTo>
                      <a:pt x="28" y="51"/>
                      <a:pt x="24" y="52"/>
                      <a:pt x="1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1" name="Group 100"/>
          <p:cNvGrpSpPr/>
          <p:nvPr userDrawn="1"/>
        </p:nvGrpSpPr>
        <p:grpSpPr>
          <a:xfrm>
            <a:off x="10447117" y="187574"/>
            <a:ext cx="1222059" cy="292709"/>
            <a:chOff x="10447117" y="187574"/>
            <a:chExt cx="1222059" cy="292709"/>
          </a:xfrm>
        </p:grpSpPr>
        <p:sp>
          <p:nvSpPr>
            <p:cNvPr id="8" name="Rectangle 7"/>
            <p:cNvSpPr/>
            <p:nvPr userDrawn="1"/>
          </p:nvSpPr>
          <p:spPr>
            <a:xfrm>
              <a:off x="10922177" y="226205"/>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1</a:t>
              </a:r>
              <a:endParaRPr lang="en-GB" sz="1400" dirty="0">
                <a:solidFill>
                  <a:schemeClr val="accent2"/>
                </a:solidFill>
              </a:endParaRPr>
            </a:p>
          </p:txBody>
        </p:sp>
        <p:grpSp>
          <p:nvGrpSpPr>
            <p:cNvPr id="76" name="Group 4"/>
            <p:cNvGrpSpPr>
              <a:grpSpLocks noChangeAspect="1"/>
            </p:cNvGrpSpPr>
            <p:nvPr userDrawn="1"/>
          </p:nvGrpSpPr>
          <p:grpSpPr bwMode="auto">
            <a:xfrm>
              <a:off x="10447117" y="187574"/>
              <a:ext cx="320229" cy="292709"/>
              <a:chOff x="293" y="695"/>
              <a:chExt cx="256" cy="234"/>
            </a:xfrm>
            <a:solidFill>
              <a:schemeClr val="accent2"/>
            </a:solidFill>
          </p:grpSpPr>
          <p:sp>
            <p:nvSpPr>
              <p:cNvPr id="77"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98" name="Group 97"/>
          <p:cNvGrpSpPr/>
          <p:nvPr userDrawn="1"/>
        </p:nvGrpSpPr>
        <p:grpSpPr>
          <a:xfrm>
            <a:off x="10455248" y="2232371"/>
            <a:ext cx="1213928" cy="292709"/>
            <a:chOff x="10455248" y="2259847"/>
            <a:chExt cx="1213928" cy="292709"/>
          </a:xfrm>
        </p:grpSpPr>
        <p:sp>
          <p:nvSpPr>
            <p:cNvPr id="11" name="Rectangle 10"/>
            <p:cNvSpPr/>
            <p:nvPr userDrawn="1"/>
          </p:nvSpPr>
          <p:spPr>
            <a:xfrm>
              <a:off x="10922177" y="2289588"/>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4</a:t>
              </a:r>
              <a:endParaRPr lang="en-GB" sz="1400" dirty="0">
                <a:solidFill>
                  <a:schemeClr val="accent2"/>
                </a:solidFill>
              </a:endParaRPr>
            </a:p>
          </p:txBody>
        </p:sp>
        <p:sp>
          <p:nvSpPr>
            <p:cNvPr id="79" name="Freeform 19"/>
            <p:cNvSpPr>
              <a:spLocks noEditPoints="1"/>
            </p:cNvSpPr>
            <p:nvPr userDrawn="1"/>
          </p:nvSpPr>
          <p:spPr bwMode="auto">
            <a:xfrm>
              <a:off x="10455248" y="2259847"/>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8" name="Group 17"/>
          <p:cNvGrpSpPr/>
          <p:nvPr userDrawn="1"/>
        </p:nvGrpSpPr>
        <p:grpSpPr>
          <a:xfrm>
            <a:off x="10460877" y="4998795"/>
            <a:ext cx="1208299" cy="268942"/>
            <a:chOff x="10460877" y="4991891"/>
            <a:chExt cx="1208299" cy="268942"/>
          </a:xfrm>
        </p:grpSpPr>
        <p:sp>
          <p:nvSpPr>
            <p:cNvPr id="21" name="Rectangle 20"/>
            <p:cNvSpPr/>
            <p:nvPr userDrawn="1"/>
          </p:nvSpPr>
          <p:spPr>
            <a:xfrm>
              <a:off x="10922177" y="5040765"/>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 </a:t>
              </a:r>
              <a:r>
                <a:rPr lang="en-GB" sz="1400" baseline="0" dirty="0">
                  <a:solidFill>
                    <a:schemeClr val="accent2"/>
                  </a:solidFill>
                </a:rPr>
                <a:t>8</a:t>
              </a:r>
              <a:endParaRPr lang="en-GB" sz="1400" dirty="0">
                <a:solidFill>
                  <a:schemeClr val="accent2"/>
                </a:solidFill>
              </a:endParaRPr>
            </a:p>
          </p:txBody>
        </p:sp>
        <p:sp>
          <p:nvSpPr>
            <p:cNvPr id="80" name="Freeform 10"/>
            <p:cNvSpPr>
              <a:spLocks noEditPoints="1"/>
            </p:cNvSpPr>
            <p:nvPr userDrawn="1"/>
          </p:nvSpPr>
          <p:spPr bwMode="auto">
            <a:xfrm>
              <a:off x="10460877" y="4991891"/>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7" name="Group 16"/>
          <p:cNvGrpSpPr/>
          <p:nvPr userDrawn="1"/>
        </p:nvGrpSpPr>
        <p:grpSpPr>
          <a:xfrm>
            <a:off x="10472760" y="5654125"/>
            <a:ext cx="1196416" cy="323982"/>
            <a:chOff x="10472760" y="5652166"/>
            <a:chExt cx="1196416" cy="323982"/>
          </a:xfrm>
        </p:grpSpPr>
        <p:sp>
          <p:nvSpPr>
            <p:cNvPr id="22" name="Rectangle 21"/>
            <p:cNvSpPr/>
            <p:nvPr userDrawn="1"/>
          </p:nvSpPr>
          <p:spPr>
            <a:xfrm>
              <a:off x="10922177" y="5728559"/>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9</a:t>
              </a:r>
              <a:endParaRPr lang="en-GB" sz="1400" dirty="0">
                <a:solidFill>
                  <a:schemeClr val="accent2"/>
                </a:solidFill>
              </a:endParaRPr>
            </a:p>
          </p:txBody>
        </p:sp>
        <p:grpSp>
          <p:nvGrpSpPr>
            <p:cNvPr id="81" name="Group 13"/>
            <p:cNvGrpSpPr>
              <a:grpSpLocks noChangeAspect="1"/>
            </p:cNvGrpSpPr>
            <p:nvPr userDrawn="1"/>
          </p:nvGrpSpPr>
          <p:grpSpPr bwMode="auto">
            <a:xfrm>
              <a:off x="10472760" y="5652166"/>
              <a:ext cx="268942" cy="323982"/>
              <a:chOff x="292" y="2131"/>
              <a:chExt cx="215" cy="259"/>
            </a:xfrm>
            <a:solidFill>
              <a:schemeClr val="accent2"/>
            </a:solidFill>
          </p:grpSpPr>
          <p:sp>
            <p:nvSpPr>
              <p:cNvPr id="82"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9" name="Group 18"/>
          <p:cNvGrpSpPr/>
          <p:nvPr userDrawn="1"/>
        </p:nvGrpSpPr>
        <p:grpSpPr>
          <a:xfrm>
            <a:off x="10447117" y="4319698"/>
            <a:ext cx="1222059" cy="292709"/>
            <a:chOff x="10447117" y="4292214"/>
            <a:chExt cx="1222059" cy="292709"/>
          </a:xfrm>
        </p:grpSpPr>
        <p:sp>
          <p:nvSpPr>
            <p:cNvPr id="20" name="Rectangle 19"/>
            <p:cNvSpPr/>
            <p:nvPr userDrawn="1"/>
          </p:nvSpPr>
          <p:spPr>
            <a:xfrm>
              <a:off x="10922177" y="4352971"/>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7</a:t>
              </a:r>
              <a:endParaRPr lang="en-GB" sz="1400" dirty="0">
                <a:solidFill>
                  <a:schemeClr val="accent2"/>
                </a:solidFill>
              </a:endParaRPr>
            </a:p>
          </p:txBody>
        </p:sp>
        <p:grpSp>
          <p:nvGrpSpPr>
            <p:cNvPr id="84" name="Group 4"/>
            <p:cNvGrpSpPr>
              <a:grpSpLocks noChangeAspect="1"/>
            </p:cNvGrpSpPr>
            <p:nvPr userDrawn="1"/>
          </p:nvGrpSpPr>
          <p:grpSpPr bwMode="auto">
            <a:xfrm>
              <a:off x="10447117" y="4292214"/>
              <a:ext cx="320229" cy="292709"/>
              <a:chOff x="293" y="695"/>
              <a:chExt cx="256" cy="234"/>
            </a:xfrm>
            <a:solidFill>
              <a:schemeClr val="accent2"/>
            </a:solidFill>
          </p:grpSpPr>
          <p:sp>
            <p:nvSpPr>
              <p:cNvPr id="85"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6" name="Group 15"/>
          <p:cNvGrpSpPr/>
          <p:nvPr userDrawn="1"/>
        </p:nvGrpSpPr>
        <p:grpSpPr>
          <a:xfrm>
            <a:off x="10455248" y="6364487"/>
            <a:ext cx="1313315" cy="292709"/>
            <a:chOff x="10455248" y="6364487"/>
            <a:chExt cx="1313315" cy="292709"/>
          </a:xfrm>
        </p:grpSpPr>
        <p:sp>
          <p:nvSpPr>
            <p:cNvPr id="23" name="Rectangle 22"/>
            <p:cNvSpPr/>
            <p:nvPr userDrawn="1"/>
          </p:nvSpPr>
          <p:spPr>
            <a:xfrm>
              <a:off x="10922177" y="6416349"/>
              <a:ext cx="846386"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10</a:t>
              </a:r>
              <a:endParaRPr lang="en-GB" sz="1400" dirty="0">
                <a:solidFill>
                  <a:schemeClr val="accent2"/>
                </a:solidFill>
              </a:endParaRPr>
            </a:p>
          </p:txBody>
        </p:sp>
        <p:sp>
          <p:nvSpPr>
            <p:cNvPr id="87" name="Freeform 19"/>
            <p:cNvSpPr>
              <a:spLocks noEditPoints="1"/>
            </p:cNvSpPr>
            <p:nvPr userDrawn="1"/>
          </p:nvSpPr>
          <p:spPr bwMode="auto">
            <a:xfrm>
              <a:off x="10455248" y="6364487"/>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89" name="Straight Connector 88"/>
          <p:cNvCxnSpPr/>
          <p:nvPr userDrawn="1"/>
        </p:nvCxnSpPr>
        <p:spPr>
          <a:xfrm>
            <a:off x="10033000" y="686270"/>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0" name="Straight Connector 89"/>
          <p:cNvCxnSpPr/>
          <p:nvPr userDrawn="1"/>
        </p:nvCxnSpPr>
        <p:spPr>
          <a:xfrm>
            <a:off x="10033000" y="1371952"/>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1" name="Straight Connector 90"/>
          <p:cNvCxnSpPr/>
          <p:nvPr userDrawn="1"/>
        </p:nvCxnSpPr>
        <p:spPr>
          <a:xfrm>
            <a:off x="10033000" y="2057634"/>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2" name="Straight Connector 91"/>
          <p:cNvCxnSpPr/>
          <p:nvPr userDrawn="1"/>
        </p:nvCxnSpPr>
        <p:spPr>
          <a:xfrm>
            <a:off x="10033000" y="2743316"/>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3" name="Straight Connector 92"/>
          <p:cNvCxnSpPr/>
          <p:nvPr userDrawn="1"/>
        </p:nvCxnSpPr>
        <p:spPr>
          <a:xfrm>
            <a:off x="10033000" y="3428998"/>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4" name="Straight Connector 93"/>
          <p:cNvCxnSpPr/>
          <p:nvPr userDrawn="1"/>
        </p:nvCxnSpPr>
        <p:spPr>
          <a:xfrm>
            <a:off x="10033000" y="4114680"/>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p:cNvCxnSpPr/>
          <p:nvPr userDrawn="1"/>
        </p:nvCxnSpPr>
        <p:spPr>
          <a:xfrm>
            <a:off x="10033000" y="4800362"/>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p:cNvCxnSpPr/>
          <p:nvPr userDrawn="1"/>
        </p:nvCxnSpPr>
        <p:spPr>
          <a:xfrm>
            <a:off x="10033000" y="5486044"/>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p:cNvCxnSpPr/>
          <p:nvPr userDrawn="1"/>
        </p:nvCxnSpPr>
        <p:spPr>
          <a:xfrm>
            <a:off x="10033000" y="6171726"/>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65" name="TextBox 64"/>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a:solidFill>
                  <a:srgbClr val="FF0000"/>
                </a:solidFill>
              </a:rPr>
              <a:t>These slides provide</a:t>
            </a:r>
            <a:r>
              <a:rPr lang="en-US" sz="1050" baseline="0" dirty="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a:solidFill>
                <a:srgbClr val="FF0000"/>
              </a:solidFill>
            </a:endParaRPr>
          </a:p>
          <a:p>
            <a:pPr algn="l"/>
            <a:r>
              <a:rPr lang="en-US" sz="1050" baseline="0" dirty="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1768183622"/>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Interactive right icons">
    <p:spTree>
      <p:nvGrpSpPr>
        <p:cNvPr id="1" name=""/>
        <p:cNvGrpSpPr/>
        <p:nvPr/>
      </p:nvGrpSpPr>
      <p:grpSpPr>
        <a:xfrm>
          <a:off x="0" y="0"/>
          <a:ext cx="0" cy="0"/>
          <a:chOff x="0" y="0"/>
          <a:chExt cx="0" cy="0"/>
        </a:xfrm>
      </p:grpSpPr>
      <p:sp>
        <p:nvSpPr>
          <p:cNvPr id="3" name="Rectangle 2"/>
          <p:cNvSpPr/>
          <p:nvPr userDrawn="1"/>
        </p:nvSpPr>
        <p:spPr>
          <a:xfrm>
            <a:off x="10998200" y="0"/>
            <a:ext cx="1193800" cy="114200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Rectangle 38"/>
          <p:cNvSpPr/>
          <p:nvPr userDrawn="1"/>
        </p:nvSpPr>
        <p:spPr>
          <a:xfrm>
            <a:off x="10998200" y="1145870"/>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p:cNvSpPr/>
          <p:nvPr userDrawn="1"/>
        </p:nvSpPr>
        <p:spPr>
          <a:xfrm>
            <a:off x="10998200" y="2288863"/>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Rectangle 40"/>
          <p:cNvSpPr/>
          <p:nvPr userDrawn="1"/>
        </p:nvSpPr>
        <p:spPr>
          <a:xfrm>
            <a:off x="10998200" y="3427839"/>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Rectangle 41"/>
          <p:cNvSpPr/>
          <p:nvPr userDrawn="1"/>
        </p:nvSpPr>
        <p:spPr>
          <a:xfrm>
            <a:off x="10998200" y="4570832"/>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3" name="Rectangle 42"/>
          <p:cNvSpPr/>
          <p:nvPr userDrawn="1"/>
        </p:nvSpPr>
        <p:spPr>
          <a:xfrm>
            <a:off x="10998200" y="5715007"/>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userDrawn="1">
            <p:ph type="title" hasCustomPrompt="1"/>
          </p:nvPr>
        </p:nvSpPr>
        <p:spPr>
          <a:xfrm>
            <a:off x="485776" y="361950"/>
            <a:ext cx="9509124"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userDrawn="1">
            <p:ph type="body" sz="half" idx="15" hasCustomPrompt="1"/>
          </p:nvPr>
        </p:nvSpPr>
        <p:spPr>
          <a:xfrm>
            <a:off x="6162923"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userDrawn="1">
            <p:ph type="body" sz="half" idx="2" hasCustomPrompt="1"/>
          </p:nvPr>
        </p:nvSpPr>
        <p:spPr>
          <a:xfrm>
            <a:off x="485776" y="806807"/>
            <a:ext cx="9509124"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18" name="Freeform 10"/>
          <p:cNvSpPr>
            <a:spLocks noEditPoints="1"/>
          </p:cNvSpPr>
          <p:nvPr userDrawn="1"/>
        </p:nvSpPr>
        <p:spPr bwMode="auto">
          <a:xfrm>
            <a:off x="11448746" y="1582895"/>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23"/>
          <p:cNvSpPr>
            <a:spLocks noEditPoints="1"/>
          </p:cNvSpPr>
          <p:nvPr userDrawn="1"/>
        </p:nvSpPr>
        <p:spPr bwMode="auto">
          <a:xfrm>
            <a:off x="11461255" y="4983465"/>
            <a:ext cx="267691" cy="317727"/>
          </a:xfrm>
          <a:custGeom>
            <a:avLst/>
            <a:gdLst>
              <a:gd name="T0" fmla="*/ 76 w 80"/>
              <a:gd name="T1" fmla="*/ 96 h 96"/>
              <a:gd name="T2" fmla="*/ 40 w 80"/>
              <a:gd name="T3" fmla="*/ 96 h 96"/>
              <a:gd name="T4" fmla="*/ 36 w 80"/>
              <a:gd name="T5" fmla="*/ 92 h 96"/>
              <a:gd name="T6" fmla="*/ 36 w 80"/>
              <a:gd name="T7" fmla="*/ 76 h 96"/>
              <a:gd name="T8" fmla="*/ 40 w 80"/>
              <a:gd name="T9" fmla="*/ 72 h 96"/>
              <a:gd name="T10" fmla="*/ 76 w 80"/>
              <a:gd name="T11" fmla="*/ 72 h 96"/>
              <a:gd name="T12" fmla="*/ 80 w 80"/>
              <a:gd name="T13" fmla="*/ 76 h 96"/>
              <a:gd name="T14" fmla="*/ 80 w 80"/>
              <a:gd name="T15" fmla="*/ 92 h 96"/>
              <a:gd name="T16" fmla="*/ 76 w 80"/>
              <a:gd name="T17" fmla="*/ 96 h 96"/>
              <a:gd name="T18" fmla="*/ 44 w 80"/>
              <a:gd name="T19" fmla="*/ 88 h 96"/>
              <a:gd name="T20" fmla="*/ 72 w 80"/>
              <a:gd name="T21" fmla="*/ 88 h 96"/>
              <a:gd name="T22" fmla="*/ 72 w 80"/>
              <a:gd name="T23" fmla="*/ 80 h 96"/>
              <a:gd name="T24" fmla="*/ 44 w 80"/>
              <a:gd name="T25" fmla="*/ 80 h 96"/>
              <a:gd name="T26" fmla="*/ 44 w 80"/>
              <a:gd name="T27" fmla="*/ 88 h 96"/>
              <a:gd name="T28" fmla="*/ 76 w 80"/>
              <a:gd name="T29" fmla="*/ 64 h 96"/>
              <a:gd name="T30" fmla="*/ 4 w 80"/>
              <a:gd name="T31" fmla="*/ 64 h 96"/>
              <a:gd name="T32" fmla="*/ 0 w 80"/>
              <a:gd name="T33" fmla="*/ 60 h 96"/>
              <a:gd name="T34" fmla="*/ 0 w 80"/>
              <a:gd name="T35" fmla="*/ 4 h 96"/>
              <a:gd name="T36" fmla="*/ 4 w 80"/>
              <a:gd name="T37" fmla="*/ 0 h 96"/>
              <a:gd name="T38" fmla="*/ 76 w 80"/>
              <a:gd name="T39" fmla="*/ 0 h 96"/>
              <a:gd name="T40" fmla="*/ 80 w 80"/>
              <a:gd name="T41" fmla="*/ 4 h 96"/>
              <a:gd name="T42" fmla="*/ 80 w 80"/>
              <a:gd name="T43" fmla="*/ 60 h 96"/>
              <a:gd name="T44" fmla="*/ 76 w 80"/>
              <a:gd name="T45" fmla="*/ 64 h 96"/>
              <a:gd name="T46" fmla="*/ 8 w 80"/>
              <a:gd name="T47" fmla="*/ 56 h 96"/>
              <a:gd name="T48" fmla="*/ 72 w 80"/>
              <a:gd name="T49" fmla="*/ 56 h 96"/>
              <a:gd name="T50" fmla="*/ 72 w 80"/>
              <a:gd name="T51" fmla="*/ 24 h 96"/>
              <a:gd name="T52" fmla="*/ 8 w 80"/>
              <a:gd name="T53" fmla="*/ 24 h 96"/>
              <a:gd name="T54" fmla="*/ 8 w 80"/>
              <a:gd name="T55" fmla="*/ 56 h 96"/>
              <a:gd name="T56" fmla="*/ 8 w 80"/>
              <a:gd name="T57" fmla="*/ 16 h 96"/>
              <a:gd name="T58" fmla="*/ 72 w 80"/>
              <a:gd name="T59" fmla="*/ 16 h 96"/>
              <a:gd name="T60" fmla="*/ 72 w 80"/>
              <a:gd name="T61" fmla="*/ 8 h 96"/>
              <a:gd name="T62" fmla="*/ 8 w 80"/>
              <a:gd name="T63" fmla="*/ 8 h 96"/>
              <a:gd name="T64" fmla="*/ 8 w 80"/>
              <a:gd name="T65"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96">
                <a:moveTo>
                  <a:pt x="76" y="96"/>
                </a:moveTo>
                <a:cubicBezTo>
                  <a:pt x="40" y="96"/>
                  <a:pt x="40" y="96"/>
                  <a:pt x="40" y="96"/>
                </a:cubicBezTo>
                <a:cubicBezTo>
                  <a:pt x="38" y="96"/>
                  <a:pt x="36" y="94"/>
                  <a:pt x="36" y="92"/>
                </a:cubicBezTo>
                <a:cubicBezTo>
                  <a:pt x="36" y="76"/>
                  <a:pt x="36" y="76"/>
                  <a:pt x="36" y="76"/>
                </a:cubicBezTo>
                <a:cubicBezTo>
                  <a:pt x="36" y="74"/>
                  <a:pt x="38" y="72"/>
                  <a:pt x="40" y="72"/>
                </a:cubicBezTo>
                <a:cubicBezTo>
                  <a:pt x="76" y="72"/>
                  <a:pt x="76" y="72"/>
                  <a:pt x="76" y="72"/>
                </a:cubicBezTo>
                <a:cubicBezTo>
                  <a:pt x="78" y="72"/>
                  <a:pt x="80" y="74"/>
                  <a:pt x="80" y="76"/>
                </a:cubicBezTo>
                <a:cubicBezTo>
                  <a:pt x="80" y="92"/>
                  <a:pt x="80" y="92"/>
                  <a:pt x="80" y="92"/>
                </a:cubicBezTo>
                <a:cubicBezTo>
                  <a:pt x="80" y="94"/>
                  <a:pt x="78" y="96"/>
                  <a:pt x="76" y="96"/>
                </a:cubicBezTo>
                <a:close/>
                <a:moveTo>
                  <a:pt x="44" y="88"/>
                </a:moveTo>
                <a:cubicBezTo>
                  <a:pt x="72" y="88"/>
                  <a:pt x="72" y="88"/>
                  <a:pt x="72" y="88"/>
                </a:cubicBezTo>
                <a:cubicBezTo>
                  <a:pt x="72" y="80"/>
                  <a:pt x="72" y="80"/>
                  <a:pt x="72" y="80"/>
                </a:cubicBezTo>
                <a:cubicBezTo>
                  <a:pt x="44" y="80"/>
                  <a:pt x="44" y="80"/>
                  <a:pt x="44" y="80"/>
                </a:cubicBezTo>
                <a:lnTo>
                  <a:pt x="44" y="88"/>
                </a:lnTo>
                <a:close/>
                <a:moveTo>
                  <a:pt x="76" y="64"/>
                </a:moveTo>
                <a:cubicBezTo>
                  <a:pt x="4" y="64"/>
                  <a:pt x="4" y="64"/>
                  <a:pt x="4" y="64"/>
                </a:cubicBezTo>
                <a:cubicBezTo>
                  <a:pt x="2" y="64"/>
                  <a:pt x="0" y="62"/>
                  <a:pt x="0" y="60"/>
                </a:cubicBezTo>
                <a:cubicBezTo>
                  <a:pt x="0" y="4"/>
                  <a:pt x="0" y="4"/>
                  <a:pt x="0" y="4"/>
                </a:cubicBezTo>
                <a:cubicBezTo>
                  <a:pt x="0" y="2"/>
                  <a:pt x="2" y="0"/>
                  <a:pt x="4" y="0"/>
                </a:cubicBezTo>
                <a:cubicBezTo>
                  <a:pt x="76" y="0"/>
                  <a:pt x="76" y="0"/>
                  <a:pt x="76" y="0"/>
                </a:cubicBezTo>
                <a:cubicBezTo>
                  <a:pt x="78" y="0"/>
                  <a:pt x="80" y="2"/>
                  <a:pt x="80" y="4"/>
                </a:cubicBezTo>
                <a:cubicBezTo>
                  <a:pt x="80" y="60"/>
                  <a:pt x="80" y="60"/>
                  <a:pt x="80" y="60"/>
                </a:cubicBezTo>
                <a:cubicBezTo>
                  <a:pt x="80" y="62"/>
                  <a:pt x="78" y="64"/>
                  <a:pt x="76" y="64"/>
                </a:cubicBezTo>
                <a:close/>
                <a:moveTo>
                  <a:pt x="8" y="56"/>
                </a:moveTo>
                <a:cubicBezTo>
                  <a:pt x="72" y="56"/>
                  <a:pt x="72" y="56"/>
                  <a:pt x="72" y="56"/>
                </a:cubicBezTo>
                <a:cubicBezTo>
                  <a:pt x="72" y="24"/>
                  <a:pt x="72" y="24"/>
                  <a:pt x="72" y="24"/>
                </a:cubicBezTo>
                <a:cubicBezTo>
                  <a:pt x="8" y="24"/>
                  <a:pt x="8" y="24"/>
                  <a:pt x="8" y="24"/>
                </a:cubicBezTo>
                <a:lnTo>
                  <a:pt x="8" y="56"/>
                </a:lnTo>
                <a:close/>
                <a:moveTo>
                  <a:pt x="8" y="16"/>
                </a:moveTo>
                <a:cubicBezTo>
                  <a:pt x="72" y="16"/>
                  <a:pt x="72" y="16"/>
                  <a:pt x="72" y="16"/>
                </a:cubicBezTo>
                <a:cubicBezTo>
                  <a:pt x="72" y="8"/>
                  <a:pt x="72" y="8"/>
                  <a:pt x="72" y="8"/>
                </a:cubicBezTo>
                <a:cubicBezTo>
                  <a:pt x="8" y="8"/>
                  <a:pt x="8" y="8"/>
                  <a:pt x="8" y="8"/>
                </a:cubicBezTo>
                <a:lnTo>
                  <a:pt x="8"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0" name="Group 13"/>
          <p:cNvGrpSpPr>
            <a:grpSpLocks noChangeAspect="1"/>
          </p:cNvGrpSpPr>
          <p:nvPr userDrawn="1"/>
        </p:nvGrpSpPr>
        <p:grpSpPr bwMode="auto">
          <a:xfrm>
            <a:off x="11460629" y="2698368"/>
            <a:ext cx="268942" cy="323982"/>
            <a:chOff x="292" y="2131"/>
            <a:chExt cx="215" cy="259"/>
          </a:xfrm>
          <a:solidFill>
            <a:schemeClr val="bg1"/>
          </a:solidFill>
        </p:grpSpPr>
        <p:sp>
          <p:nvSpPr>
            <p:cNvPr id="21"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 name="Group 26"/>
          <p:cNvGrpSpPr>
            <a:grpSpLocks noChangeAspect="1"/>
          </p:cNvGrpSpPr>
          <p:nvPr userDrawn="1"/>
        </p:nvGrpSpPr>
        <p:grpSpPr bwMode="auto">
          <a:xfrm>
            <a:off x="11461254" y="6127640"/>
            <a:ext cx="267692" cy="317727"/>
            <a:chOff x="3091" y="1784"/>
            <a:chExt cx="214" cy="254"/>
          </a:xfrm>
          <a:solidFill>
            <a:schemeClr val="bg1"/>
          </a:solidFill>
        </p:grpSpPr>
        <p:sp>
          <p:nvSpPr>
            <p:cNvPr id="24" name="Freeform 27"/>
            <p:cNvSpPr>
              <a:spLocks noEditPoints="1"/>
            </p:cNvSpPr>
            <p:nvPr/>
          </p:nvSpPr>
          <p:spPr bwMode="auto">
            <a:xfrm>
              <a:off x="3091" y="1784"/>
              <a:ext cx="214" cy="254"/>
            </a:xfrm>
            <a:custGeom>
              <a:avLst/>
              <a:gdLst>
                <a:gd name="T0" fmla="*/ 76 w 80"/>
                <a:gd name="T1" fmla="*/ 96 h 96"/>
                <a:gd name="T2" fmla="*/ 4 w 80"/>
                <a:gd name="T3" fmla="*/ 96 h 96"/>
                <a:gd name="T4" fmla="*/ 0 w 80"/>
                <a:gd name="T5" fmla="*/ 92 h 96"/>
                <a:gd name="T6" fmla="*/ 0 w 80"/>
                <a:gd name="T7" fmla="*/ 4 h 96"/>
                <a:gd name="T8" fmla="*/ 4 w 80"/>
                <a:gd name="T9" fmla="*/ 0 h 96"/>
                <a:gd name="T10" fmla="*/ 76 w 80"/>
                <a:gd name="T11" fmla="*/ 0 h 96"/>
                <a:gd name="T12" fmla="*/ 80 w 80"/>
                <a:gd name="T13" fmla="*/ 4 h 96"/>
                <a:gd name="T14" fmla="*/ 80 w 80"/>
                <a:gd name="T15" fmla="*/ 92 h 96"/>
                <a:gd name="T16" fmla="*/ 76 w 80"/>
                <a:gd name="T17" fmla="*/ 96 h 96"/>
                <a:gd name="T18" fmla="*/ 8 w 80"/>
                <a:gd name="T19" fmla="*/ 88 h 96"/>
                <a:gd name="T20" fmla="*/ 72 w 80"/>
                <a:gd name="T21" fmla="*/ 88 h 96"/>
                <a:gd name="T22" fmla="*/ 72 w 80"/>
                <a:gd name="T23" fmla="*/ 8 h 96"/>
                <a:gd name="T24" fmla="*/ 8 w 80"/>
                <a:gd name="T25" fmla="*/ 8 h 96"/>
                <a:gd name="T26" fmla="*/ 8 w 80"/>
                <a:gd name="T27" fmla="*/ 88 h 96"/>
                <a:gd name="T28" fmla="*/ 40 w 80"/>
                <a:gd name="T29" fmla="*/ 80 h 96"/>
                <a:gd name="T30" fmla="*/ 36 w 80"/>
                <a:gd name="T31" fmla="*/ 76 h 96"/>
                <a:gd name="T32" fmla="*/ 36 w 80"/>
                <a:gd name="T33" fmla="*/ 20 h 96"/>
                <a:gd name="T34" fmla="*/ 40 w 80"/>
                <a:gd name="T35" fmla="*/ 16 h 96"/>
                <a:gd name="T36" fmla="*/ 44 w 80"/>
                <a:gd name="T37" fmla="*/ 20 h 96"/>
                <a:gd name="T38" fmla="*/ 44 w 80"/>
                <a:gd name="T39" fmla="*/ 76 h 96"/>
                <a:gd name="T40" fmla="*/ 40 w 80"/>
                <a:gd name="T41" fmla="*/ 8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96">
                  <a:moveTo>
                    <a:pt x="76" y="96"/>
                  </a:moveTo>
                  <a:cubicBezTo>
                    <a:pt x="4" y="96"/>
                    <a:pt x="4" y="96"/>
                    <a:pt x="4" y="96"/>
                  </a:cubicBezTo>
                  <a:cubicBezTo>
                    <a:pt x="2" y="96"/>
                    <a:pt x="0" y="94"/>
                    <a:pt x="0" y="92"/>
                  </a:cubicBezTo>
                  <a:cubicBezTo>
                    <a:pt x="0" y="4"/>
                    <a:pt x="0" y="4"/>
                    <a:pt x="0" y="4"/>
                  </a:cubicBezTo>
                  <a:cubicBezTo>
                    <a:pt x="0" y="2"/>
                    <a:pt x="2" y="0"/>
                    <a:pt x="4" y="0"/>
                  </a:cubicBezTo>
                  <a:cubicBezTo>
                    <a:pt x="76" y="0"/>
                    <a:pt x="76" y="0"/>
                    <a:pt x="76" y="0"/>
                  </a:cubicBezTo>
                  <a:cubicBezTo>
                    <a:pt x="78" y="0"/>
                    <a:pt x="80" y="2"/>
                    <a:pt x="80" y="4"/>
                  </a:cubicBezTo>
                  <a:cubicBezTo>
                    <a:pt x="80" y="92"/>
                    <a:pt x="80" y="92"/>
                    <a:pt x="80" y="92"/>
                  </a:cubicBezTo>
                  <a:cubicBezTo>
                    <a:pt x="80" y="94"/>
                    <a:pt x="78" y="96"/>
                    <a:pt x="76" y="96"/>
                  </a:cubicBezTo>
                  <a:close/>
                  <a:moveTo>
                    <a:pt x="8" y="88"/>
                  </a:moveTo>
                  <a:cubicBezTo>
                    <a:pt x="72" y="88"/>
                    <a:pt x="72" y="88"/>
                    <a:pt x="72" y="88"/>
                  </a:cubicBezTo>
                  <a:cubicBezTo>
                    <a:pt x="72" y="8"/>
                    <a:pt x="72" y="8"/>
                    <a:pt x="72" y="8"/>
                  </a:cubicBezTo>
                  <a:cubicBezTo>
                    <a:pt x="8" y="8"/>
                    <a:pt x="8" y="8"/>
                    <a:pt x="8" y="8"/>
                  </a:cubicBezTo>
                  <a:lnTo>
                    <a:pt x="8" y="88"/>
                  </a:lnTo>
                  <a:close/>
                  <a:moveTo>
                    <a:pt x="40" y="80"/>
                  </a:moveTo>
                  <a:cubicBezTo>
                    <a:pt x="38" y="80"/>
                    <a:pt x="36" y="78"/>
                    <a:pt x="36" y="76"/>
                  </a:cubicBezTo>
                  <a:cubicBezTo>
                    <a:pt x="36" y="20"/>
                    <a:pt x="36" y="20"/>
                    <a:pt x="36" y="20"/>
                  </a:cubicBezTo>
                  <a:cubicBezTo>
                    <a:pt x="36" y="18"/>
                    <a:pt x="38" y="16"/>
                    <a:pt x="40" y="16"/>
                  </a:cubicBezTo>
                  <a:cubicBezTo>
                    <a:pt x="42" y="16"/>
                    <a:pt x="44" y="18"/>
                    <a:pt x="44" y="20"/>
                  </a:cubicBezTo>
                  <a:cubicBezTo>
                    <a:pt x="44" y="76"/>
                    <a:pt x="44" y="76"/>
                    <a:pt x="44" y="76"/>
                  </a:cubicBezTo>
                  <a:cubicBezTo>
                    <a:pt x="44" y="78"/>
                    <a:pt x="42"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8"/>
            <p:cNvSpPr>
              <a:spLocks/>
            </p:cNvSpPr>
            <p:nvPr/>
          </p:nvSpPr>
          <p:spPr bwMode="auto">
            <a:xfrm>
              <a:off x="3145" y="1837"/>
              <a:ext cx="101" cy="138"/>
            </a:xfrm>
            <a:custGeom>
              <a:avLst/>
              <a:gdLst>
                <a:gd name="T0" fmla="*/ 19 w 38"/>
                <a:gd name="T1" fmla="*/ 52 h 52"/>
                <a:gd name="T2" fmla="*/ 3 w 38"/>
                <a:gd name="T3" fmla="*/ 49 h 52"/>
                <a:gd name="T4" fmla="*/ 1 w 38"/>
                <a:gd name="T5" fmla="*/ 43 h 52"/>
                <a:gd name="T6" fmla="*/ 6 w 38"/>
                <a:gd name="T7" fmla="*/ 41 h 52"/>
                <a:gd name="T8" fmla="*/ 27 w 38"/>
                <a:gd name="T9" fmla="*/ 42 h 52"/>
                <a:gd name="T10" fmla="*/ 29 w 38"/>
                <a:gd name="T11" fmla="*/ 37 h 52"/>
                <a:gd name="T12" fmla="*/ 19 w 38"/>
                <a:gd name="T13" fmla="*/ 31 h 52"/>
                <a:gd name="T14" fmla="*/ 3 w 38"/>
                <a:gd name="T15" fmla="*/ 15 h 52"/>
                <a:gd name="T16" fmla="*/ 9 w 38"/>
                <a:gd name="T17" fmla="*/ 4 h 52"/>
                <a:gd name="T18" fmla="*/ 36 w 38"/>
                <a:gd name="T19" fmla="*/ 5 h 52"/>
                <a:gd name="T20" fmla="*/ 37 w 38"/>
                <a:gd name="T21" fmla="*/ 11 h 52"/>
                <a:gd name="T22" fmla="*/ 32 w 38"/>
                <a:gd name="T23" fmla="*/ 12 h 52"/>
                <a:gd name="T24" fmla="*/ 13 w 38"/>
                <a:gd name="T25" fmla="*/ 11 h 52"/>
                <a:gd name="T26" fmla="*/ 11 w 38"/>
                <a:gd name="T27" fmla="*/ 15 h 52"/>
                <a:gd name="T28" fmla="*/ 22 w 38"/>
                <a:gd name="T29" fmla="*/ 23 h 52"/>
                <a:gd name="T30" fmla="*/ 37 w 38"/>
                <a:gd name="T31" fmla="*/ 37 h 52"/>
                <a:gd name="T32" fmla="*/ 31 w 38"/>
                <a:gd name="T33" fmla="*/ 49 h 52"/>
                <a:gd name="T34" fmla="*/ 19 w 38"/>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2">
                  <a:moveTo>
                    <a:pt x="19" y="52"/>
                  </a:moveTo>
                  <a:cubicBezTo>
                    <a:pt x="14" y="52"/>
                    <a:pt x="8" y="50"/>
                    <a:pt x="3" y="49"/>
                  </a:cubicBezTo>
                  <a:cubicBezTo>
                    <a:pt x="1" y="48"/>
                    <a:pt x="0" y="45"/>
                    <a:pt x="1" y="43"/>
                  </a:cubicBezTo>
                  <a:cubicBezTo>
                    <a:pt x="1" y="41"/>
                    <a:pt x="4" y="40"/>
                    <a:pt x="6" y="41"/>
                  </a:cubicBezTo>
                  <a:cubicBezTo>
                    <a:pt x="14" y="44"/>
                    <a:pt x="23" y="45"/>
                    <a:pt x="27" y="42"/>
                  </a:cubicBezTo>
                  <a:cubicBezTo>
                    <a:pt x="28" y="41"/>
                    <a:pt x="29" y="40"/>
                    <a:pt x="29" y="37"/>
                  </a:cubicBezTo>
                  <a:cubicBezTo>
                    <a:pt x="29" y="34"/>
                    <a:pt x="26" y="33"/>
                    <a:pt x="19" y="31"/>
                  </a:cubicBezTo>
                  <a:cubicBezTo>
                    <a:pt x="12" y="28"/>
                    <a:pt x="3" y="25"/>
                    <a:pt x="3" y="15"/>
                  </a:cubicBezTo>
                  <a:cubicBezTo>
                    <a:pt x="3" y="10"/>
                    <a:pt x="5" y="6"/>
                    <a:pt x="9" y="4"/>
                  </a:cubicBezTo>
                  <a:cubicBezTo>
                    <a:pt x="17" y="0"/>
                    <a:pt x="30" y="2"/>
                    <a:pt x="36" y="5"/>
                  </a:cubicBezTo>
                  <a:cubicBezTo>
                    <a:pt x="37" y="6"/>
                    <a:pt x="38" y="9"/>
                    <a:pt x="37" y="11"/>
                  </a:cubicBezTo>
                  <a:cubicBezTo>
                    <a:pt x="36" y="13"/>
                    <a:pt x="34" y="13"/>
                    <a:pt x="32" y="12"/>
                  </a:cubicBezTo>
                  <a:cubicBezTo>
                    <a:pt x="28" y="10"/>
                    <a:pt x="18" y="8"/>
                    <a:pt x="13" y="11"/>
                  </a:cubicBezTo>
                  <a:cubicBezTo>
                    <a:pt x="11" y="12"/>
                    <a:pt x="11" y="13"/>
                    <a:pt x="11" y="15"/>
                  </a:cubicBezTo>
                  <a:cubicBezTo>
                    <a:pt x="11" y="19"/>
                    <a:pt x="14" y="21"/>
                    <a:pt x="22" y="23"/>
                  </a:cubicBezTo>
                  <a:cubicBezTo>
                    <a:pt x="28" y="25"/>
                    <a:pt x="37" y="28"/>
                    <a:pt x="37" y="37"/>
                  </a:cubicBezTo>
                  <a:cubicBezTo>
                    <a:pt x="37" y="43"/>
                    <a:pt x="34" y="47"/>
                    <a:pt x="31" y="49"/>
                  </a:cubicBezTo>
                  <a:cubicBezTo>
                    <a:pt x="28" y="51"/>
                    <a:pt x="24" y="52"/>
                    <a:pt x="1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4"/>
          <p:cNvGrpSpPr>
            <a:grpSpLocks noChangeAspect="1"/>
          </p:cNvGrpSpPr>
          <p:nvPr userDrawn="1"/>
        </p:nvGrpSpPr>
        <p:grpSpPr bwMode="auto">
          <a:xfrm>
            <a:off x="11434986" y="424646"/>
            <a:ext cx="320229" cy="292709"/>
            <a:chOff x="293" y="695"/>
            <a:chExt cx="256" cy="234"/>
          </a:xfrm>
          <a:solidFill>
            <a:schemeClr val="bg1"/>
          </a:solidFill>
        </p:grpSpPr>
        <p:sp>
          <p:nvSpPr>
            <p:cNvPr id="27"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9" name="Freeform 19"/>
          <p:cNvSpPr>
            <a:spLocks noEditPoints="1"/>
          </p:cNvSpPr>
          <p:nvPr userDrawn="1"/>
        </p:nvSpPr>
        <p:spPr bwMode="auto">
          <a:xfrm>
            <a:off x="11443117" y="3852981"/>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13" name="Straight Connector 12"/>
          <p:cNvCxnSpPr/>
          <p:nvPr userDrawn="1"/>
        </p:nvCxnSpPr>
        <p:spPr>
          <a:xfrm>
            <a:off x="11239500" y="1145870"/>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11239500" y="2297642"/>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11239500" y="3433551"/>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11239500" y="4559336"/>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11239500" y="5713825"/>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34" name="TextBox 33"/>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a:solidFill>
                  <a:srgbClr val="FF0000"/>
                </a:solidFill>
              </a:rPr>
              <a:t>These slides provide</a:t>
            </a:r>
            <a:r>
              <a:rPr lang="en-US" sz="1050" baseline="0" dirty="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a:solidFill>
                <a:srgbClr val="FF0000"/>
              </a:solidFill>
            </a:endParaRPr>
          </a:p>
          <a:p>
            <a:pPr algn="l"/>
            <a:r>
              <a:rPr lang="en-US" sz="1050" baseline="0" dirty="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1210909431"/>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p:cSld name="BACK PAG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52E706-1FE4-5448-BF88-BDD1A5847DF0}"/>
              </a:ext>
            </a:extLst>
          </p:cNvPr>
          <p:cNvSpPr txBox="1"/>
          <p:nvPr/>
        </p:nvSpPr>
        <p:spPr>
          <a:xfrm>
            <a:off x="374977" y="2505671"/>
            <a:ext cx="8553624" cy="184665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Back pages</a:t>
            </a:r>
          </a:p>
        </p:txBody>
      </p:sp>
    </p:spTree>
    <p:extLst>
      <p:ext uri="{BB962C8B-B14F-4D97-AF65-F5344CB8AC3E}">
        <p14:creationId xmlns:p14="http://schemas.microsoft.com/office/powerpoint/2010/main" val="3032393063"/>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41171F7F-6D9E-5F49-9AA3-DEF9F2C59F0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6802" y="2984402"/>
            <a:ext cx="2615184" cy="544830"/>
          </a:xfrm>
          <a:prstGeom prst="rect">
            <a:avLst/>
          </a:prstGeom>
        </p:spPr>
      </p:pic>
      <p:sp>
        <p:nvSpPr>
          <p:cNvPr id="8" name="Rectangle 7">
            <a:extLst>
              <a:ext uri="{FF2B5EF4-FFF2-40B4-BE49-F238E27FC236}">
                <a16:creationId xmlns:a16="http://schemas.microsoft.com/office/drawing/2014/main" id="{0E3EC6FD-E652-9349-AE1C-8BD4ACBE5962}"/>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tx2"/>
                </a:solidFill>
                <a:effectLst/>
                <a:latin typeface="Arial" panose="020B0604020202020204" pitchFamily="34" charset="0"/>
              </a:rPr>
              <a:t>A business of Marsh McLennan</a:t>
            </a:r>
            <a:endParaRPr lang="en-US" sz="1400" dirty="0">
              <a:solidFill>
                <a:schemeClr val="tx2"/>
              </a:solidFill>
            </a:endParaRPr>
          </a:p>
        </p:txBody>
      </p:sp>
    </p:spTree>
    <p:extLst>
      <p:ext uri="{BB962C8B-B14F-4D97-AF65-F5344CB8AC3E}">
        <p14:creationId xmlns:p14="http://schemas.microsoft.com/office/powerpoint/2010/main" val="417518844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p:cSld name="Back page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1C5E338E-16D3-0A44-9BC7-F9FCD3106C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6802" y="2984402"/>
            <a:ext cx="2615184" cy="544830"/>
          </a:xfrm>
          <a:prstGeom prst="rect">
            <a:avLst/>
          </a:prstGeom>
        </p:spPr>
      </p:pic>
      <p:sp>
        <p:nvSpPr>
          <p:cNvPr id="5" name="Rectangle 4">
            <a:extLst>
              <a:ext uri="{FF2B5EF4-FFF2-40B4-BE49-F238E27FC236}">
                <a16:creationId xmlns:a16="http://schemas.microsoft.com/office/drawing/2014/main" id="{9EBBD039-CADC-3842-8CB7-3BA3EBE03DB2}"/>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bg1"/>
                </a:solidFill>
                <a:effectLst/>
                <a:latin typeface="Arial" panose="020B0604020202020204" pitchFamily="34" charset="0"/>
              </a:rPr>
              <a:t>A business of Marsh McLennan</a:t>
            </a:r>
            <a:endParaRPr lang="en-US" sz="1400" dirty="0">
              <a:solidFill>
                <a:schemeClr val="bg1"/>
              </a:solidFill>
            </a:endParaRPr>
          </a:p>
        </p:txBody>
      </p:sp>
    </p:spTree>
    <p:extLst>
      <p:ext uri="{BB962C8B-B14F-4D97-AF65-F5344CB8AC3E}">
        <p14:creationId xmlns:p14="http://schemas.microsoft.com/office/powerpoint/2010/main" val="4285030962"/>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p:cSld name="Back page + disclaim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B97647A-7060-6441-95B5-4F3CABC16890}"/>
              </a:ext>
            </a:extLst>
          </p:cNvPr>
          <p:cNvSpPr>
            <a:spLocks noGrp="1"/>
          </p:cNvSpPr>
          <p:nvPr>
            <p:ph type="body" sz="quarter" idx="10" hasCustomPrompt="1"/>
          </p:nvPr>
        </p:nvSpPr>
        <p:spPr>
          <a:xfrm>
            <a:off x="485775" y="1609725"/>
            <a:ext cx="11223625" cy="3703320"/>
          </a:xfrm>
        </p:spPr>
        <p:txBody>
          <a:bodyPr anchor="t" anchorCtr="0">
            <a:normAutofit/>
          </a:bodyPr>
          <a:lstStyle>
            <a:lvl1pPr>
              <a:spcBef>
                <a:spcPts val="0"/>
              </a:spcBef>
              <a:defRPr sz="800">
                <a:solidFill>
                  <a:schemeClr val="tx2"/>
                </a:solidFill>
              </a:defRPr>
            </a:lvl1pPr>
          </a:lstStyle>
          <a:p>
            <a:pPr lvl="0"/>
            <a:r>
              <a:rPr lang="en-US" dirty="0"/>
              <a:t>Click to add disclaimer</a:t>
            </a:r>
          </a:p>
        </p:txBody>
      </p:sp>
      <p:pic>
        <p:nvPicPr>
          <p:cNvPr id="11" name="Graphic 10">
            <a:extLst>
              <a:ext uri="{FF2B5EF4-FFF2-40B4-BE49-F238E27FC236}">
                <a16:creationId xmlns:a16="http://schemas.microsoft.com/office/drawing/2014/main" id="{7A1D7202-DC3D-C64A-8448-4612A72608D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6802" y="554729"/>
            <a:ext cx="1857071" cy="386890"/>
          </a:xfrm>
          <a:prstGeom prst="rect">
            <a:avLst/>
          </a:prstGeom>
        </p:spPr>
      </p:pic>
      <p:sp>
        <p:nvSpPr>
          <p:cNvPr id="7" name="Rectangle 6">
            <a:extLst>
              <a:ext uri="{FF2B5EF4-FFF2-40B4-BE49-F238E27FC236}">
                <a16:creationId xmlns:a16="http://schemas.microsoft.com/office/drawing/2014/main" id="{42F49B1B-455D-374F-B8F9-2EFFBC395C19}"/>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tx2"/>
                </a:solidFill>
                <a:effectLst/>
                <a:latin typeface="Arial" panose="020B0604020202020204" pitchFamily="34" charset="0"/>
              </a:rPr>
              <a:t>A business of Marsh McLennan</a:t>
            </a:r>
            <a:endParaRPr lang="en-US" sz="1400" dirty="0">
              <a:solidFill>
                <a:schemeClr val="tx2"/>
              </a:solidFill>
            </a:endParaRPr>
          </a:p>
        </p:txBody>
      </p:sp>
    </p:spTree>
    <p:extLst>
      <p:ext uri="{BB962C8B-B14F-4D97-AF65-F5344CB8AC3E}">
        <p14:creationId xmlns:p14="http://schemas.microsoft.com/office/powerpoint/2010/main" val="214547967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p:cSld name="Back page blue + disclaimer">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4" name="Text Placeholder 11">
            <a:extLst>
              <a:ext uri="{FF2B5EF4-FFF2-40B4-BE49-F238E27FC236}">
                <a16:creationId xmlns:a16="http://schemas.microsoft.com/office/drawing/2014/main" id="{50A11EE6-855A-9049-A228-49ED1E9FCB28}"/>
              </a:ext>
            </a:extLst>
          </p:cNvPr>
          <p:cNvSpPr>
            <a:spLocks noGrp="1"/>
          </p:cNvSpPr>
          <p:nvPr>
            <p:ph type="body" sz="quarter" idx="10" hasCustomPrompt="1"/>
          </p:nvPr>
        </p:nvSpPr>
        <p:spPr>
          <a:xfrm>
            <a:off x="485775" y="1609725"/>
            <a:ext cx="11223625" cy="3703804"/>
          </a:xfrm>
        </p:spPr>
        <p:txBody>
          <a:bodyPr anchor="t" anchorCtr="0">
            <a:normAutofit/>
          </a:bodyPr>
          <a:lstStyle>
            <a:lvl1pPr>
              <a:spcBef>
                <a:spcPts val="0"/>
              </a:spcBef>
              <a:defRPr sz="800">
                <a:solidFill>
                  <a:schemeClr val="bg1"/>
                </a:solidFill>
              </a:defRPr>
            </a:lvl1pPr>
          </a:lstStyle>
          <a:p>
            <a:pPr lvl="0"/>
            <a:r>
              <a:rPr lang="en-US" dirty="0"/>
              <a:t>Click to add disclaimer</a:t>
            </a:r>
          </a:p>
        </p:txBody>
      </p:sp>
      <p:sp>
        <p:nvSpPr>
          <p:cNvPr id="8" name="TextBox 7">
            <a:extLst>
              <a:ext uri="{FF2B5EF4-FFF2-40B4-BE49-F238E27FC236}">
                <a16:creationId xmlns:a16="http://schemas.microsoft.com/office/drawing/2014/main" id="{0774C7E3-C8BD-E848-AACB-125BC2BDCD58}"/>
              </a:ext>
            </a:extLst>
          </p:cNvPr>
          <p:cNvSpPr txBox="1"/>
          <p:nvPr/>
        </p:nvSpPr>
        <p:spPr>
          <a:xfrm>
            <a:off x="474202" y="5585606"/>
            <a:ext cx="5874840" cy="535794"/>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2"/>
                </a:solidFill>
                <a:effectLst/>
                <a:latin typeface="+mn-lt"/>
                <a:ea typeface="+mn-ea"/>
                <a:cs typeface="+mn-cs"/>
              </a:rPr>
              <a:t>We are leaders in risk, strategy and people. One company, with four global businesses, united by a shared purpose to make a difference in the moments that matter.</a:t>
            </a:r>
          </a:p>
        </p:txBody>
      </p:sp>
      <p:pic>
        <p:nvPicPr>
          <p:cNvPr id="9" name="Graphic 8">
            <a:extLst>
              <a:ext uri="{FF2B5EF4-FFF2-40B4-BE49-F238E27FC236}">
                <a16:creationId xmlns:a16="http://schemas.microsoft.com/office/drawing/2014/main" id="{1C0978F2-580C-D846-BB1D-2538154CE24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6802" y="554729"/>
            <a:ext cx="1857071" cy="386890"/>
          </a:xfrm>
          <a:prstGeom prst="rect">
            <a:avLst/>
          </a:prstGeom>
        </p:spPr>
      </p:pic>
      <p:sp>
        <p:nvSpPr>
          <p:cNvPr id="7" name="Rectangle 6">
            <a:extLst>
              <a:ext uri="{FF2B5EF4-FFF2-40B4-BE49-F238E27FC236}">
                <a16:creationId xmlns:a16="http://schemas.microsoft.com/office/drawing/2014/main" id="{2BB901D0-3F63-BF40-93C9-68ACEA3BFCE7}"/>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bg1"/>
                </a:solidFill>
                <a:effectLst/>
                <a:latin typeface="Arial" panose="020B0604020202020204" pitchFamily="34" charset="0"/>
              </a:rPr>
              <a:t>A business of Marsh McLennan</a:t>
            </a:r>
            <a:endParaRPr lang="en-US" sz="1400" dirty="0">
              <a:solidFill>
                <a:schemeClr val="bg1"/>
              </a:solidFill>
            </a:endParaRPr>
          </a:p>
        </p:txBody>
      </p:sp>
    </p:spTree>
    <p:extLst>
      <p:ext uri="{BB962C8B-B14F-4D97-AF65-F5344CB8AC3E}">
        <p14:creationId xmlns:p14="http://schemas.microsoft.com/office/powerpoint/2010/main" val="3081516670"/>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58802" y="382589"/>
            <a:ext cx="11048695" cy="690563"/>
          </a:xfrm>
        </p:spPr>
        <p:txBody>
          <a:bodyPr/>
          <a:lstStyle/>
          <a:p>
            <a:r>
              <a:rPr lang="en-US"/>
              <a:t>Click to edit Master title style</a:t>
            </a:r>
          </a:p>
        </p:txBody>
      </p:sp>
      <p:sp>
        <p:nvSpPr>
          <p:cNvPr id="3" name="Content Placeholder 2"/>
          <p:cNvSpPr>
            <a:spLocks noGrp="1"/>
          </p:cNvSpPr>
          <p:nvPr>
            <p:ph sz="half" idx="1"/>
          </p:nvPr>
        </p:nvSpPr>
        <p:spPr>
          <a:xfrm>
            <a:off x="558802" y="1277940"/>
            <a:ext cx="5437431" cy="4987925"/>
          </a:xfrm>
        </p:spPr>
        <p:txBody>
          <a:bodyPr/>
          <a:lstStyle>
            <a:lvl1pPr>
              <a:defRPr sz="2133"/>
            </a:lvl1pPr>
            <a:lvl2pPr>
              <a:defRPr sz="2133"/>
            </a:lvl2pPr>
            <a:lvl3pPr>
              <a:defRPr sz="2133"/>
            </a:lvl3pPr>
            <a:lvl4pPr>
              <a:defRPr sz="2133"/>
            </a:lvl4pPr>
            <a:lvl5pPr>
              <a:defRPr sz="2133"/>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89724" y="1277940"/>
            <a:ext cx="5417771" cy="4987925"/>
          </a:xfrm>
        </p:spPr>
        <p:txBody>
          <a:bodyPr/>
          <a:lstStyle>
            <a:lvl1pPr>
              <a:defRPr sz="2133"/>
            </a:lvl1pPr>
            <a:lvl2pPr>
              <a:defRPr sz="2133"/>
            </a:lvl2pPr>
            <a:lvl3pPr>
              <a:defRPr sz="2133"/>
            </a:lvl3pPr>
            <a:lvl4pPr>
              <a:defRPr sz="2133"/>
            </a:lvl4pPr>
            <a:lvl5pPr>
              <a:defRPr sz="2133"/>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p:txBody>
          <a:bodyPr/>
          <a:lstStyle>
            <a:lvl1pPr>
              <a:defRPr/>
            </a:lvl1pPr>
          </a:lstStyle>
          <a:p>
            <a:fld id="{B6B3F16F-53C0-4B82-9B28-C27AD8E1490E}" type="slidenum">
              <a:rPr lang="en-US"/>
              <a:pPr/>
              <a:t>‹Nº›</a:t>
            </a:fld>
            <a:endParaRPr lang="en-US" dirty="0"/>
          </a:p>
        </p:txBody>
      </p:sp>
    </p:spTree>
    <p:extLst>
      <p:ext uri="{BB962C8B-B14F-4D97-AF65-F5344CB8AC3E}">
        <p14:creationId xmlns:p14="http://schemas.microsoft.com/office/powerpoint/2010/main" val="2754339766"/>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cSld name="Title and Content">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extLst>
              <p:ext uri="{D42A27DB-BD31-4B8C-83A1-F6EECF244321}">
                <p14:modId xmlns:p14="http://schemas.microsoft.com/office/powerpoint/2010/main" val="10553001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773DA736-E5DF-844D-B5DD-D8BB742411F8}"/>
              </a:ext>
            </a:extLst>
          </p:cNvPr>
          <p:cNvSpPr>
            <a:spLocks noGrp="1"/>
          </p:cNvSpPr>
          <p:nvPr>
            <p:ph type="body" sz="half" idx="10"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7"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11223624" cy="45166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1" name="Text Placeholder 3">
            <a:extLst>
              <a:ext uri="{FF2B5EF4-FFF2-40B4-BE49-F238E27FC236}">
                <a16:creationId xmlns:a16="http://schemas.microsoft.com/office/drawing/2014/main" id="{F2D0924E-7A15-6045-86EA-6E2333478DE4}"/>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25375943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x">
  <p:cSld name="Title slide B: gradient">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321" name="image11.png"/>
          <p:cNvPicPr>
            <a:picLocks noChangeAspect="1"/>
          </p:cNvPicPr>
          <p:nvPr/>
        </p:nvPicPr>
        <p:blipFill>
          <a:blip r:embed="rId3"/>
          <a:stretch>
            <a:fillRect/>
          </a:stretch>
        </p:blipFill>
        <p:spPr>
          <a:xfrm>
            <a:off x="486802" y="341761"/>
            <a:ext cx="1623976" cy="338329"/>
          </a:xfrm>
          <a:prstGeom prst="rect">
            <a:avLst/>
          </a:prstGeom>
          <a:ln w="12700">
            <a:miter lim="400000"/>
          </a:ln>
        </p:spPr>
      </p:pic>
      <p:sp>
        <p:nvSpPr>
          <p:cNvPr id="322" name="Shape 322"/>
          <p:cNvSpPr/>
          <p:nvPr/>
        </p:nvSpPr>
        <p:spPr>
          <a:xfrm>
            <a:off x="485774" y="6257135"/>
            <a:ext cx="1784624" cy="1397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lvl1pPr>
              <a:defRPr sz="1000">
                <a:solidFill>
                  <a:srgbClr val="FFFFFF"/>
                </a:solidFill>
              </a:defRPr>
            </a:lvl1pPr>
          </a:lstStyle>
          <a:p>
            <a:r>
              <a:t>A business of Marsh McLennan</a:t>
            </a:r>
          </a:p>
        </p:txBody>
      </p:sp>
      <p:sp>
        <p:nvSpPr>
          <p:cNvPr id="323" name="Shape 323"/>
          <p:cNvSpPr>
            <a:spLocks noGrp="1"/>
          </p:cNvSpPr>
          <p:nvPr>
            <p:ph type="pic" sz="quarter" idx="13"/>
          </p:nvPr>
        </p:nvSpPr>
        <p:spPr>
          <a:xfrm>
            <a:off x="8133618" y="361950"/>
            <a:ext cx="3575783" cy="495301"/>
          </a:xfrm>
          <a:prstGeom prst="rect">
            <a:avLst/>
          </a:prstGeom>
        </p:spPr>
        <p:txBody>
          <a:bodyPr lIns="91439" tIns="45719" rIns="91439" bIns="45719"/>
          <a:lstStyle/>
          <a:p>
            <a:endParaRPr/>
          </a:p>
        </p:txBody>
      </p:sp>
      <p:sp>
        <p:nvSpPr>
          <p:cNvPr id="324" name="Shape 324"/>
          <p:cNvSpPr>
            <a:spLocks noGrp="1"/>
          </p:cNvSpPr>
          <p:nvPr>
            <p:ph type="body" sz="quarter" idx="14"/>
          </p:nvPr>
        </p:nvSpPr>
        <p:spPr>
          <a:xfrm>
            <a:off x="485775" y="4870889"/>
            <a:ext cx="7400925" cy="1038526"/>
          </a:xfrm>
          <a:prstGeom prst="rect">
            <a:avLst/>
          </a:prstGeom>
        </p:spPr>
        <p:txBody>
          <a:bodyPr anchor="b"/>
          <a:lstStyle>
            <a:lvl1pPr>
              <a:spcBef>
                <a:spcPts val="0"/>
              </a:spcBef>
              <a:defRPr sz="1400">
                <a:solidFill>
                  <a:srgbClr val="FFFFFF"/>
                </a:solidFill>
              </a:defRPr>
            </a:lvl1pPr>
          </a:lstStyle>
          <a:p>
            <a:r>
              <a:t> </a:t>
            </a:r>
          </a:p>
        </p:txBody>
      </p:sp>
      <p:sp>
        <p:nvSpPr>
          <p:cNvPr id="325" name="Shape 325"/>
          <p:cNvSpPr>
            <a:spLocks noGrp="1"/>
          </p:cNvSpPr>
          <p:nvPr>
            <p:ph type="title"/>
          </p:nvPr>
        </p:nvSpPr>
        <p:spPr>
          <a:xfrm>
            <a:off x="448437" y="1764792"/>
            <a:ext cx="9365489" cy="1600201"/>
          </a:xfrm>
          <a:prstGeom prst="rect">
            <a:avLst/>
          </a:prstGeom>
        </p:spPr>
        <p:txBody>
          <a:bodyPr>
            <a:normAutofit/>
          </a:bodyPr>
          <a:lstStyle>
            <a:lvl1pPr>
              <a:lnSpc>
                <a:spcPct val="90000"/>
              </a:lnSpc>
              <a:defRPr sz="6000">
                <a:solidFill>
                  <a:srgbClr val="FFFFFF"/>
                </a:solidFill>
              </a:defRPr>
            </a:lvl1pPr>
          </a:lstStyle>
          <a:p>
            <a:r>
              <a:t>Texto del título</a:t>
            </a:r>
          </a:p>
        </p:txBody>
      </p:sp>
      <p:sp>
        <p:nvSpPr>
          <p:cNvPr id="326" name="Shape 326"/>
          <p:cNvSpPr>
            <a:spLocks noGrp="1"/>
          </p:cNvSpPr>
          <p:nvPr>
            <p:ph type="body" sz="quarter" idx="1"/>
          </p:nvPr>
        </p:nvSpPr>
        <p:spPr>
          <a:xfrm>
            <a:off x="462026" y="3557015"/>
            <a:ext cx="9310624" cy="788378"/>
          </a:xfrm>
          <a:prstGeom prst="rect">
            <a:avLst/>
          </a:prstGeom>
        </p:spPr>
        <p:txBody>
          <a:bodyPr>
            <a:normAutofit/>
          </a:bodyPr>
          <a:lstStyle>
            <a:lvl1pPr>
              <a:defRPr sz="2400">
                <a:solidFill>
                  <a:srgbClr val="FFFFFF"/>
                </a:solidFill>
              </a:defRPr>
            </a:lvl1pPr>
            <a:lvl2pPr marL="0" indent="457200">
              <a:buSzTx/>
              <a:buNone/>
              <a:defRPr sz="2400">
                <a:solidFill>
                  <a:srgbClr val="FFFFFF"/>
                </a:solidFill>
              </a:defRPr>
            </a:lvl2pPr>
            <a:lvl3pPr marL="0" indent="914400">
              <a:buSzTx/>
              <a:buNone/>
              <a:defRPr sz="2400">
                <a:solidFill>
                  <a:srgbClr val="FFFFFF"/>
                </a:solidFill>
              </a:defRPr>
            </a:lvl3pPr>
            <a:lvl4pPr marL="0" indent="1371600">
              <a:buSzTx/>
              <a:buNone/>
              <a:defRPr sz="2400">
                <a:solidFill>
                  <a:srgbClr val="FFFFFF"/>
                </a:solidFill>
              </a:defRPr>
            </a:lvl4pPr>
            <a:lvl5pPr marL="0" indent="1828800">
              <a:buSzTx/>
              <a:buNone/>
              <a:defRPr sz="2400">
                <a:solidFill>
                  <a:srgbClr val="FFFFFF"/>
                </a:solidFill>
              </a:defRPr>
            </a:lvl5pPr>
          </a:lstStyle>
          <a:p>
            <a:r>
              <a:t>Nivel de texto 1</a:t>
            </a:r>
          </a:p>
          <a:p>
            <a:pPr lvl="1"/>
            <a:r>
              <a:t>Nivel de texto 2</a:t>
            </a:r>
          </a:p>
          <a:p>
            <a:pPr lvl="2"/>
            <a:r>
              <a:t>Nivel de texto 3</a:t>
            </a:r>
          </a:p>
          <a:p>
            <a:pPr lvl="3"/>
            <a:r>
              <a:t>Nivel de texto 4</a:t>
            </a:r>
          </a:p>
          <a:p>
            <a:pPr lvl="4"/>
            <a:r>
              <a:t>Nivel de texto 5</a:t>
            </a:r>
          </a:p>
        </p:txBody>
      </p:sp>
      <p:sp>
        <p:nvSpPr>
          <p:cNvPr id="327" name="Shape 327"/>
          <p:cNvSpPr>
            <a:spLocks noGrp="1"/>
          </p:cNvSpPr>
          <p:nvPr>
            <p:ph type="sldNum" sz="quarter" idx="2"/>
          </p:nvPr>
        </p:nvSpPr>
        <p:spPr>
          <a:prstGeom prst="rect">
            <a:avLst/>
          </a:prstGeom>
        </p:spPr>
        <p:txBody>
          <a:bodyPr/>
          <a:lstStyle/>
          <a:p>
            <a:fld id="{86CB4B4D-7CA3-9044-876B-883B54F8677D}" type="slidenum">
              <a:t>‹Nº›</a:t>
            </a:fld>
            <a:endParaRPr/>
          </a:p>
        </p:txBody>
      </p:sp>
    </p:spTree>
  </p:cSld>
  <p:clrMapOvr>
    <a:masterClrMapping/>
  </p:clrMapOvr>
  <p:transition spd="med"/>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type="tx">
  <p:cSld name="1_Solo el título">
    <p:bg>
      <p:bgPr>
        <a:solidFill>
          <a:srgbClr val="FFFFFF"/>
        </a:solidFill>
        <a:effectLst/>
      </p:bgPr>
    </p:bg>
    <p:spTree>
      <p:nvGrpSpPr>
        <p:cNvPr id="1" name=""/>
        <p:cNvGrpSpPr/>
        <p:nvPr/>
      </p:nvGrpSpPr>
      <p:grpSpPr>
        <a:xfrm>
          <a:off x="0" y="0"/>
          <a:ext cx="0" cy="0"/>
          <a:chOff x="0" y="0"/>
          <a:chExt cx="0" cy="0"/>
        </a:xfrm>
      </p:grpSpPr>
      <p:pic>
        <p:nvPicPr>
          <p:cNvPr id="100" name="image7.png"/>
          <p:cNvPicPr>
            <a:picLocks noChangeAspect="1"/>
          </p:cNvPicPr>
          <p:nvPr/>
        </p:nvPicPr>
        <p:blipFill>
          <a:blip r:embed="rId2"/>
          <a:stretch>
            <a:fillRect/>
          </a:stretch>
        </p:blipFill>
        <p:spPr>
          <a:xfrm>
            <a:off x="485776" y="6437257"/>
            <a:ext cx="1401283" cy="126176"/>
          </a:xfrm>
          <a:prstGeom prst="rect">
            <a:avLst/>
          </a:prstGeom>
          <a:ln w="12700">
            <a:miter lim="400000"/>
          </a:ln>
        </p:spPr>
      </p:pic>
      <p:sp>
        <p:nvSpPr>
          <p:cNvPr id="101" name="Shape 101"/>
          <p:cNvSpPr>
            <a:spLocks noGrp="1"/>
          </p:cNvSpPr>
          <p:nvPr>
            <p:ph type="body" sz="quarter" idx="13"/>
          </p:nvPr>
        </p:nvSpPr>
        <p:spPr>
          <a:xfrm>
            <a:off x="485775" y="806807"/>
            <a:ext cx="11223626" cy="318477"/>
          </a:xfrm>
          <a:prstGeom prst="rect">
            <a:avLst/>
          </a:prstGeom>
        </p:spPr>
        <p:txBody>
          <a:bodyPr/>
          <a:lstStyle>
            <a:lvl1pPr>
              <a:defRPr b="1">
                <a:solidFill>
                  <a:srgbClr val="002C77"/>
                </a:solidFill>
              </a:defRPr>
            </a:lvl1pPr>
          </a:lstStyle>
          <a:p>
            <a:r>
              <a:t> </a:t>
            </a:r>
          </a:p>
        </p:txBody>
      </p:sp>
      <p:sp>
        <p:nvSpPr>
          <p:cNvPr id="102" name="Shape 102"/>
          <p:cNvSpPr>
            <a:spLocks noGrp="1"/>
          </p:cNvSpPr>
          <p:nvPr>
            <p:ph type="title"/>
          </p:nvPr>
        </p:nvSpPr>
        <p:spPr>
          <a:xfrm>
            <a:off x="457200" y="355600"/>
            <a:ext cx="11252200" cy="495300"/>
          </a:xfrm>
          <a:prstGeom prst="rect">
            <a:avLst/>
          </a:prstGeom>
        </p:spPr>
        <p:txBody>
          <a:bodyPr>
            <a:normAutofit/>
          </a:bodyPr>
          <a:lstStyle/>
          <a:p>
            <a:r>
              <a:t>Texto del título</a:t>
            </a:r>
          </a:p>
        </p:txBody>
      </p:sp>
      <p:sp>
        <p:nvSpPr>
          <p:cNvPr id="103" name="Shape 103"/>
          <p:cNvSpPr>
            <a:spLocks noGrp="1"/>
          </p:cNvSpPr>
          <p:nvPr>
            <p:ph type="body" sz="quarter" idx="1"/>
          </p:nvPr>
        </p:nvSpPr>
        <p:spPr>
          <a:xfrm>
            <a:off x="6210301" y="6388100"/>
            <a:ext cx="4546601" cy="247650"/>
          </a:xfrm>
          <a:prstGeom prst="rect">
            <a:avLst/>
          </a:prstGeom>
        </p:spPr>
        <p:txBody>
          <a:bodyPr anchor="b">
            <a:normAutofit/>
          </a:bodyPr>
          <a:lstStyle>
            <a:lvl1pPr algn="r">
              <a:spcBef>
                <a:spcPts val="0"/>
              </a:spcBef>
              <a:defRPr sz="800"/>
            </a:lvl1pPr>
            <a:lvl2pPr marL="0" indent="457200" algn="r">
              <a:spcBef>
                <a:spcPts val="0"/>
              </a:spcBef>
              <a:buSzTx/>
              <a:buNone/>
              <a:defRPr sz="800"/>
            </a:lvl2pPr>
            <a:lvl3pPr marL="0" indent="914400" algn="r">
              <a:spcBef>
                <a:spcPts val="0"/>
              </a:spcBef>
              <a:buSzTx/>
              <a:buNone/>
              <a:defRPr sz="800"/>
            </a:lvl3pPr>
            <a:lvl4pPr marL="0" indent="1371600" algn="r">
              <a:spcBef>
                <a:spcPts val="0"/>
              </a:spcBef>
              <a:buSzTx/>
              <a:buNone/>
              <a:defRPr sz="800"/>
            </a:lvl4pPr>
            <a:lvl5pPr marL="0" indent="1828800" algn="r">
              <a:spcBef>
                <a:spcPts val="0"/>
              </a:spcBef>
              <a:buSzTx/>
              <a:buNone/>
              <a:defRPr sz="800"/>
            </a:lvl5pPr>
          </a:lstStyle>
          <a:p>
            <a:r>
              <a:t>Nivel de texto 1</a:t>
            </a:r>
          </a:p>
          <a:p>
            <a:pPr lvl="1"/>
            <a:r>
              <a:t>Nivel de texto 2</a:t>
            </a:r>
          </a:p>
          <a:p>
            <a:pPr lvl="2"/>
            <a:r>
              <a:t>Nivel de texto 3</a:t>
            </a:r>
          </a:p>
          <a:p>
            <a:pPr lvl="3"/>
            <a:r>
              <a:t>Nivel de texto 4</a:t>
            </a:r>
          </a:p>
          <a:p>
            <a:pPr lvl="4"/>
            <a:r>
              <a:t>Nivel de texto 5</a:t>
            </a:r>
          </a:p>
        </p:txBody>
      </p:sp>
      <p:sp>
        <p:nvSpPr>
          <p:cNvPr id="104" name="Shape 104"/>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587909397"/>
      </p:ext>
    </p:extLst>
  </p:cSld>
  <p:clrMapOvr>
    <a:masterClrMapping/>
  </p:clrMapOvr>
  <p:transition spd="med"/>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0" name="Freeform 39"/>
          <p:cNvSpPr/>
          <p:nvPr userDrawn="1"/>
        </p:nvSpPr>
        <p:spPr bwMode="auto">
          <a:xfrm>
            <a:off x="2" y="4901047"/>
            <a:ext cx="1216193" cy="310835"/>
          </a:xfrm>
          <a:custGeom>
            <a:avLst/>
            <a:gdLst>
              <a:gd name="connsiteX0" fmla="*/ 0 w 912145"/>
              <a:gd name="connsiteY0" fmla="*/ 0 h 233126"/>
              <a:gd name="connsiteX1" fmla="*/ 912145 w 912145"/>
              <a:gd name="connsiteY1" fmla="*/ 119108 h 233126"/>
              <a:gd name="connsiteX2" fmla="*/ 0 w 912145"/>
              <a:gd name="connsiteY2" fmla="*/ 233126 h 233126"/>
              <a:gd name="connsiteX3" fmla="*/ 0 w 912145"/>
              <a:gd name="connsiteY3" fmla="*/ 0 h 233126"/>
            </a:gdLst>
            <a:ahLst/>
            <a:cxnLst>
              <a:cxn ang="0">
                <a:pos x="connsiteX0" y="connsiteY0"/>
              </a:cxn>
              <a:cxn ang="0">
                <a:pos x="connsiteX1" y="connsiteY1"/>
              </a:cxn>
              <a:cxn ang="0">
                <a:pos x="connsiteX2" y="connsiteY2"/>
              </a:cxn>
              <a:cxn ang="0">
                <a:pos x="connsiteX3" y="connsiteY3"/>
              </a:cxn>
            </a:cxnLst>
            <a:rect l="l" t="t" r="r" b="b"/>
            <a:pathLst>
              <a:path w="912145" h="233126">
                <a:moveTo>
                  <a:pt x="0" y="0"/>
                </a:moveTo>
                <a:lnTo>
                  <a:pt x="912145" y="119108"/>
                </a:lnTo>
                <a:lnTo>
                  <a:pt x="0" y="233126"/>
                </a:lnTo>
                <a:lnTo>
                  <a:pt x="0" y="0"/>
                </a:lnTo>
                <a:close/>
              </a:path>
            </a:pathLst>
          </a:cu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0" tIns="0" rIns="121920" bIns="60960" numCol="1" spcCol="0" rtlCol="0" fromWordArt="0" anchor="ctr" anchorCtr="0" forceAA="0" compatLnSpc="1">
            <a:prstTxWarp prst="textNoShape">
              <a:avLst/>
            </a:prstTxWarp>
            <a:noAutofit/>
          </a:bodyPr>
          <a:lstStyle/>
          <a:p>
            <a:pPr marL="0" marR="0" indent="0" algn="ctr" defTabSz="1219170" rtl="0" eaLnBrk="1" fontAlgn="base" latinLnBrk="0" hangingPunct="1">
              <a:lnSpc>
                <a:spcPct val="86000"/>
              </a:lnSpc>
              <a:spcBef>
                <a:spcPct val="0"/>
              </a:spcBef>
              <a:spcAft>
                <a:spcPct val="0"/>
              </a:spcAft>
              <a:buClrTx/>
              <a:buSzTx/>
              <a:buFontTx/>
              <a:buNone/>
              <a:tabLst/>
            </a:pPr>
            <a:endParaRPr kumimoji="0" lang="en-US" sz="2667" b="0" i="0" u="none" strike="noStrike" cap="none" normalizeH="0" baseline="0">
              <a:ln>
                <a:noFill/>
              </a:ln>
              <a:solidFill>
                <a:schemeClr val="tx1"/>
              </a:solidFill>
              <a:effectLst/>
              <a:latin typeface="Arial" charset="0"/>
            </a:endParaRPr>
          </a:p>
        </p:txBody>
      </p:sp>
      <p:sp>
        <p:nvSpPr>
          <p:cNvPr id="41" name="Freeform 40"/>
          <p:cNvSpPr/>
          <p:nvPr userDrawn="1"/>
        </p:nvSpPr>
        <p:spPr bwMode="auto">
          <a:xfrm>
            <a:off x="1200320" y="3609928"/>
            <a:ext cx="10991680" cy="2750648"/>
          </a:xfrm>
          <a:custGeom>
            <a:avLst/>
            <a:gdLst>
              <a:gd name="connsiteX0" fmla="*/ 8243760 w 8243760"/>
              <a:gd name="connsiteY0" fmla="*/ 0 h 2062986"/>
              <a:gd name="connsiteX1" fmla="*/ 8243760 w 8243760"/>
              <a:gd name="connsiteY1" fmla="*/ 2062986 h 2062986"/>
              <a:gd name="connsiteX2" fmla="*/ 0 w 8243760"/>
              <a:gd name="connsiteY2" fmla="*/ 1086715 h 2062986"/>
              <a:gd name="connsiteX3" fmla="*/ 8243760 w 8243760"/>
              <a:gd name="connsiteY3" fmla="*/ 0 h 2062986"/>
            </a:gdLst>
            <a:ahLst/>
            <a:cxnLst>
              <a:cxn ang="0">
                <a:pos x="connsiteX0" y="connsiteY0"/>
              </a:cxn>
              <a:cxn ang="0">
                <a:pos x="connsiteX1" y="connsiteY1"/>
              </a:cxn>
              <a:cxn ang="0">
                <a:pos x="connsiteX2" y="connsiteY2"/>
              </a:cxn>
              <a:cxn ang="0">
                <a:pos x="connsiteX3" y="connsiteY3"/>
              </a:cxn>
            </a:cxnLst>
            <a:rect l="l" t="t" r="r" b="b"/>
            <a:pathLst>
              <a:path w="8243760" h="2062986">
                <a:moveTo>
                  <a:pt x="8243760" y="0"/>
                </a:moveTo>
                <a:lnTo>
                  <a:pt x="8243760" y="2062986"/>
                </a:lnTo>
                <a:lnTo>
                  <a:pt x="0" y="1086715"/>
                </a:lnTo>
                <a:lnTo>
                  <a:pt x="8243760" y="0"/>
                </a:lnTo>
                <a:close/>
              </a:path>
            </a:pathLst>
          </a:cu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0" tIns="0" rIns="121920" bIns="60960" numCol="1" spcCol="0" rtlCol="0" fromWordArt="0" anchor="ctr" anchorCtr="0" forceAA="0" compatLnSpc="1">
            <a:prstTxWarp prst="textNoShape">
              <a:avLst/>
            </a:prstTxWarp>
            <a:noAutofit/>
          </a:bodyPr>
          <a:lstStyle/>
          <a:p>
            <a:pPr marL="0" marR="0" indent="0" algn="ctr" defTabSz="1219170" rtl="0" eaLnBrk="1" fontAlgn="base" latinLnBrk="0" hangingPunct="1">
              <a:lnSpc>
                <a:spcPct val="86000"/>
              </a:lnSpc>
              <a:spcBef>
                <a:spcPct val="0"/>
              </a:spcBef>
              <a:spcAft>
                <a:spcPct val="0"/>
              </a:spcAft>
              <a:buClrTx/>
              <a:buSzTx/>
              <a:buFontTx/>
              <a:buNone/>
              <a:tabLst/>
            </a:pPr>
            <a:endParaRPr kumimoji="0" lang="en-US" sz="2667" b="0" i="0" u="none" strike="noStrike" cap="none" normalizeH="0" baseline="0">
              <a:ln>
                <a:noFill/>
              </a:ln>
              <a:solidFill>
                <a:schemeClr val="tx1"/>
              </a:solidFill>
              <a:effectLst/>
              <a:latin typeface="Arial" charset="0"/>
            </a:endParaRPr>
          </a:p>
        </p:txBody>
      </p:sp>
      <p:sp>
        <p:nvSpPr>
          <p:cNvPr id="42" name="Freeform 41"/>
          <p:cNvSpPr/>
          <p:nvPr userDrawn="1"/>
        </p:nvSpPr>
        <p:spPr bwMode="auto">
          <a:xfrm>
            <a:off x="0" y="5055706"/>
            <a:ext cx="12192000" cy="1802295"/>
          </a:xfrm>
          <a:custGeom>
            <a:avLst/>
            <a:gdLst>
              <a:gd name="connsiteX0" fmla="*/ 9143999 w 9144000"/>
              <a:gd name="connsiteY0" fmla="*/ 0 h 1351721"/>
              <a:gd name="connsiteX1" fmla="*/ 9144000 w 9144000"/>
              <a:gd name="connsiteY1" fmla="*/ 0 h 1351721"/>
              <a:gd name="connsiteX2" fmla="*/ 9144000 w 9144000"/>
              <a:gd name="connsiteY2" fmla="*/ 1351721 h 1351721"/>
              <a:gd name="connsiteX3" fmla="*/ 0 w 9144000"/>
              <a:gd name="connsiteY3" fmla="*/ 1351721 h 1351721"/>
              <a:gd name="connsiteX4" fmla="*/ 0 w 9144000"/>
              <a:gd name="connsiteY4" fmla="*/ 114751 h 1351721"/>
              <a:gd name="connsiteX5" fmla="*/ 909356 w 9144000"/>
              <a:gd name="connsiteY5" fmla="*/ 1082 h 1351721"/>
              <a:gd name="connsiteX6" fmla="*/ 9143999 w 9144000"/>
              <a:gd name="connsiteY6" fmla="*/ 976273 h 1351721"/>
              <a:gd name="connsiteX7" fmla="*/ 9143999 w 9144000"/>
              <a:gd name="connsiteY7" fmla="*/ 0 h 135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1351721">
                <a:moveTo>
                  <a:pt x="9143999" y="0"/>
                </a:moveTo>
                <a:lnTo>
                  <a:pt x="9144000" y="0"/>
                </a:lnTo>
                <a:lnTo>
                  <a:pt x="9144000" y="1351721"/>
                </a:lnTo>
                <a:lnTo>
                  <a:pt x="0" y="1351721"/>
                </a:lnTo>
                <a:lnTo>
                  <a:pt x="0" y="114751"/>
                </a:lnTo>
                <a:lnTo>
                  <a:pt x="909356" y="1082"/>
                </a:lnTo>
                <a:lnTo>
                  <a:pt x="9143999" y="976273"/>
                </a:lnTo>
                <a:lnTo>
                  <a:pt x="9143999" y="0"/>
                </a:lnTo>
                <a:close/>
              </a:path>
            </a:pathLst>
          </a:cu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0" tIns="0" rIns="121920" bIns="60960" numCol="1" spcCol="0" rtlCol="0" fromWordArt="0" anchor="ctr" anchorCtr="0" forceAA="0" compatLnSpc="1">
            <a:prstTxWarp prst="textNoShape">
              <a:avLst/>
            </a:prstTxWarp>
            <a:noAutofit/>
          </a:bodyPr>
          <a:lstStyle/>
          <a:p>
            <a:pPr marL="0" marR="0" indent="0" algn="ctr" defTabSz="1219170" rtl="0" eaLnBrk="1" fontAlgn="base" latinLnBrk="0" hangingPunct="1">
              <a:lnSpc>
                <a:spcPct val="86000"/>
              </a:lnSpc>
              <a:spcBef>
                <a:spcPct val="0"/>
              </a:spcBef>
              <a:spcAft>
                <a:spcPct val="0"/>
              </a:spcAft>
              <a:buClrTx/>
              <a:buSzTx/>
              <a:buFontTx/>
              <a:buNone/>
              <a:tabLst/>
            </a:pPr>
            <a:endParaRPr kumimoji="0" lang="en-US" sz="2667" b="0" i="0" u="none" strike="noStrike" cap="none" normalizeH="0" baseline="0">
              <a:ln>
                <a:noFill/>
              </a:ln>
              <a:solidFill>
                <a:schemeClr val="tx1"/>
              </a:solidFill>
              <a:effectLst/>
              <a:latin typeface="Arial" charset="0"/>
            </a:endParaRPr>
          </a:p>
        </p:txBody>
      </p:sp>
      <p:sp>
        <p:nvSpPr>
          <p:cNvPr id="35" name="Freeform 34"/>
          <p:cNvSpPr/>
          <p:nvPr userDrawn="1"/>
        </p:nvSpPr>
        <p:spPr bwMode="auto">
          <a:xfrm>
            <a:off x="-3" y="-11261"/>
            <a:ext cx="12192003" cy="1648064"/>
          </a:xfrm>
          <a:custGeom>
            <a:avLst/>
            <a:gdLst>
              <a:gd name="connsiteX0" fmla="*/ 0 w 9144002"/>
              <a:gd name="connsiteY0" fmla="*/ 0 h 1236048"/>
              <a:gd name="connsiteX1" fmla="*/ 9144002 w 9144002"/>
              <a:gd name="connsiteY1" fmla="*/ 0 h 1236048"/>
              <a:gd name="connsiteX2" fmla="*/ 9144002 w 9144002"/>
              <a:gd name="connsiteY2" fmla="*/ 153958 h 1236048"/>
              <a:gd name="connsiteX3" fmla="*/ 899382 w 9144002"/>
              <a:gd name="connsiteY3" fmla="*/ 1236048 h 1236048"/>
              <a:gd name="connsiteX4" fmla="*/ 0 w 9144002"/>
              <a:gd name="connsiteY4" fmla="*/ 1122113 h 1236048"/>
              <a:gd name="connsiteX5" fmla="*/ 0 w 9144002"/>
              <a:gd name="connsiteY5" fmla="*/ 0 h 1236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2" h="1236048">
                <a:moveTo>
                  <a:pt x="0" y="0"/>
                </a:moveTo>
                <a:lnTo>
                  <a:pt x="9144002" y="0"/>
                </a:lnTo>
                <a:lnTo>
                  <a:pt x="9144002" y="153958"/>
                </a:lnTo>
                <a:lnTo>
                  <a:pt x="899382" y="1236048"/>
                </a:lnTo>
                <a:lnTo>
                  <a:pt x="0" y="1122113"/>
                </a:lnTo>
                <a:lnTo>
                  <a:pt x="0" y="0"/>
                </a:lnTo>
                <a:close/>
              </a:path>
            </a:pathLst>
          </a:cu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0" tIns="0" rIns="121920" bIns="60960" numCol="1" spcCol="0" rtlCol="0" fromWordArt="0" anchor="ctr" anchorCtr="0" forceAA="0" compatLnSpc="1">
            <a:prstTxWarp prst="textNoShape">
              <a:avLst/>
            </a:prstTxWarp>
            <a:noAutofit/>
          </a:bodyPr>
          <a:lstStyle/>
          <a:p>
            <a:pPr marL="0" marR="0" indent="0" algn="ctr" defTabSz="1219170" rtl="0" eaLnBrk="1" fontAlgn="base" latinLnBrk="0" hangingPunct="1">
              <a:lnSpc>
                <a:spcPct val="86000"/>
              </a:lnSpc>
              <a:spcBef>
                <a:spcPct val="0"/>
              </a:spcBef>
              <a:spcAft>
                <a:spcPct val="0"/>
              </a:spcAft>
              <a:buClrTx/>
              <a:buSzTx/>
              <a:buFontTx/>
              <a:buNone/>
              <a:tabLst/>
            </a:pPr>
            <a:endParaRPr kumimoji="0" lang="en-US" sz="2667" b="0" i="0" u="none" strike="noStrike" cap="none" normalizeH="0" baseline="0">
              <a:ln>
                <a:noFill/>
              </a:ln>
              <a:solidFill>
                <a:schemeClr val="tx1"/>
              </a:solidFill>
              <a:effectLst/>
              <a:latin typeface="Arial" charset="0"/>
            </a:endParaRPr>
          </a:p>
        </p:txBody>
      </p:sp>
      <p:sp>
        <p:nvSpPr>
          <p:cNvPr id="8194" name="PresentationTitle"/>
          <p:cNvSpPr>
            <a:spLocks noGrp="1" noChangeArrowheads="1"/>
          </p:cNvSpPr>
          <p:nvPr>
            <p:ph type="ctrTitle"/>
            <p:custDataLst>
              <p:tags r:id="rId1"/>
            </p:custDataLst>
          </p:nvPr>
        </p:nvSpPr>
        <p:spPr>
          <a:xfrm>
            <a:off x="948353" y="2204041"/>
            <a:ext cx="10454604" cy="423535"/>
          </a:xfrm>
        </p:spPr>
        <p:txBody>
          <a:bodyPr tIns="0" rIns="0" bIns="0">
            <a:spAutoFit/>
          </a:bodyPr>
          <a:lstStyle>
            <a:lvl1pPr>
              <a:lnSpc>
                <a:spcPct val="86000"/>
              </a:lnSpc>
              <a:defRPr sz="3200" b="1"/>
            </a:lvl1pPr>
          </a:lstStyle>
          <a:p>
            <a:pPr lvl="0"/>
            <a:r>
              <a:rPr lang="en-US" noProof="0" dirty="0"/>
              <a:t>Click to edit Master title style</a:t>
            </a:r>
          </a:p>
        </p:txBody>
      </p:sp>
      <p:sp>
        <p:nvSpPr>
          <p:cNvPr id="8388" name="Date"/>
          <p:cNvSpPr>
            <a:spLocks noGrp="1" noChangeArrowheads="1"/>
          </p:cNvSpPr>
          <p:nvPr>
            <p:ph type="subTitle" sz="quarter" idx="1"/>
            <p:custDataLst>
              <p:tags r:id="rId2"/>
            </p:custDataLst>
          </p:nvPr>
        </p:nvSpPr>
        <p:spPr>
          <a:xfrm>
            <a:off x="958430" y="3135055"/>
            <a:ext cx="10444527" cy="272468"/>
          </a:xfrm>
          <a:extLs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lvl1pPr marL="0" indent="0">
              <a:lnSpc>
                <a:spcPct val="83000"/>
              </a:lnSpc>
              <a:spcBef>
                <a:spcPct val="0"/>
              </a:spcBef>
              <a:buFontTx/>
              <a:buNone/>
              <a:defRPr sz="2133">
                <a:solidFill>
                  <a:schemeClr val="accent2"/>
                </a:solidFill>
              </a:defRPr>
            </a:lvl1pPr>
          </a:lstStyle>
          <a:p>
            <a:pPr lvl="0"/>
            <a:r>
              <a:rPr lang="en-US" noProof="0"/>
              <a:t>Click to edit Master subtitle style</a:t>
            </a:r>
            <a:endParaRPr lang="en-US" noProof="0" dirty="0"/>
          </a:p>
        </p:txBody>
      </p:sp>
      <p:sp>
        <p:nvSpPr>
          <p:cNvPr id="22" name="Freeform 9"/>
          <p:cNvSpPr>
            <a:spLocks/>
          </p:cNvSpPr>
          <p:nvPr userDrawn="1"/>
        </p:nvSpPr>
        <p:spPr bwMode="auto">
          <a:xfrm>
            <a:off x="9176982" y="191062"/>
            <a:ext cx="3015017" cy="759407"/>
          </a:xfrm>
          <a:custGeom>
            <a:avLst/>
            <a:gdLst>
              <a:gd name="T0" fmla="*/ 2934 w 2934"/>
              <a:gd name="T1" fmla="*/ 739 h 739"/>
              <a:gd name="T2" fmla="*/ 2934 w 2934"/>
              <a:gd name="T3" fmla="*/ 0 h 739"/>
              <a:gd name="T4" fmla="*/ 2094 w 2934"/>
              <a:gd name="T5" fmla="*/ 111 h 739"/>
              <a:gd name="T6" fmla="*/ 0 w 2934"/>
              <a:gd name="T7" fmla="*/ 386 h 739"/>
              <a:gd name="T8" fmla="*/ 2934 w 2934"/>
              <a:gd name="T9" fmla="*/ 739 h 739"/>
            </a:gdLst>
            <a:ahLst/>
            <a:cxnLst>
              <a:cxn ang="0">
                <a:pos x="T0" y="T1"/>
              </a:cxn>
              <a:cxn ang="0">
                <a:pos x="T2" y="T3"/>
              </a:cxn>
              <a:cxn ang="0">
                <a:pos x="T4" y="T5"/>
              </a:cxn>
              <a:cxn ang="0">
                <a:pos x="T6" y="T7"/>
              </a:cxn>
              <a:cxn ang="0">
                <a:pos x="T8" y="T9"/>
              </a:cxn>
            </a:cxnLst>
            <a:rect l="0" t="0" r="r" b="b"/>
            <a:pathLst>
              <a:path w="2934" h="739">
                <a:moveTo>
                  <a:pt x="2934" y="739"/>
                </a:moveTo>
                <a:lnTo>
                  <a:pt x="2934" y="0"/>
                </a:lnTo>
                <a:lnTo>
                  <a:pt x="2094" y="111"/>
                </a:lnTo>
                <a:lnTo>
                  <a:pt x="0" y="386"/>
                </a:lnTo>
                <a:lnTo>
                  <a:pt x="2934" y="739"/>
                </a:lnTo>
                <a:close/>
              </a:path>
            </a:pathLst>
          </a:custGeom>
          <a:solidFill>
            <a:schemeClr val="accent4"/>
          </a:solidFill>
          <a:ln>
            <a:noFill/>
          </a:ln>
        </p:spPr>
        <p:txBody>
          <a:bodyPr vert="horz" wrap="square" lIns="121920" tIns="60960" rIns="121920" bIns="60960" numCol="1" anchor="t" anchorCtr="0" compatLnSpc="1">
            <a:prstTxWarp prst="textNoShape">
              <a:avLst/>
            </a:prstTxWarp>
          </a:bodyPr>
          <a:lstStyle/>
          <a:p>
            <a:endParaRPr lang="en-US" sz="2400"/>
          </a:p>
        </p:txBody>
      </p:sp>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48353" y="634852"/>
            <a:ext cx="4185508" cy="268224"/>
          </a:xfrm>
          <a:prstGeom prst="rect">
            <a:avLst/>
          </a:prstGeom>
        </p:spPr>
      </p:pic>
      <p:pic>
        <p:nvPicPr>
          <p:cNvPr id="13" name="Picture 12"/>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9593951" y="6419892"/>
            <a:ext cx="1784037" cy="268224"/>
          </a:xfrm>
          <a:prstGeom prst="rect">
            <a:avLst/>
          </a:prstGeom>
        </p:spPr>
      </p:pic>
    </p:spTree>
    <p:extLst>
      <p:ext uri="{BB962C8B-B14F-4D97-AF65-F5344CB8AC3E}">
        <p14:creationId xmlns:p14="http://schemas.microsoft.com/office/powerpoint/2010/main" val="400630757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type="title" preserve="1">
  <p:cSld name="Title Slide With 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 y="-7367"/>
            <a:ext cx="12191997" cy="6860029"/>
          </a:xfrm>
          <a:prstGeom prst="rect">
            <a:avLst/>
          </a:prstGeom>
        </p:spPr>
      </p:pic>
      <p:sp>
        <p:nvSpPr>
          <p:cNvPr id="40" name="Freeform 39"/>
          <p:cNvSpPr/>
          <p:nvPr userDrawn="1"/>
        </p:nvSpPr>
        <p:spPr bwMode="auto">
          <a:xfrm>
            <a:off x="1" y="4903447"/>
            <a:ext cx="1216193" cy="310835"/>
          </a:xfrm>
          <a:custGeom>
            <a:avLst/>
            <a:gdLst>
              <a:gd name="connsiteX0" fmla="*/ 0 w 912145"/>
              <a:gd name="connsiteY0" fmla="*/ 0 h 233126"/>
              <a:gd name="connsiteX1" fmla="*/ 912145 w 912145"/>
              <a:gd name="connsiteY1" fmla="*/ 119108 h 233126"/>
              <a:gd name="connsiteX2" fmla="*/ 0 w 912145"/>
              <a:gd name="connsiteY2" fmla="*/ 233126 h 233126"/>
              <a:gd name="connsiteX3" fmla="*/ 0 w 912145"/>
              <a:gd name="connsiteY3" fmla="*/ 0 h 233126"/>
            </a:gdLst>
            <a:ahLst/>
            <a:cxnLst>
              <a:cxn ang="0">
                <a:pos x="connsiteX0" y="connsiteY0"/>
              </a:cxn>
              <a:cxn ang="0">
                <a:pos x="connsiteX1" y="connsiteY1"/>
              </a:cxn>
              <a:cxn ang="0">
                <a:pos x="connsiteX2" y="connsiteY2"/>
              </a:cxn>
              <a:cxn ang="0">
                <a:pos x="connsiteX3" y="connsiteY3"/>
              </a:cxn>
            </a:cxnLst>
            <a:rect l="l" t="t" r="r" b="b"/>
            <a:pathLst>
              <a:path w="912145" h="233126">
                <a:moveTo>
                  <a:pt x="0" y="0"/>
                </a:moveTo>
                <a:lnTo>
                  <a:pt x="912145" y="119108"/>
                </a:lnTo>
                <a:lnTo>
                  <a:pt x="0" y="233126"/>
                </a:lnTo>
                <a:lnTo>
                  <a:pt x="0" y="0"/>
                </a:lnTo>
                <a:close/>
              </a:path>
            </a:pathLst>
          </a:cu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0" tIns="0" rIns="121920" bIns="60960" numCol="1" spcCol="0" rtlCol="0" fromWordArt="0" anchor="ctr" anchorCtr="0" forceAA="0" compatLnSpc="1">
            <a:prstTxWarp prst="textNoShape">
              <a:avLst/>
            </a:prstTxWarp>
            <a:noAutofit/>
          </a:bodyPr>
          <a:lstStyle/>
          <a:p>
            <a:pPr marL="0" marR="0" indent="0" algn="ctr" defTabSz="1219170" rtl="0" eaLnBrk="1" fontAlgn="base" latinLnBrk="0" hangingPunct="1">
              <a:lnSpc>
                <a:spcPct val="86000"/>
              </a:lnSpc>
              <a:spcBef>
                <a:spcPct val="0"/>
              </a:spcBef>
              <a:spcAft>
                <a:spcPct val="0"/>
              </a:spcAft>
              <a:buClrTx/>
              <a:buSzTx/>
              <a:buFontTx/>
              <a:buNone/>
              <a:tabLst/>
            </a:pPr>
            <a:endParaRPr kumimoji="0" lang="en-US" sz="2667" b="0" i="0" u="none" strike="noStrike" cap="none" normalizeH="0" baseline="0">
              <a:ln>
                <a:noFill/>
              </a:ln>
              <a:solidFill>
                <a:schemeClr val="tx1"/>
              </a:solidFill>
              <a:effectLst/>
              <a:latin typeface="Arial" charset="0"/>
            </a:endParaRPr>
          </a:p>
        </p:txBody>
      </p:sp>
      <p:sp>
        <p:nvSpPr>
          <p:cNvPr id="41" name="Freeform 40"/>
          <p:cNvSpPr/>
          <p:nvPr userDrawn="1"/>
        </p:nvSpPr>
        <p:spPr bwMode="auto">
          <a:xfrm>
            <a:off x="1200319" y="3612328"/>
            <a:ext cx="10991680" cy="2750648"/>
          </a:xfrm>
          <a:custGeom>
            <a:avLst/>
            <a:gdLst>
              <a:gd name="connsiteX0" fmla="*/ 8243760 w 8243760"/>
              <a:gd name="connsiteY0" fmla="*/ 0 h 2062986"/>
              <a:gd name="connsiteX1" fmla="*/ 8243760 w 8243760"/>
              <a:gd name="connsiteY1" fmla="*/ 2062986 h 2062986"/>
              <a:gd name="connsiteX2" fmla="*/ 0 w 8243760"/>
              <a:gd name="connsiteY2" fmla="*/ 1086715 h 2062986"/>
              <a:gd name="connsiteX3" fmla="*/ 8243760 w 8243760"/>
              <a:gd name="connsiteY3" fmla="*/ 0 h 2062986"/>
            </a:gdLst>
            <a:ahLst/>
            <a:cxnLst>
              <a:cxn ang="0">
                <a:pos x="connsiteX0" y="connsiteY0"/>
              </a:cxn>
              <a:cxn ang="0">
                <a:pos x="connsiteX1" y="connsiteY1"/>
              </a:cxn>
              <a:cxn ang="0">
                <a:pos x="connsiteX2" y="connsiteY2"/>
              </a:cxn>
              <a:cxn ang="0">
                <a:pos x="connsiteX3" y="connsiteY3"/>
              </a:cxn>
            </a:cxnLst>
            <a:rect l="l" t="t" r="r" b="b"/>
            <a:pathLst>
              <a:path w="8243760" h="2062986">
                <a:moveTo>
                  <a:pt x="8243760" y="0"/>
                </a:moveTo>
                <a:lnTo>
                  <a:pt x="8243760" y="2062986"/>
                </a:lnTo>
                <a:lnTo>
                  <a:pt x="0" y="1086715"/>
                </a:lnTo>
                <a:lnTo>
                  <a:pt x="8243760" y="0"/>
                </a:lnTo>
                <a:close/>
              </a:path>
            </a:pathLst>
          </a:custGeom>
          <a:solidFill>
            <a:schemeClr val="accent2">
              <a:alpha val="7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0" tIns="0" rIns="121920" bIns="60960" numCol="1" spcCol="0" rtlCol="0" fromWordArt="0" anchor="ctr" anchorCtr="0" forceAA="0" compatLnSpc="1">
            <a:prstTxWarp prst="textNoShape">
              <a:avLst/>
            </a:prstTxWarp>
            <a:noAutofit/>
          </a:bodyPr>
          <a:lstStyle/>
          <a:p>
            <a:pPr marL="0" marR="0" indent="0" algn="ctr" defTabSz="1219170" rtl="0" eaLnBrk="1" fontAlgn="base" latinLnBrk="0" hangingPunct="1">
              <a:lnSpc>
                <a:spcPct val="86000"/>
              </a:lnSpc>
              <a:spcBef>
                <a:spcPct val="0"/>
              </a:spcBef>
              <a:spcAft>
                <a:spcPct val="0"/>
              </a:spcAft>
              <a:buClrTx/>
              <a:buSzTx/>
              <a:buFontTx/>
              <a:buNone/>
              <a:tabLst/>
            </a:pPr>
            <a:endParaRPr kumimoji="0" lang="en-US" sz="2667" b="0" i="0" u="none" strike="noStrike" cap="none" normalizeH="0" baseline="0">
              <a:ln>
                <a:noFill/>
              </a:ln>
              <a:solidFill>
                <a:schemeClr val="tx1"/>
              </a:solidFill>
              <a:effectLst/>
              <a:latin typeface="Arial" charset="0"/>
            </a:endParaRPr>
          </a:p>
        </p:txBody>
      </p:sp>
      <p:sp>
        <p:nvSpPr>
          <p:cNvPr id="17" name="Freeform 16"/>
          <p:cNvSpPr/>
          <p:nvPr userDrawn="1"/>
        </p:nvSpPr>
        <p:spPr bwMode="auto">
          <a:xfrm>
            <a:off x="-1" y="5061281"/>
            <a:ext cx="12192000" cy="1802295"/>
          </a:xfrm>
          <a:custGeom>
            <a:avLst/>
            <a:gdLst>
              <a:gd name="connsiteX0" fmla="*/ 9143999 w 9144000"/>
              <a:gd name="connsiteY0" fmla="*/ 0 h 1351721"/>
              <a:gd name="connsiteX1" fmla="*/ 9144000 w 9144000"/>
              <a:gd name="connsiteY1" fmla="*/ 0 h 1351721"/>
              <a:gd name="connsiteX2" fmla="*/ 9144000 w 9144000"/>
              <a:gd name="connsiteY2" fmla="*/ 1351721 h 1351721"/>
              <a:gd name="connsiteX3" fmla="*/ 0 w 9144000"/>
              <a:gd name="connsiteY3" fmla="*/ 1351721 h 1351721"/>
              <a:gd name="connsiteX4" fmla="*/ 0 w 9144000"/>
              <a:gd name="connsiteY4" fmla="*/ 114751 h 1351721"/>
              <a:gd name="connsiteX5" fmla="*/ 909356 w 9144000"/>
              <a:gd name="connsiteY5" fmla="*/ 1082 h 1351721"/>
              <a:gd name="connsiteX6" fmla="*/ 9143999 w 9144000"/>
              <a:gd name="connsiteY6" fmla="*/ 976273 h 1351721"/>
              <a:gd name="connsiteX7" fmla="*/ 9143999 w 9144000"/>
              <a:gd name="connsiteY7" fmla="*/ 0 h 135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1351721">
                <a:moveTo>
                  <a:pt x="9143999" y="0"/>
                </a:moveTo>
                <a:lnTo>
                  <a:pt x="9144000" y="0"/>
                </a:lnTo>
                <a:lnTo>
                  <a:pt x="9144000" y="1351721"/>
                </a:lnTo>
                <a:lnTo>
                  <a:pt x="0" y="1351721"/>
                </a:lnTo>
                <a:lnTo>
                  <a:pt x="0" y="114751"/>
                </a:lnTo>
                <a:lnTo>
                  <a:pt x="909356" y="1082"/>
                </a:lnTo>
                <a:lnTo>
                  <a:pt x="9143999" y="976273"/>
                </a:lnTo>
                <a:lnTo>
                  <a:pt x="9143999" y="0"/>
                </a:lnTo>
                <a:close/>
              </a:path>
            </a:pathLst>
          </a:cu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0" tIns="0" rIns="121920" bIns="60960" numCol="1" spcCol="0" rtlCol="0" fromWordArt="0" anchor="ctr" anchorCtr="0" forceAA="0" compatLnSpc="1">
            <a:prstTxWarp prst="textNoShape">
              <a:avLst/>
            </a:prstTxWarp>
            <a:noAutofit/>
          </a:bodyPr>
          <a:lstStyle/>
          <a:p>
            <a:pPr marL="0" marR="0" indent="0" algn="ctr" defTabSz="1219170" rtl="0" eaLnBrk="1" fontAlgn="base" latinLnBrk="0" hangingPunct="1">
              <a:lnSpc>
                <a:spcPct val="86000"/>
              </a:lnSpc>
              <a:spcBef>
                <a:spcPct val="0"/>
              </a:spcBef>
              <a:spcAft>
                <a:spcPct val="0"/>
              </a:spcAft>
              <a:buClrTx/>
              <a:buSzTx/>
              <a:buFontTx/>
              <a:buNone/>
              <a:tabLst/>
            </a:pPr>
            <a:endParaRPr kumimoji="0" lang="en-US" sz="2667" b="0" i="0" u="none" strike="noStrike" cap="none" normalizeH="0" baseline="0">
              <a:ln>
                <a:noFill/>
              </a:ln>
              <a:solidFill>
                <a:schemeClr val="tx1"/>
              </a:solidFill>
              <a:effectLst/>
              <a:latin typeface="Arial" charset="0"/>
            </a:endParaRPr>
          </a:p>
        </p:txBody>
      </p:sp>
      <p:sp>
        <p:nvSpPr>
          <p:cNvPr id="11" name="Freeform 10"/>
          <p:cNvSpPr/>
          <p:nvPr userDrawn="1"/>
        </p:nvSpPr>
        <p:spPr bwMode="auto">
          <a:xfrm>
            <a:off x="-3" y="-11261"/>
            <a:ext cx="12192003" cy="1648064"/>
          </a:xfrm>
          <a:custGeom>
            <a:avLst/>
            <a:gdLst>
              <a:gd name="connsiteX0" fmla="*/ 0 w 9144002"/>
              <a:gd name="connsiteY0" fmla="*/ 0 h 1236048"/>
              <a:gd name="connsiteX1" fmla="*/ 9144002 w 9144002"/>
              <a:gd name="connsiteY1" fmla="*/ 0 h 1236048"/>
              <a:gd name="connsiteX2" fmla="*/ 9144002 w 9144002"/>
              <a:gd name="connsiteY2" fmla="*/ 153958 h 1236048"/>
              <a:gd name="connsiteX3" fmla="*/ 899382 w 9144002"/>
              <a:gd name="connsiteY3" fmla="*/ 1236048 h 1236048"/>
              <a:gd name="connsiteX4" fmla="*/ 0 w 9144002"/>
              <a:gd name="connsiteY4" fmla="*/ 1122113 h 1236048"/>
              <a:gd name="connsiteX5" fmla="*/ 0 w 9144002"/>
              <a:gd name="connsiteY5" fmla="*/ 0 h 1236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2" h="1236048">
                <a:moveTo>
                  <a:pt x="0" y="0"/>
                </a:moveTo>
                <a:lnTo>
                  <a:pt x="9144002" y="0"/>
                </a:lnTo>
                <a:lnTo>
                  <a:pt x="9144002" y="153958"/>
                </a:lnTo>
                <a:lnTo>
                  <a:pt x="899382" y="1236048"/>
                </a:lnTo>
                <a:lnTo>
                  <a:pt x="0" y="1122113"/>
                </a:lnTo>
                <a:lnTo>
                  <a:pt x="0" y="0"/>
                </a:lnTo>
                <a:close/>
              </a:path>
            </a:pathLst>
          </a:custGeom>
          <a:solidFill>
            <a:schemeClr val="bg1">
              <a:alpha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0" tIns="0" rIns="121920" bIns="60960" numCol="1" spcCol="0" rtlCol="0" fromWordArt="0" anchor="ctr" anchorCtr="0" forceAA="0" compatLnSpc="1">
            <a:prstTxWarp prst="textNoShape">
              <a:avLst/>
            </a:prstTxWarp>
            <a:noAutofit/>
          </a:bodyPr>
          <a:lstStyle/>
          <a:p>
            <a:pPr marL="0" marR="0" indent="0" algn="ctr" defTabSz="1219170" rtl="0" eaLnBrk="1" fontAlgn="base" latinLnBrk="0" hangingPunct="1">
              <a:lnSpc>
                <a:spcPct val="86000"/>
              </a:lnSpc>
              <a:spcBef>
                <a:spcPct val="0"/>
              </a:spcBef>
              <a:spcAft>
                <a:spcPct val="0"/>
              </a:spcAft>
              <a:buClrTx/>
              <a:buSzTx/>
              <a:buFontTx/>
              <a:buNone/>
              <a:tabLst/>
            </a:pPr>
            <a:endParaRPr kumimoji="0" lang="en-US" sz="2667" b="0" i="0" u="none" strike="noStrike" cap="none" normalizeH="0" baseline="0">
              <a:ln>
                <a:noFill/>
              </a:ln>
              <a:solidFill>
                <a:schemeClr val="tx1"/>
              </a:solidFill>
              <a:effectLst/>
              <a:latin typeface="Arial" charset="0"/>
            </a:endParaRPr>
          </a:p>
        </p:txBody>
      </p:sp>
      <p:sp>
        <p:nvSpPr>
          <p:cNvPr id="8194" name="PresentationTitle"/>
          <p:cNvSpPr>
            <a:spLocks noGrp="1" noChangeArrowheads="1"/>
          </p:cNvSpPr>
          <p:nvPr>
            <p:ph type="ctrTitle"/>
            <p:custDataLst>
              <p:tags r:id="rId1"/>
            </p:custDataLst>
          </p:nvPr>
        </p:nvSpPr>
        <p:spPr>
          <a:xfrm>
            <a:off x="968877" y="2220974"/>
            <a:ext cx="10454604" cy="423535"/>
          </a:xfrm>
        </p:spPr>
        <p:txBody>
          <a:bodyPr tIns="0" rIns="0" bIns="0">
            <a:spAutoFit/>
          </a:bodyPr>
          <a:lstStyle>
            <a:lvl1pPr>
              <a:lnSpc>
                <a:spcPct val="86000"/>
              </a:lnSpc>
              <a:defRPr sz="3200" b="1">
                <a:solidFill>
                  <a:schemeClr val="bg2"/>
                </a:solidFill>
              </a:defRPr>
            </a:lvl1pPr>
          </a:lstStyle>
          <a:p>
            <a:pPr lvl="0"/>
            <a:r>
              <a:rPr lang="en-US" noProof="0" dirty="0"/>
              <a:t>Click to edit Master title style</a:t>
            </a:r>
          </a:p>
        </p:txBody>
      </p:sp>
      <p:sp>
        <p:nvSpPr>
          <p:cNvPr id="8388" name="Date"/>
          <p:cNvSpPr>
            <a:spLocks noGrp="1" noChangeArrowheads="1"/>
          </p:cNvSpPr>
          <p:nvPr>
            <p:ph type="subTitle" sz="quarter" idx="1"/>
            <p:custDataLst>
              <p:tags r:id="rId2"/>
            </p:custDataLst>
          </p:nvPr>
        </p:nvSpPr>
        <p:spPr>
          <a:xfrm>
            <a:off x="978954" y="3151989"/>
            <a:ext cx="10444527" cy="272468"/>
          </a:xfrm>
          <a:extLs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lvl1pPr marL="0" indent="0">
              <a:lnSpc>
                <a:spcPct val="83000"/>
              </a:lnSpc>
              <a:spcBef>
                <a:spcPct val="0"/>
              </a:spcBef>
              <a:buFontTx/>
              <a:buNone/>
              <a:defRPr sz="2133">
                <a:solidFill>
                  <a:schemeClr val="accent3"/>
                </a:solidFill>
              </a:defRPr>
            </a:lvl1pPr>
          </a:lstStyle>
          <a:p>
            <a:pPr lvl="0"/>
            <a:r>
              <a:rPr lang="en-US" noProof="0"/>
              <a:t>Click to edit Master subtitle style</a:t>
            </a:r>
            <a:endParaRPr lang="en-US" noProof="0" dirty="0"/>
          </a:p>
        </p:txBody>
      </p:sp>
      <p:sp>
        <p:nvSpPr>
          <p:cNvPr id="19" name="Freeform 9"/>
          <p:cNvSpPr>
            <a:spLocks/>
          </p:cNvSpPr>
          <p:nvPr userDrawn="1"/>
        </p:nvSpPr>
        <p:spPr bwMode="auto">
          <a:xfrm>
            <a:off x="9176982" y="191062"/>
            <a:ext cx="3015017" cy="759407"/>
          </a:xfrm>
          <a:custGeom>
            <a:avLst/>
            <a:gdLst>
              <a:gd name="T0" fmla="*/ 2934 w 2934"/>
              <a:gd name="T1" fmla="*/ 739 h 739"/>
              <a:gd name="T2" fmla="*/ 2934 w 2934"/>
              <a:gd name="T3" fmla="*/ 0 h 739"/>
              <a:gd name="T4" fmla="*/ 2094 w 2934"/>
              <a:gd name="T5" fmla="*/ 111 h 739"/>
              <a:gd name="T6" fmla="*/ 0 w 2934"/>
              <a:gd name="T7" fmla="*/ 386 h 739"/>
              <a:gd name="T8" fmla="*/ 2934 w 2934"/>
              <a:gd name="T9" fmla="*/ 739 h 739"/>
            </a:gdLst>
            <a:ahLst/>
            <a:cxnLst>
              <a:cxn ang="0">
                <a:pos x="T0" y="T1"/>
              </a:cxn>
              <a:cxn ang="0">
                <a:pos x="T2" y="T3"/>
              </a:cxn>
              <a:cxn ang="0">
                <a:pos x="T4" y="T5"/>
              </a:cxn>
              <a:cxn ang="0">
                <a:pos x="T6" y="T7"/>
              </a:cxn>
              <a:cxn ang="0">
                <a:pos x="T8" y="T9"/>
              </a:cxn>
            </a:cxnLst>
            <a:rect l="0" t="0" r="r" b="b"/>
            <a:pathLst>
              <a:path w="2934" h="739">
                <a:moveTo>
                  <a:pt x="2934" y="739"/>
                </a:moveTo>
                <a:lnTo>
                  <a:pt x="2934" y="0"/>
                </a:lnTo>
                <a:lnTo>
                  <a:pt x="2094" y="111"/>
                </a:lnTo>
                <a:lnTo>
                  <a:pt x="0" y="386"/>
                </a:lnTo>
                <a:lnTo>
                  <a:pt x="2934" y="739"/>
                </a:lnTo>
                <a:close/>
              </a:path>
            </a:pathLst>
          </a:custGeom>
          <a:solidFill>
            <a:schemeClr val="accent4">
              <a:alpha val="80000"/>
            </a:schemeClr>
          </a:solidFill>
          <a:ln>
            <a:noFill/>
          </a:ln>
        </p:spPr>
        <p:txBody>
          <a:bodyPr vert="horz" wrap="square" lIns="121920" tIns="60960" rIns="121920" bIns="60960" numCol="1" anchor="t" anchorCtr="0" compatLnSpc="1">
            <a:prstTxWarp prst="textNoShape">
              <a:avLst/>
            </a:prstTxWarp>
          </a:bodyPr>
          <a:lstStyle/>
          <a:p>
            <a:endParaRPr lang="en-US" sz="2400"/>
          </a:p>
        </p:txBody>
      </p:sp>
      <p:pic>
        <p:nvPicPr>
          <p:cNvPr id="12" name="Picture 11"/>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9593951" y="6419892"/>
            <a:ext cx="1784037" cy="268224"/>
          </a:xfrm>
          <a:prstGeom prst="rect">
            <a:avLst/>
          </a:prstGeom>
        </p:spPr>
      </p:pic>
      <p:pic>
        <p:nvPicPr>
          <p:cNvPr id="14" name="Picture 1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68877" y="655489"/>
            <a:ext cx="4185508" cy="268224"/>
          </a:xfrm>
          <a:prstGeom prst="rect">
            <a:avLst/>
          </a:prstGeom>
        </p:spPr>
      </p:pic>
    </p:spTree>
    <p:extLst>
      <p:ext uri="{BB962C8B-B14F-4D97-AF65-F5344CB8AC3E}">
        <p14:creationId xmlns:p14="http://schemas.microsoft.com/office/powerpoint/2010/main" val="284622892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58802" y="382589"/>
            <a:ext cx="11048693" cy="690563"/>
          </a:xfrm>
        </p:spPr>
        <p:txBody>
          <a:bodyPr/>
          <a:lstStyle/>
          <a:p>
            <a:r>
              <a:rPr lang="en-US"/>
              <a:t>Click to edit Master title style</a:t>
            </a:r>
          </a:p>
        </p:txBody>
      </p:sp>
      <p:sp>
        <p:nvSpPr>
          <p:cNvPr id="3" name="Content Placeholder 2"/>
          <p:cNvSpPr>
            <a:spLocks noGrp="1"/>
          </p:cNvSpPr>
          <p:nvPr>
            <p:ph idx="1"/>
          </p:nvPr>
        </p:nvSpPr>
        <p:spPr>
          <a:xfrm>
            <a:off x="558802" y="1277940"/>
            <a:ext cx="11048693" cy="49879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3"/>
          <p:cNvSpPr>
            <a:spLocks noGrp="1"/>
          </p:cNvSpPr>
          <p:nvPr>
            <p:ph type="sldNum" sz="quarter" idx="10"/>
          </p:nvPr>
        </p:nvSpPr>
        <p:spPr/>
        <p:txBody>
          <a:bodyPr/>
          <a:lstStyle>
            <a:lvl1pPr>
              <a:defRPr/>
            </a:lvl1pPr>
          </a:lstStyle>
          <a:p>
            <a:fld id="{4A0C0F96-B644-449E-AAAF-20DAA76362A5}" type="slidenum">
              <a:rPr lang="en-US"/>
              <a:pPr/>
              <a:t>‹Nº›</a:t>
            </a:fld>
            <a:endParaRPr lang="en-US"/>
          </a:p>
        </p:txBody>
      </p:sp>
    </p:spTree>
    <p:extLst>
      <p:ext uri="{BB962C8B-B14F-4D97-AF65-F5344CB8AC3E}">
        <p14:creationId xmlns:p14="http://schemas.microsoft.com/office/powerpoint/2010/main" val="950265388"/>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secHead" preserve="1">
  <p:cSld name="Section Divider">
    <p:spTree>
      <p:nvGrpSpPr>
        <p:cNvPr id="1" name=""/>
        <p:cNvGrpSpPr/>
        <p:nvPr/>
      </p:nvGrpSpPr>
      <p:grpSpPr>
        <a:xfrm>
          <a:off x="0" y="0"/>
          <a:ext cx="0" cy="0"/>
          <a:chOff x="0" y="0"/>
          <a:chExt cx="0" cy="0"/>
        </a:xfrm>
      </p:grpSpPr>
      <p:sp>
        <p:nvSpPr>
          <p:cNvPr id="11" name="Rectangle 10"/>
          <p:cNvSpPr/>
          <p:nvPr userDrawn="1"/>
        </p:nvSpPr>
        <p:spPr bwMode="auto">
          <a:xfrm>
            <a:off x="0" y="0"/>
            <a:ext cx="12192000" cy="6858000"/>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121920" bIns="60960" numCol="1" rtlCol="0" anchor="ctr" anchorCtr="0" compatLnSpc="1">
            <a:prstTxWarp prst="textNoShape">
              <a:avLst/>
            </a:prstTxWarp>
          </a:bodyPr>
          <a:lstStyle/>
          <a:p>
            <a:pPr marL="0" marR="0" indent="0" algn="ctr" defTabSz="1219170" rtl="0" eaLnBrk="1" fontAlgn="base" latinLnBrk="0" hangingPunct="1">
              <a:lnSpc>
                <a:spcPct val="86000"/>
              </a:lnSpc>
              <a:spcBef>
                <a:spcPct val="0"/>
              </a:spcBef>
              <a:spcAft>
                <a:spcPct val="0"/>
              </a:spcAft>
              <a:buClrTx/>
              <a:buSzTx/>
              <a:buFontTx/>
              <a:buNone/>
              <a:tabLst/>
            </a:pPr>
            <a:endParaRPr kumimoji="0" lang="en-US" sz="2667" b="0" i="0" u="none" strike="noStrike" cap="none" normalizeH="0" baseline="0">
              <a:ln>
                <a:noFill/>
              </a:ln>
              <a:solidFill>
                <a:schemeClr val="tx1"/>
              </a:solidFill>
              <a:effectLst/>
              <a:latin typeface="Arial" charset="0"/>
            </a:endParaRPr>
          </a:p>
        </p:txBody>
      </p:sp>
      <p:sp>
        <p:nvSpPr>
          <p:cNvPr id="15" name="Freeform 14"/>
          <p:cNvSpPr>
            <a:spLocks/>
          </p:cNvSpPr>
          <p:nvPr userDrawn="1"/>
        </p:nvSpPr>
        <p:spPr bwMode="auto">
          <a:xfrm>
            <a:off x="1" y="5817289"/>
            <a:ext cx="1198880" cy="298755"/>
          </a:xfrm>
          <a:custGeom>
            <a:avLst/>
            <a:gdLst>
              <a:gd name="connsiteX0" fmla="*/ 0 w 2701455"/>
              <a:gd name="connsiteY0" fmla="*/ 0 h 673188"/>
              <a:gd name="connsiteX1" fmla="*/ 0 w 2701455"/>
              <a:gd name="connsiteY1" fmla="*/ 48782 h 673188"/>
              <a:gd name="connsiteX2" fmla="*/ 0 w 2701455"/>
              <a:gd name="connsiteY2" fmla="*/ 673188 h 673188"/>
              <a:gd name="connsiteX3" fmla="*/ 2701455 w 2701455"/>
              <a:gd name="connsiteY3" fmla="*/ 336594 h 673188"/>
              <a:gd name="connsiteX4" fmla="*/ 0 w 2701455"/>
              <a:gd name="connsiteY4" fmla="*/ 0 h 673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1455" h="673188">
                <a:moveTo>
                  <a:pt x="0" y="0"/>
                </a:moveTo>
                <a:lnTo>
                  <a:pt x="0" y="48782"/>
                </a:lnTo>
                <a:lnTo>
                  <a:pt x="0" y="673188"/>
                </a:lnTo>
                <a:lnTo>
                  <a:pt x="2701455" y="336594"/>
                </a:lnTo>
                <a:lnTo>
                  <a:pt x="0" y="0"/>
                </a:lnTo>
                <a:close/>
              </a:path>
            </a:pathLst>
          </a:custGeom>
          <a:solidFill>
            <a:schemeClr val="accent3">
              <a:alpha val="80000"/>
            </a:schemeClr>
          </a:solidFill>
          <a:ln>
            <a:noFill/>
          </a:ln>
        </p:spPr>
        <p:txBody>
          <a:bodyPr vert="horz" wrap="square" lIns="121920" tIns="60960" rIns="121920" bIns="60960" numCol="1" anchor="t" anchorCtr="0" compatLnSpc="1">
            <a:prstTxWarp prst="textNoShape">
              <a:avLst/>
            </a:prstTxWarp>
            <a:noAutofit/>
          </a:bodyPr>
          <a:lstStyle/>
          <a:p>
            <a:endParaRPr lang="en-US" sz="2400"/>
          </a:p>
        </p:txBody>
      </p:sp>
      <p:sp>
        <p:nvSpPr>
          <p:cNvPr id="2" name="Title 1"/>
          <p:cNvSpPr>
            <a:spLocks noGrp="1"/>
          </p:cNvSpPr>
          <p:nvPr userDrawn="1">
            <p:ph type="title" hasCustomPrompt="1"/>
          </p:nvPr>
        </p:nvSpPr>
        <p:spPr>
          <a:xfrm>
            <a:off x="1198881" y="2814969"/>
            <a:ext cx="10126439" cy="1362075"/>
          </a:xfrm>
        </p:spPr>
        <p:txBody>
          <a:bodyPr/>
          <a:lstStyle>
            <a:lvl1pPr algn="l">
              <a:defRPr sz="4667" b="1" cap="none">
                <a:solidFill>
                  <a:schemeClr val="accent3"/>
                </a:solidFill>
              </a:defRPr>
            </a:lvl1pPr>
          </a:lstStyle>
          <a:p>
            <a:r>
              <a:rPr lang="en-US" dirty="0"/>
              <a:t>Click To Edit Master Title Style</a:t>
            </a:r>
          </a:p>
        </p:txBody>
      </p:sp>
      <p:sp>
        <p:nvSpPr>
          <p:cNvPr id="3" name="Text Placeholder 2"/>
          <p:cNvSpPr>
            <a:spLocks noGrp="1"/>
          </p:cNvSpPr>
          <p:nvPr userDrawn="1">
            <p:ph type="body" idx="1"/>
          </p:nvPr>
        </p:nvSpPr>
        <p:spPr>
          <a:xfrm>
            <a:off x="1198881" y="1915118"/>
            <a:ext cx="10126439" cy="801637"/>
          </a:xfrm>
        </p:spPr>
        <p:txBody>
          <a:bodyPr anchor="b"/>
          <a:lstStyle>
            <a:lvl1pPr marL="0" indent="0">
              <a:spcBef>
                <a:spcPts val="800"/>
              </a:spcBef>
              <a:buNone/>
              <a:defRPr sz="2267">
                <a:solidFill>
                  <a:schemeClr val="accent2"/>
                </a:solidFill>
              </a:defRPr>
            </a:lvl1pPr>
            <a:lvl2pPr marL="529009" indent="0">
              <a:buNone/>
              <a:defRPr sz="2133"/>
            </a:lvl2pPr>
            <a:lvl3pPr marL="1058020" indent="0">
              <a:buNone/>
              <a:defRPr sz="1867"/>
            </a:lvl3pPr>
            <a:lvl4pPr marL="1587030" indent="0">
              <a:buNone/>
              <a:defRPr sz="1600"/>
            </a:lvl4pPr>
            <a:lvl5pPr marL="2116040" indent="0">
              <a:buNone/>
              <a:defRPr sz="1600"/>
            </a:lvl5pPr>
            <a:lvl6pPr marL="2645047" indent="0">
              <a:buNone/>
              <a:defRPr sz="1600"/>
            </a:lvl6pPr>
            <a:lvl7pPr marL="3174058" indent="0">
              <a:buNone/>
              <a:defRPr sz="1600"/>
            </a:lvl7pPr>
            <a:lvl8pPr marL="3703067" indent="0">
              <a:buNone/>
              <a:defRPr sz="1600"/>
            </a:lvl8pPr>
            <a:lvl9pPr marL="4232078" indent="0">
              <a:buNone/>
              <a:defRPr sz="1600"/>
            </a:lvl9pPr>
          </a:lstStyle>
          <a:p>
            <a:pPr lvl="0"/>
            <a:r>
              <a:rPr lang="en-US"/>
              <a:t>Edit Master text styles</a:t>
            </a:r>
          </a:p>
        </p:txBody>
      </p:sp>
      <p:sp>
        <p:nvSpPr>
          <p:cNvPr id="8" name="Freeform 7"/>
          <p:cNvSpPr/>
          <p:nvPr userDrawn="1"/>
        </p:nvSpPr>
        <p:spPr bwMode="auto">
          <a:xfrm>
            <a:off x="-3" y="-11261"/>
            <a:ext cx="12192003" cy="1648064"/>
          </a:xfrm>
          <a:custGeom>
            <a:avLst/>
            <a:gdLst>
              <a:gd name="connsiteX0" fmla="*/ 0 w 9144002"/>
              <a:gd name="connsiteY0" fmla="*/ 0 h 1236048"/>
              <a:gd name="connsiteX1" fmla="*/ 9144002 w 9144002"/>
              <a:gd name="connsiteY1" fmla="*/ 0 h 1236048"/>
              <a:gd name="connsiteX2" fmla="*/ 9144002 w 9144002"/>
              <a:gd name="connsiteY2" fmla="*/ 153958 h 1236048"/>
              <a:gd name="connsiteX3" fmla="*/ 899382 w 9144002"/>
              <a:gd name="connsiteY3" fmla="*/ 1236048 h 1236048"/>
              <a:gd name="connsiteX4" fmla="*/ 0 w 9144002"/>
              <a:gd name="connsiteY4" fmla="*/ 1122113 h 1236048"/>
              <a:gd name="connsiteX5" fmla="*/ 0 w 9144002"/>
              <a:gd name="connsiteY5" fmla="*/ 0 h 1236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2" h="1236048">
                <a:moveTo>
                  <a:pt x="0" y="0"/>
                </a:moveTo>
                <a:lnTo>
                  <a:pt x="9144002" y="0"/>
                </a:lnTo>
                <a:lnTo>
                  <a:pt x="9144002" y="153958"/>
                </a:lnTo>
                <a:lnTo>
                  <a:pt x="899382" y="1236048"/>
                </a:lnTo>
                <a:lnTo>
                  <a:pt x="0" y="1122113"/>
                </a:lnTo>
                <a:lnTo>
                  <a:pt x="0" y="0"/>
                </a:lnTo>
                <a:close/>
              </a:path>
            </a:pathLst>
          </a:custGeom>
          <a:solidFill>
            <a:schemeClr val="accent2">
              <a:alpha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0" tIns="0" rIns="121920" bIns="60960" numCol="1" spcCol="0" rtlCol="0" fromWordArt="0" anchor="ctr" anchorCtr="0" forceAA="0" compatLnSpc="1">
            <a:prstTxWarp prst="textNoShape">
              <a:avLst/>
            </a:prstTxWarp>
            <a:noAutofit/>
          </a:bodyPr>
          <a:lstStyle/>
          <a:p>
            <a:pPr marL="0" marR="0" indent="0" algn="ctr" defTabSz="1219170" rtl="0" eaLnBrk="1" fontAlgn="base" latinLnBrk="0" hangingPunct="1">
              <a:lnSpc>
                <a:spcPct val="86000"/>
              </a:lnSpc>
              <a:spcBef>
                <a:spcPct val="0"/>
              </a:spcBef>
              <a:spcAft>
                <a:spcPct val="0"/>
              </a:spcAft>
              <a:buClrTx/>
              <a:buSzTx/>
              <a:buFontTx/>
              <a:buNone/>
              <a:tabLst/>
            </a:pPr>
            <a:endParaRPr kumimoji="0" lang="en-US" sz="2667" b="0" i="0" u="none" strike="noStrike" cap="none" normalizeH="0" baseline="0">
              <a:ln>
                <a:noFill/>
              </a:ln>
              <a:solidFill>
                <a:schemeClr val="tx1"/>
              </a:solidFill>
              <a:effectLst/>
              <a:latin typeface="Arial" charset="0"/>
            </a:endParaRPr>
          </a:p>
        </p:txBody>
      </p:sp>
      <p:sp>
        <p:nvSpPr>
          <p:cNvPr id="12" name="Freeform 11"/>
          <p:cNvSpPr/>
          <p:nvPr userDrawn="1"/>
        </p:nvSpPr>
        <p:spPr bwMode="auto">
          <a:xfrm>
            <a:off x="1" y="4593779"/>
            <a:ext cx="12192000" cy="2264221"/>
          </a:xfrm>
          <a:custGeom>
            <a:avLst/>
            <a:gdLst>
              <a:gd name="connsiteX0" fmla="*/ 9144000 w 9144000"/>
              <a:gd name="connsiteY0" fmla="*/ 0 h 1698166"/>
              <a:gd name="connsiteX1" fmla="*/ 9144000 w 9144000"/>
              <a:gd name="connsiteY1" fmla="*/ 62685 h 1698166"/>
              <a:gd name="connsiteX2" fmla="*/ 9144000 w 9144000"/>
              <a:gd name="connsiteY2" fmla="*/ 1698166 h 1698166"/>
              <a:gd name="connsiteX3" fmla="*/ 0 w 9144000"/>
              <a:gd name="connsiteY3" fmla="*/ 1698166 h 1698166"/>
              <a:gd name="connsiteX4" fmla="*/ 0 w 9144000"/>
              <a:gd name="connsiteY4" fmla="*/ 1139318 h 1698166"/>
              <a:gd name="connsiteX5" fmla="*/ 9144000 w 9144000"/>
              <a:gd name="connsiteY5" fmla="*/ 0 h 1698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0" h="1698166">
                <a:moveTo>
                  <a:pt x="9144000" y="0"/>
                </a:moveTo>
                <a:lnTo>
                  <a:pt x="9144000" y="62685"/>
                </a:lnTo>
                <a:lnTo>
                  <a:pt x="9144000" y="1698166"/>
                </a:lnTo>
                <a:lnTo>
                  <a:pt x="0" y="1698166"/>
                </a:lnTo>
                <a:lnTo>
                  <a:pt x="0" y="1139318"/>
                </a:lnTo>
                <a:lnTo>
                  <a:pt x="9144000" y="0"/>
                </a:lnTo>
                <a:close/>
              </a:path>
            </a:pathLst>
          </a:cu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0" tIns="0" rIns="121920" bIns="60960" numCol="1" spcCol="0" rtlCol="0" fromWordArt="0" anchor="ctr" anchorCtr="0" forceAA="0" compatLnSpc="1">
            <a:prstTxWarp prst="textNoShape">
              <a:avLst/>
            </a:prstTxWarp>
            <a:noAutofit/>
          </a:bodyPr>
          <a:lstStyle/>
          <a:p>
            <a:pPr marL="0" marR="0" indent="0" algn="ctr" defTabSz="1219170" rtl="0" eaLnBrk="1" fontAlgn="base" latinLnBrk="0" hangingPunct="1">
              <a:lnSpc>
                <a:spcPct val="86000"/>
              </a:lnSpc>
              <a:spcBef>
                <a:spcPct val="0"/>
              </a:spcBef>
              <a:spcAft>
                <a:spcPct val="0"/>
              </a:spcAft>
              <a:buClrTx/>
              <a:buSzTx/>
              <a:buFontTx/>
              <a:buNone/>
              <a:tabLst/>
            </a:pPr>
            <a:endParaRPr kumimoji="0" lang="en-US" sz="2667" b="0" i="0" u="none" strike="noStrike" cap="none" normalizeH="0" baseline="0">
              <a:ln>
                <a:noFill/>
              </a:ln>
              <a:solidFill>
                <a:schemeClr val="tx1"/>
              </a:solidFill>
              <a:effectLst/>
              <a:latin typeface="Arial" charset="0"/>
            </a:endParaRPr>
          </a:p>
        </p:txBody>
      </p:sp>
      <p:sp>
        <p:nvSpPr>
          <p:cNvPr id="4" name="Slide Number Placeholder 3"/>
          <p:cNvSpPr>
            <a:spLocks noGrp="1"/>
          </p:cNvSpPr>
          <p:nvPr userDrawn="1">
            <p:ph type="sldNum" sz="quarter" idx="10"/>
          </p:nvPr>
        </p:nvSpPr>
        <p:spPr/>
        <p:txBody>
          <a:bodyPr/>
          <a:lstStyle>
            <a:lvl1pPr>
              <a:defRPr>
                <a:solidFill>
                  <a:schemeClr val="bg1"/>
                </a:solidFill>
              </a:defRPr>
            </a:lvl1pPr>
          </a:lstStyle>
          <a:p>
            <a:fld id="{11CD31B8-DFA8-4BF7-BBBE-7E247CEDF3BD}" type="slidenum">
              <a:rPr lang="en-US" smtClean="0"/>
              <a:pPr/>
              <a:t>‹Nº›</a:t>
            </a:fld>
            <a:endParaRPr lang="en-US" dirty="0"/>
          </a:p>
        </p:txBody>
      </p:sp>
      <p:sp>
        <p:nvSpPr>
          <p:cNvPr id="14" name="Freeform 9"/>
          <p:cNvSpPr>
            <a:spLocks/>
          </p:cNvSpPr>
          <p:nvPr userDrawn="1"/>
        </p:nvSpPr>
        <p:spPr bwMode="auto">
          <a:xfrm>
            <a:off x="9176982" y="191062"/>
            <a:ext cx="3015017" cy="759407"/>
          </a:xfrm>
          <a:custGeom>
            <a:avLst/>
            <a:gdLst>
              <a:gd name="T0" fmla="*/ 2934 w 2934"/>
              <a:gd name="T1" fmla="*/ 739 h 739"/>
              <a:gd name="T2" fmla="*/ 2934 w 2934"/>
              <a:gd name="T3" fmla="*/ 0 h 739"/>
              <a:gd name="T4" fmla="*/ 2094 w 2934"/>
              <a:gd name="T5" fmla="*/ 111 h 739"/>
              <a:gd name="T6" fmla="*/ 0 w 2934"/>
              <a:gd name="T7" fmla="*/ 386 h 739"/>
              <a:gd name="T8" fmla="*/ 2934 w 2934"/>
              <a:gd name="T9" fmla="*/ 739 h 739"/>
            </a:gdLst>
            <a:ahLst/>
            <a:cxnLst>
              <a:cxn ang="0">
                <a:pos x="T0" y="T1"/>
              </a:cxn>
              <a:cxn ang="0">
                <a:pos x="T2" y="T3"/>
              </a:cxn>
              <a:cxn ang="0">
                <a:pos x="T4" y="T5"/>
              </a:cxn>
              <a:cxn ang="0">
                <a:pos x="T6" y="T7"/>
              </a:cxn>
              <a:cxn ang="0">
                <a:pos x="T8" y="T9"/>
              </a:cxn>
            </a:cxnLst>
            <a:rect l="0" t="0" r="r" b="b"/>
            <a:pathLst>
              <a:path w="2934" h="739">
                <a:moveTo>
                  <a:pt x="2934" y="739"/>
                </a:moveTo>
                <a:lnTo>
                  <a:pt x="2934" y="0"/>
                </a:lnTo>
                <a:lnTo>
                  <a:pt x="2094" y="111"/>
                </a:lnTo>
                <a:lnTo>
                  <a:pt x="0" y="386"/>
                </a:lnTo>
                <a:lnTo>
                  <a:pt x="2934" y="739"/>
                </a:lnTo>
                <a:close/>
              </a:path>
            </a:pathLst>
          </a:custGeom>
          <a:solidFill>
            <a:schemeClr val="accent2">
              <a:alpha val="38000"/>
            </a:schemeClr>
          </a:solidFill>
          <a:ln>
            <a:noFill/>
          </a:ln>
        </p:spPr>
        <p:txBody>
          <a:bodyPr vert="horz" wrap="square" lIns="121920" tIns="60960" rIns="121920" bIns="60960" numCol="1" anchor="t" anchorCtr="0" compatLnSpc="1">
            <a:prstTxWarp prst="textNoShape">
              <a:avLst/>
            </a:prstTxWarp>
          </a:bodyPr>
          <a:lstStyle/>
          <a:p>
            <a:endParaRPr lang="en-US" sz="2400"/>
          </a:p>
        </p:txBody>
      </p:sp>
    </p:spTree>
    <p:extLst>
      <p:ext uri="{BB962C8B-B14F-4D97-AF65-F5344CB8AC3E}">
        <p14:creationId xmlns:p14="http://schemas.microsoft.com/office/powerpoint/2010/main" val="3457324814"/>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sp>
        <p:nvSpPr>
          <p:cNvPr id="11" name="Rectangle 10"/>
          <p:cNvSpPr/>
          <p:nvPr userDrawn="1"/>
        </p:nvSpPr>
        <p:spPr bwMode="auto">
          <a:xfrm>
            <a:off x="0" y="0"/>
            <a:ext cx="12192000" cy="6858000"/>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121920" bIns="60960" numCol="1" rtlCol="0" anchor="ctr" anchorCtr="0" compatLnSpc="1">
            <a:prstTxWarp prst="textNoShape">
              <a:avLst/>
            </a:prstTxWarp>
          </a:bodyPr>
          <a:lstStyle/>
          <a:p>
            <a:pPr marL="0" marR="0" indent="0" algn="ctr" defTabSz="1219170" rtl="0" eaLnBrk="1" fontAlgn="base" latinLnBrk="0" hangingPunct="1">
              <a:lnSpc>
                <a:spcPct val="86000"/>
              </a:lnSpc>
              <a:spcBef>
                <a:spcPct val="0"/>
              </a:spcBef>
              <a:spcAft>
                <a:spcPct val="0"/>
              </a:spcAft>
              <a:buClrTx/>
              <a:buSzTx/>
              <a:buFontTx/>
              <a:buNone/>
              <a:tabLst/>
            </a:pPr>
            <a:endParaRPr kumimoji="0" lang="en-US" sz="2667" b="0" i="0" u="none" strike="noStrike" cap="none" normalizeH="0" baseline="0">
              <a:ln>
                <a:noFill/>
              </a:ln>
              <a:solidFill>
                <a:schemeClr val="tx1"/>
              </a:solidFill>
              <a:effectLst/>
              <a:latin typeface="Arial" charset="0"/>
            </a:endParaRPr>
          </a:p>
        </p:txBody>
      </p:sp>
      <p:sp>
        <p:nvSpPr>
          <p:cNvPr id="15" name="Freeform 14"/>
          <p:cNvSpPr>
            <a:spLocks/>
          </p:cNvSpPr>
          <p:nvPr userDrawn="1"/>
        </p:nvSpPr>
        <p:spPr bwMode="auto">
          <a:xfrm>
            <a:off x="1" y="5817289"/>
            <a:ext cx="1198880" cy="298755"/>
          </a:xfrm>
          <a:custGeom>
            <a:avLst/>
            <a:gdLst>
              <a:gd name="connsiteX0" fmla="*/ 0 w 2701455"/>
              <a:gd name="connsiteY0" fmla="*/ 0 h 673188"/>
              <a:gd name="connsiteX1" fmla="*/ 0 w 2701455"/>
              <a:gd name="connsiteY1" fmla="*/ 48782 h 673188"/>
              <a:gd name="connsiteX2" fmla="*/ 0 w 2701455"/>
              <a:gd name="connsiteY2" fmla="*/ 673188 h 673188"/>
              <a:gd name="connsiteX3" fmla="*/ 2701455 w 2701455"/>
              <a:gd name="connsiteY3" fmla="*/ 336594 h 673188"/>
              <a:gd name="connsiteX4" fmla="*/ 0 w 2701455"/>
              <a:gd name="connsiteY4" fmla="*/ 0 h 673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1455" h="673188">
                <a:moveTo>
                  <a:pt x="0" y="0"/>
                </a:moveTo>
                <a:lnTo>
                  <a:pt x="0" y="48782"/>
                </a:lnTo>
                <a:lnTo>
                  <a:pt x="0" y="673188"/>
                </a:lnTo>
                <a:lnTo>
                  <a:pt x="2701455" y="336594"/>
                </a:lnTo>
                <a:lnTo>
                  <a:pt x="0" y="0"/>
                </a:lnTo>
                <a:close/>
              </a:path>
            </a:pathLst>
          </a:custGeom>
          <a:solidFill>
            <a:schemeClr val="accent3">
              <a:alpha val="80000"/>
            </a:schemeClr>
          </a:solidFill>
          <a:ln>
            <a:noFill/>
          </a:ln>
        </p:spPr>
        <p:txBody>
          <a:bodyPr vert="horz" wrap="square" lIns="121920" tIns="60960" rIns="121920" bIns="60960" numCol="1" anchor="t" anchorCtr="0" compatLnSpc="1">
            <a:prstTxWarp prst="textNoShape">
              <a:avLst/>
            </a:prstTxWarp>
            <a:noAutofit/>
          </a:bodyPr>
          <a:lstStyle/>
          <a:p>
            <a:endParaRPr lang="en-US" sz="2400"/>
          </a:p>
        </p:txBody>
      </p:sp>
      <p:sp>
        <p:nvSpPr>
          <p:cNvPr id="2" name="Title 1"/>
          <p:cNvSpPr>
            <a:spLocks noGrp="1"/>
          </p:cNvSpPr>
          <p:nvPr userDrawn="1">
            <p:ph type="title" hasCustomPrompt="1"/>
          </p:nvPr>
        </p:nvSpPr>
        <p:spPr>
          <a:xfrm>
            <a:off x="1198881" y="2814969"/>
            <a:ext cx="10126439" cy="1362075"/>
          </a:xfrm>
        </p:spPr>
        <p:txBody>
          <a:bodyPr/>
          <a:lstStyle>
            <a:lvl1pPr algn="l">
              <a:defRPr sz="4667" b="1" cap="none">
                <a:solidFill>
                  <a:schemeClr val="accent3"/>
                </a:solidFill>
              </a:defRPr>
            </a:lvl1pPr>
          </a:lstStyle>
          <a:p>
            <a:r>
              <a:rPr lang="en-US" dirty="0"/>
              <a:t>Click To Edit Master Title Style</a:t>
            </a:r>
          </a:p>
        </p:txBody>
      </p:sp>
      <p:sp>
        <p:nvSpPr>
          <p:cNvPr id="3" name="Text Placeholder 2"/>
          <p:cNvSpPr>
            <a:spLocks noGrp="1"/>
          </p:cNvSpPr>
          <p:nvPr userDrawn="1">
            <p:ph type="body" idx="1"/>
          </p:nvPr>
        </p:nvSpPr>
        <p:spPr>
          <a:xfrm>
            <a:off x="1198881" y="1932051"/>
            <a:ext cx="10126439" cy="801637"/>
          </a:xfrm>
        </p:spPr>
        <p:txBody>
          <a:bodyPr anchor="b"/>
          <a:lstStyle>
            <a:lvl1pPr marL="0" indent="0">
              <a:spcBef>
                <a:spcPts val="800"/>
              </a:spcBef>
              <a:buNone/>
              <a:defRPr sz="2267">
                <a:solidFill>
                  <a:schemeClr val="accent2"/>
                </a:solidFill>
              </a:defRPr>
            </a:lvl1pPr>
            <a:lvl2pPr marL="529009" indent="0">
              <a:buNone/>
              <a:defRPr sz="2133"/>
            </a:lvl2pPr>
            <a:lvl3pPr marL="1058020" indent="0">
              <a:buNone/>
              <a:defRPr sz="1867"/>
            </a:lvl3pPr>
            <a:lvl4pPr marL="1587030" indent="0">
              <a:buNone/>
              <a:defRPr sz="1600"/>
            </a:lvl4pPr>
            <a:lvl5pPr marL="2116040" indent="0">
              <a:buNone/>
              <a:defRPr sz="1600"/>
            </a:lvl5pPr>
            <a:lvl6pPr marL="2645047" indent="0">
              <a:buNone/>
              <a:defRPr sz="1600"/>
            </a:lvl6pPr>
            <a:lvl7pPr marL="3174058" indent="0">
              <a:buNone/>
              <a:defRPr sz="1600"/>
            </a:lvl7pPr>
            <a:lvl8pPr marL="3703067" indent="0">
              <a:buNone/>
              <a:defRPr sz="1600"/>
            </a:lvl8pPr>
            <a:lvl9pPr marL="4232078" indent="0">
              <a:buNone/>
              <a:defRPr sz="1600"/>
            </a:lvl9pPr>
          </a:lstStyle>
          <a:p>
            <a:pPr lvl="0"/>
            <a:r>
              <a:rPr lang="en-US"/>
              <a:t>Edit Master text styles</a:t>
            </a:r>
          </a:p>
        </p:txBody>
      </p:sp>
      <p:sp>
        <p:nvSpPr>
          <p:cNvPr id="8" name="Freeform 7"/>
          <p:cNvSpPr/>
          <p:nvPr userDrawn="1"/>
        </p:nvSpPr>
        <p:spPr bwMode="auto">
          <a:xfrm>
            <a:off x="-3" y="-11261"/>
            <a:ext cx="12192003" cy="1648064"/>
          </a:xfrm>
          <a:custGeom>
            <a:avLst/>
            <a:gdLst>
              <a:gd name="connsiteX0" fmla="*/ 0 w 9144002"/>
              <a:gd name="connsiteY0" fmla="*/ 0 h 1236048"/>
              <a:gd name="connsiteX1" fmla="*/ 9144002 w 9144002"/>
              <a:gd name="connsiteY1" fmla="*/ 0 h 1236048"/>
              <a:gd name="connsiteX2" fmla="*/ 9144002 w 9144002"/>
              <a:gd name="connsiteY2" fmla="*/ 153958 h 1236048"/>
              <a:gd name="connsiteX3" fmla="*/ 899382 w 9144002"/>
              <a:gd name="connsiteY3" fmla="*/ 1236048 h 1236048"/>
              <a:gd name="connsiteX4" fmla="*/ 0 w 9144002"/>
              <a:gd name="connsiteY4" fmla="*/ 1122113 h 1236048"/>
              <a:gd name="connsiteX5" fmla="*/ 0 w 9144002"/>
              <a:gd name="connsiteY5" fmla="*/ 0 h 1236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2" h="1236048">
                <a:moveTo>
                  <a:pt x="0" y="0"/>
                </a:moveTo>
                <a:lnTo>
                  <a:pt x="9144002" y="0"/>
                </a:lnTo>
                <a:lnTo>
                  <a:pt x="9144002" y="153958"/>
                </a:lnTo>
                <a:lnTo>
                  <a:pt x="899382" y="1236048"/>
                </a:lnTo>
                <a:lnTo>
                  <a:pt x="0" y="1122113"/>
                </a:lnTo>
                <a:lnTo>
                  <a:pt x="0" y="0"/>
                </a:lnTo>
                <a:close/>
              </a:path>
            </a:pathLst>
          </a:cu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0" tIns="0" rIns="121920" bIns="60960" numCol="1" spcCol="0" rtlCol="0" fromWordArt="0" anchor="ctr" anchorCtr="0" forceAA="0" compatLnSpc="1">
            <a:prstTxWarp prst="textNoShape">
              <a:avLst/>
            </a:prstTxWarp>
            <a:noAutofit/>
          </a:bodyPr>
          <a:lstStyle/>
          <a:p>
            <a:pPr marL="0" marR="0" indent="0" algn="ctr" defTabSz="1219170" rtl="0" eaLnBrk="1" fontAlgn="base" latinLnBrk="0" hangingPunct="1">
              <a:lnSpc>
                <a:spcPct val="86000"/>
              </a:lnSpc>
              <a:spcBef>
                <a:spcPct val="0"/>
              </a:spcBef>
              <a:spcAft>
                <a:spcPct val="0"/>
              </a:spcAft>
              <a:buClrTx/>
              <a:buSzTx/>
              <a:buFontTx/>
              <a:buNone/>
              <a:tabLst/>
            </a:pPr>
            <a:endParaRPr kumimoji="0" lang="en-US" sz="2667" b="0" i="0" u="none" strike="noStrike" cap="none" normalizeH="0" baseline="0">
              <a:ln>
                <a:noFill/>
              </a:ln>
              <a:solidFill>
                <a:schemeClr val="tx1"/>
              </a:solidFill>
              <a:effectLst/>
              <a:latin typeface="Arial" charset="0"/>
            </a:endParaRPr>
          </a:p>
        </p:txBody>
      </p:sp>
      <p:sp>
        <p:nvSpPr>
          <p:cNvPr id="12" name="Freeform 11"/>
          <p:cNvSpPr/>
          <p:nvPr userDrawn="1"/>
        </p:nvSpPr>
        <p:spPr bwMode="auto">
          <a:xfrm>
            <a:off x="1" y="4593779"/>
            <a:ext cx="12192000" cy="2264221"/>
          </a:xfrm>
          <a:custGeom>
            <a:avLst/>
            <a:gdLst>
              <a:gd name="connsiteX0" fmla="*/ 9144000 w 9144000"/>
              <a:gd name="connsiteY0" fmla="*/ 0 h 1698166"/>
              <a:gd name="connsiteX1" fmla="*/ 9144000 w 9144000"/>
              <a:gd name="connsiteY1" fmla="*/ 62685 h 1698166"/>
              <a:gd name="connsiteX2" fmla="*/ 9144000 w 9144000"/>
              <a:gd name="connsiteY2" fmla="*/ 1698166 h 1698166"/>
              <a:gd name="connsiteX3" fmla="*/ 0 w 9144000"/>
              <a:gd name="connsiteY3" fmla="*/ 1698166 h 1698166"/>
              <a:gd name="connsiteX4" fmla="*/ 0 w 9144000"/>
              <a:gd name="connsiteY4" fmla="*/ 1139318 h 1698166"/>
              <a:gd name="connsiteX5" fmla="*/ 9144000 w 9144000"/>
              <a:gd name="connsiteY5" fmla="*/ 0 h 1698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0" h="1698166">
                <a:moveTo>
                  <a:pt x="9144000" y="0"/>
                </a:moveTo>
                <a:lnTo>
                  <a:pt x="9144000" y="62685"/>
                </a:lnTo>
                <a:lnTo>
                  <a:pt x="9144000" y="1698166"/>
                </a:lnTo>
                <a:lnTo>
                  <a:pt x="0" y="1698166"/>
                </a:lnTo>
                <a:lnTo>
                  <a:pt x="0" y="1139318"/>
                </a:lnTo>
                <a:lnTo>
                  <a:pt x="9144000" y="0"/>
                </a:lnTo>
                <a:close/>
              </a:path>
            </a:pathLst>
          </a:cu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0" tIns="0" rIns="121920" bIns="60960" numCol="1" spcCol="0" rtlCol="0" fromWordArt="0" anchor="ctr" anchorCtr="0" forceAA="0" compatLnSpc="1">
            <a:prstTxWarp prst="textNoShape">
              <a:avLst/>
            </a:prstTxWarp>
            <a:noAutofit/>
          </a:bodyPr>
          <a:lstStyle/>
          <a:p>
            <a:pPr marL="0" marR="0" indent="0" algn="ctr" defTabSz="1219170" rtl="0" eaLnBrk="1" fontAlgn="base" latinLnBrk="0" hangingPunct="1">
              <a:lnSpc>
                <a:spcPct val="86000"/>
              </a:lnSpc>
              <a:spcBef>
                <a:spcPct val="0"/>
              </a:spcBef>
              <a:spcAft>
                <a:spcPct val="0"/>
              </a:spcAft>
              <a:buClrTx/>
              <a:buSzTx/>
              <a:buFontTx/>
              <a:buNone/>
              <a:tabLst/>
            </a:pPr>
            <a:endParaRPr kumimoji="0" lang="en-US" sz="2667" b="0" i="0" u="none" strike="noStrike" cap="none" normalizeH="0" baseline="0">
              <a:ln>
                <a:noFill/>
              </a:ln>
              <a:solidFill>
                <a:schemeClr val="tx1"/>
              </a:solidFill>
              <a:effectLst/>
              <a:latin typeface="Arial" charset="0"/>
            </a:endParaRPr>
          </a:p>
        </p:txBody>
      </p:sp>
      <p:sp>
        <p:nvSpPr>
          <p:cNvPr id="4" name="Slide Number Placeholder 3"/>
          <p:cNvSpPr>
            <a:spLocks noGrp="1"/>
          </p:cNvSpPr>
          <p:nvPr userDrawn="1">
            <p:ph type="sldNum" sz="quarter" idx="10"/>
          </p:nvPr>
        </p:nvSpPr>
        <p:spPr/>
        <p:txBody>
          <a:bodyPr/>
          <a:lstStyle>
            <a:lvl1pPr>
              <a:defRPr>
                <a:solidFill>
                  <a:schemeClr val="bg1"/>
                </a:solidFill>
              </a:defRPr>
            </a:lvl1pPr>
          </a:lstStyle>
          <a:p>
            <a:fld id="{11CD31B8-DFA8-4BF7-BBBE-7E247CEDF3BD}" type="slidenum">
              <a:rPr lang="en-US" smtClean="0"/>
              <a:pPr/>
              <a:t>‹Nº›</a:t>
            </a:fld>
            <a:endParaRPr lang="en-US" dirty="0"/>
          </a:p>
        </p:txBody>
      </p:sp>
      <p:sp>
        <p:nvSpPr>
          <p:cNvPr id="14" name="Freeform 9"/>
          <p:cNvSpPr>
            <a:spLocks/>
          </p:cNvSpPr>
          <p:nvPr userDrawn="1"/>
        </p:nvSpPr>
        <p:spPr bwMode="auto">
          <a:xfrm>
            <a:off x="9176982" y="191062"/>
            <a:ext cx="3015017" cy="759407"/>
          </a:xfrm>
          <a:custGeom>
            <a:avLst/>
            <a:gdLst>
              <a:gd name="T0" fmla="*/ 2934 w 2934"/>
              <a:gd name="T1" fmla="*/ 739 h 739"/>
              <a:gd name="T2" fmla="*/ 2934 w 2934"/>
              <a:gd name="T3" fmla="*/ 0 h 739"/>
              <a:gd name="T4" fmla="*/ 2094 w 2934"/>
              <a:gd name="T5" fmla="*/ 111 h 739"/>
              <a:gd name="T6" fmla="*/ 0 w 2934"/>
              <a:gd name="T7" fmla="*/ 386 h 739"/>
              <a:gd name="T8" fmla="*/ 2934 w 2934"/>
              <a:gd name="T9" fmla="*/ 739 h 739"/>
            </a:gdLst>
            <a:ahLst/>
            <a:cxnLst>
              <a:cxn ang="0">
                <a:pos x="T0" y="T1"/>
              </a:cxn>
              <a:cxn ang="0">
                <a:pos x="T2" y="T3"/>
              </a:cxn>
              <a:cxn ang="0">
                <a:pos x="T4" y="T5"/>
              </a:cxn>
              <a:cxn ang="0">
                <a:pos x="T6" y="T7"/>
              </a:cxn>
              <a:cxn ang="0">
                <a:pos x="T8" y="T9"/>
              </a:cxn>
            </a:cxnLst>
            <a:rect l="0" t="0" r="r" b="b"/>
            <a:pathLst>
              <a:path w="2934" h="739">
                <a:moveTo>
                  <a:pt x="2934" y="739"/>
                </a:moveTo>
                <a:lnTo>
                  <a:pt x="2934" y="0"/>
                </a:lnTo>
                <a:lnTo>
                  <a:pt x="2094" y="111"/>
                </a:lnTo>
                <a:lnTo>
                  <a:pt x="0" y="386"/>
                </a:lnTo>
                <a:lnTo>
                  <a:pt x="2934" y="739"/>
                </a:lnTo>
                <a:close/>
              </a:path>
            </a:pathLst>
          </a:custGeom>
          <a:solidFill>
            <a:schemeClr val="accent2">
              <a:alpha val="70000"/>
            </a:schemeClr>
          </a:solidFill>
          <a:ln>
            <a:noFill/>
          </a:ln>
        </p:spPr>
        <p:txBody>
          <a:bodyPr vert="horz" wrap="square" lIns="121920" tIns="60960" rIns="121920" bIns="60960" numCol="1" anchor="t" anchorCtr="0" compatLnSpc="1">
            <a:prstTxWarp prst="textNoShape">
              <a:avLst/>
            </a:prstTxWarp>
          </a:bodyPr>
          <a:lstStyle/>
          <a:p>
            <a:endParaRPr lang="en-US" sz="2400"/>
          </a:p>
        </p:txBody>
      </p:sp>
    </p:spTree>
    <p:extLst>
      <p:ext uri="{BB962C8B-B14F-4D97-AF65-F5344CB8AC3E}">
        <p14:creationId xmlns:p14="http://schemas.microsoft.com/office/powerpoint/2010/main" val="3850109823"/>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2_Section Divider">
    <p:spTree>
      <p:nvGrpSpPr>
        <p:cNvPr id="1" name=""/>
        <p:cNvGrpSpPr/>
        <p:nvPr/>
      </p:nvGrpSpPr>
      <p:grpSpPr>
        <a:xfrm>
          <a:off x="0" y="0"/>
          <a:ext cx="0" cy="0"/>
          <a:chOff x="0" y="0"/>
          <a:chExt cx="0" cy="0"/>
        </a:xfrm>
      </p:grpSpPr>
      <p:sp>
        <p:nvSpPr>
          <p:cNvPr id="5" name="Rectangle 4"/>
          <p:cNvSpPr/>
          <p:nvPr userDrawn="1"/>
        </p:nvSpPr>
        <p:spPr bwMode="auto">
          <a:xfrm>
            <a:off x="1" y="-11261"/>
            <a:ext cx="12191999" cy="6869261"/>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121920" bIns="60960" numCol="1" rtlCol="0" anchor="ctr" anchorCtr="0" compatLnSpc="1">
            <a:prstTxWarp prst="textNoShape">
              <a:avLst/>
            </a:prstTxWarp>
          </a:bodyPr>
          <a:lstStyle/>
          <a:p>
            <a:pPr marL="0" marR="0" indent="0" algn="ctr" defTabSz="1219170" rtl="0" eaLnBrk="1" fontAlgn="base" latinLnBrk="0" hangingPunct="1">
              <a:lnSpc>
                <a:spcPct val="86000"/>
              </a:lnSpc>
              <a:spcBef>
                <a:spcPct val="0"/>
              </a:spcBef>
              <a:spcAft>
                <a:spcPct val="0"/>
              </a:spcAft>
              <a:buClrTx/>
              <a:buSzTx/>
              <a:buFontTx/>
              <a:buNone/>
              <a:tabLst/>
            </a:pPr>
            <a:endParaRPr kumimoji="0" lang="en-US" sz="2667" b="0" i="0" u="none" strike="noStrike" cap="none" normalizeH="0" baseline="0">
              <a:ln>
                <a:noFill/>
              </a:ln>
              <a:solidFill>
                <a:schemeClr val="tx1"/>
              </a:solidFill>
              <a:effectLst/>
              <a:latin typeface="Arial" charset="0"/>
            </a:endParaRPr>
          </a:p>
        </p:txBody>
      </p:sp>
      <p:sp>
        <p:nvSpPr>
          <p:cNvPr id="11" name="Rectangle 10"/>
          <p:cNvSpPr/>
          <p:nvPr userDrawn="1"/>
        </p:nvSpPr>
        <p:spPr bwMode="auto">
          <a:xfrm>
            <a:off x="0" y="0"/>
            <a:ext cx="12192000" cy="6858000"/>
          </a:xfrm>
          <a:prstGeom prst="rect">
            <a:avLst/>
          </a:prstGeom>
          <a:blipFill dpi="0" rotWithShape="1">
            <a:blip r:embed="rId2" cstate="hqprint">
              <a:alphaModFix amt="56000"/>
              <a:extLst>
                <a:ext uri="{28A0092B-C50C-407E-A947-70E740481C1C}">
                  <a14:useLocalDpi xmlns:a14="http://schemas.microsoft.com/office/drawing/2010/main"/>
                </a:ext>
              </a:extLst>
            </a:blip>
            <a:srcRect/>
            <a:stretch>
              <a:fillRect/>
            </a:stretch>
          </a:blipFill>
          <a:ln w="9525" cap="flat" cmpd="sng" algn="ctr">
            <a:noFill/>
            <a:prstDash val="solid"/>
            <a:round/>
            <a:headEnd type="none" w="med" len="med"/>
            <a:tailEnd type="none" w="med" len="med"/>
          </a:ln>
          <a:effectLst/>
        </p:spPr>
        <p:txBody>
          <a:bodyPr vert="horz" wrap="none" lIns="0" tIns="0" rIns="121920" bIns="60960" numCol="1" rtlCol="0" anchor="ctr" anchorCtr="0" compatLnSpc="1">
            <a:prstTxWarp prst="textNoShape">
              <a:avLst/>
            </a:prstTxWarp>
          </a:bodyPr>
          <a:lstStyle/>
          <a:p>
            <a:pPr marL="0" marR="0" indent="0" algn="ctr" defTabSz="1219170" rtl="0" eaLnBrk="1" fontAlgn="base" latinLnBrk="0" hangingPunct="1">
              <a:lnSpc>
                <a:spcPct val="86000"/>
              </a:lnSpc>
              <a:spcBef>
                <a:spcPct val="0"/>
              </a:spcBef>
              <a:spcAft>
                <a:spcPct val="0"/>
              </a:spcAft>
              <a:buClrTx/>
              <a:buSzTx/>
              <a:buFontTx/>
              <a:buNone/>
              <a:tabLst/>
            </a:pPr>
            <a:endParaRPr kumimoji="0" lang="en-US" sz="2667" b="0" i="0" u="none" strike="noStrike" cap="none" normalizeH="0" baseline="0">
              <a:ln>
                <a:noFill/>
              </a:ln>
              <a:solidFill>
                <a:schemeClr val="tx1"/>
              </a:solidFill>
              <a:effectLst/>
              <a:latin typeface="Arial" charset="0"/>
            </a:endParaRPr>
          </a:p>
        </p:txBody>
      </p:sp>
      <p:sp>
        <p:nvSpPr>
          <p:cNvPr id="15" name="Freeform 14"/>
          <p:cNvSpPr>
            <a:spLocks/>
          </p:cNvSpPr>
          <p:nvPr userDrawn="1"/>
        </p:nvSpPr>
        <p:spPr bwMode="auto">
          <a:xfrm>
            <a:off x="1" y="5817289"/>
            <a:ext cx="1198880" cy="298755"/>
          </a:xfrm>
          <a:custGeom>
            <a:avLst/>
            <a:gdLst>
              <a:gd name="connsiteX0" fmla="*/ 0 w 2701455"/>
              <a:gd name="connsiteY0" fmla="*/ 0 h 673188"/>
              <a:gd name="connsiteX1" fmla="*/ 0 w 2701455"/>
              <a:gd name="connsiteY1" fmla="*/ 48782 h 673188"/>
              <a:gd name="connsiteX2" fmla="*/ 0 w 2701455"/>
              <a:gd name="connsiteY2" fmla="*/ 673188 h 673188"/>
              <a:gd name="connsiteX3" fmla="*/ 2701455 w 2701455"/>
              <a:gd name="connsiteY3" fmla="*/ 336594 h 673188"/>
              <a:gd name="connsiteX4" fmla="*/ 0 w 2701455"/>
              <a:gd name="connsiteY4" fmla="*/ 0 h 673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1455" h="673188">
                <a:moveTo>
                  <a:pt x="0" y="0"/>
                </a:moveTo>
                <a:lnTo>
                  <a:pt x="0" y="48782"/>
                </a:lnTo>
                <a:lnTo>
                  <a:pt x="0" y="673188"/>
                </a:lnTo>
                <a:lnTo>
                  <a:pt x="2701455" y="336594"/>
                </a:lnTo>
                <a:lnTo>
                  <a:pt x="0" y="0"/>
                </a:lnTo>
                <a:close/>
              </a:path>
            </a:pathLst>
          </a:custGeom>
          <a:solidFill>
            <a:schemeClr val="accent3">
              <a:alpha val="80000"/>
            </a:schemeClr>
          </a:solidFill>
          <a:ln>
            <a:noFill/>
          </a:ln>
        </p:spPr>
        <p:txBody>
          <a:bodyPr vert="horz" wrap="square" lIns="121920" tIns="60960" rIns="121920" bIns="60960" numCol="1" anchor="t" anchorCtr="0" compatLnSpc="1">
            <a:prstTxWarp prst="textNoShape">
              <a:avLst/>
            </a:prstTxWarp>
            <a:noAutofit/>
          </a:bodyPr>
          <a:lstStyle/>
          <a:p>
            <a:endParaRPr lang="en-US" sz="2400"/>
          </a:p>
        </p:txBody>
      </p:sp>
      <p:sp>
        <p:nvSpPr>
          <p:cNvPr id="2" name="Title 1"/>
          <p:cNvSpPr>
            <a:spLocks noGrp="1"/>
          </p:cNvSpPr>
          <p:nvPr userDrawn="1">
            <p:ph type="title" hasCustomPrompt="1"/>
          </p:nvPr>
        </p:nvSpPr>
        <p:spPr>
          <a:xfrm>
            <a:off x="1198881" y="2804852"/>
            <a:ext cx="10126439" cy="1362075"/>
          </a:xfrm>
        </p:spPr>
        <p:txBody>
          <a:bodyPr/>
          <a:lstStyle>
            <a:lvl1pPr algn="l">
              <a:defRPr sz="4667" b="1" cap="none">
                <a:solidFill>
                  <a:schemeClr val="accent3"/>
                </a:solidFill>
              </a:defRPr>
            </a:lvl1pPr>
          </a:lstStyle>
          <a:p>
            <a:r>
              <a:rPr lang="en-US" dirty="0"/>
              <a:t>Click To Edit Master Title Style</a:t>
            </a:r>
          </a:p>
        </p:txBody>
      </p:sp>
      <p:sp>
        <p:nvSpPr>
          <p:cNvPr id="3" name="Text Placeholder 2"/>
          <p:cNvSpPr>
            <a:spLocks noGrp="1"/>
          </p:cNvSpPr>
          <p:nvPr userDrawn="1">
            <p:ph type="body" idx="1"/>
          </p:nvPr>
        </p:nvSpPr>
        <p:spPr>
          <a:xfrm>
            <a:off x="1198881" y="1921934"/>
            <a:ext cx="10126439" cy="801637"/>
          </a:xfrm>
        </p:spPr>
        <p:txBody>
          <a:bodyPr anchor="b"/>
          <a:lstStyle>
            <a:lvl1pPr marL="0" indent="0">
              <a:spcBef>
                <a:spcPts val="800"/>
              </a:spcBef>
              <a:buNone/>
              <a:defRPr sz="2267">
                <a:solidFill>
                  <a:schemeClr val="accent2"/>
                </a:solidFill>
              </a:defRPr>
            </a:lvl1pPr>
            <a:lvl2pPr marL="529009" indent="0">
              <a:buNone/>
              <a:defRPr sz="2133"/>
            </a:lvl2pPr>
            <a:lvl3pPr marL="1058020" indent="0">
              <a:buNone/>
              <a:defRPr sz="1867"/>
            </a:lvl3pPr>
            <a:lvl4pPr marL="1587030" indent="0">
              <a:buNone/>
              <a:defRPr sz="1600"/>
            </a:lvl4pPr>
            <a:lvl5pPr marL="2116040" indent="0">
              <a:buNone/>
              <a:defRPr sz="1600"/>
            </a:lvl5pPr>
            <a:lvl6pPr marL="2645047" indent="0">
              <a:buNone/>
              <a:defRPr sz="1600"/>
            </a:lvl6pPr>
            <a:lvl7pPr marL="3174058" indent="0">
              <a:buNone/>
              <a:defRPr sz="1600"/>
            </a:lvl7pPr>
            <a:lvl8pPr marL="3703067" indent="0">
              <a:buNone/>
              <a:defRPr sz="1600"/>
            </a:lvl8pPr>
            <a:lvl9pPr marL="4232078" indent="0">
              <a:buNone/>
              <a:defRPr sz="1600"/>
            </a:lvl9pPr>
          </a:lstStyle>
          <a:p>
            <a:pPr lvl="0"/>
            <a:r>
              <a:rPr lang="en-US"/>
              <a:t>Edit Master text styles</a:t>
            </a:r>
          </a:p>
        </p:txBody>
      </p:sp>
      <p:sp>
        <p:nvSpPr>
          <p:cNvPr id="8" name="Freeform 7"/>
          <p:cNvSpPr/>
          <p:nvPr userDrawn="1"/>
        </p:nvSpPr>
        <p:spPr bwMode="auto">
          <a:xfrm>
            <a:off x="-3" y="-11261"/>
            <a:ext cx="12192003" cy="1648064"/>
          </a:xfrm>
          <a:custGeom>
            <a:avLst/>
            <a:gdLst>
              <a:gd name="connsiteX0" fmla="*/ 0 w 9144002"/>
              <a:gd name="connsiteY0" fmla="*/ 0 h 1236048"/>
              <a:gd name="connsiteX1" fmla="*/ 9144002 w 9144002"/>
              <a:gd name="connsiteY1" fmla="*/ 0 h 1236048"/>
              <a:gd name="connsiteX2" fmla="*/ 9144002 w 9144002"/>
              <a:gd name="connsiteY2" fmla="*/ 153958 h 1236048"/>
              <a:gd name="connsiteX3" fmla="*/ 899382 w 9144002"/>
              <a:gd name="connsiteY3" fmla="*/ 1236048 h 1236048"/>
              <a:gd name="connsiteX4" fmla="*/ 0 w 9144002"/>
              <a:gd name="connsiteY4" fmla="*/ 1122113 h 1236048"/>
              <a:gd name="connsiteX5" fmla="*/ 0 w 9144002"/>
              <a:gd name="connsiteY5" fmla="*/ 0 h 1236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2" h="1236048">
                <a:moveTo>
                  <a:pt x="0" y="0"/>
                </a:moveTo>
                <a:lnTo>
                  <a:pt x="9144002" y="0"/>
                </a:lnTo>
                <a:lnTo>
                  <a:pt x="9144002" y="153958"/>
                </a:lnTo>
                <a:lnTo>
                  <a:pt x="899382" y="1236048"/>
                </a:lnTo>
                <a:lnTo>
                  <a:pt x="0" y="1122113"/>
                </a:lnTo>
                <a:lnTo>
                  <a:pt x="0" y="0"/>
                </a:lnTo>
                <a:close/>
              </a:path>
            </a:pathLst>
          </a:custGeom>
          <a:solidFill>
            <a:schemeClr val="bg1">
              <a:alpha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0" tIns="0" rIns="121920" bIns="60960" numCol="1" spcCol="0" rtlCol="0" fromWordArt="0" anchor="ctr" anchorCtr="0" forceAA="0" compatLnSpc="1">
            <a:prstTxWarp prst="textNoShape">
              <a:avLst/>
            </a:prstTxWarp>
            <a:noAutofit/>
          </a:bodyPr>
          <a:lstStyle/>
          <a:p>
            <a:pPr marL="0" marR="0" indent="0" algn="ctr" defTabSz="1219170" rtl="0" eaLnBrk="1" fontAlgn="base" latinLnBrk="0" hangingPunct="1">
              <a:lnSpc>
                <a:spcPct val="86000"/>
              </a:lnSpc>
              <a:spcBef>
                <a:spcPct val="0"/>
              </a:spcBef>
              <a:spcAft>
                <a:spcPct val="0"/>
              </a:spcAft>
              <a:buClrTx/>
              <a:buSzTx/>
              <a:buFontTx/>
              <a:buNone/>
              <a:tabLst/>
            </a:pPr>
            <a:endParaRPr kumimoji="0" lang="en-US" sz="2667" b="0" i="0" u="none" strike="noStrike" cap="none" normalizeH="0" baseline="0">
              <a:ln>
                <a:noFill/>
              </a:ln>
              <a:solidFill>
                <a:schemeClr val="tx1"/>
              </a:solidFill>
              <a:effectLst/>
              <a:latin typeface="Arial" charset="0"/>
            </a:endParaRPr>
          </a:p>
        </p:txBody>
      </p:sp>
      <p:sp>
        <p:nvSpPr>
          <p:cNvPr id="12" name="Freeform 11"/>
          <p:cNvSpPr/>
          <p:nvPr userDrawn="1"/>
        </p:nvSpPr>
        <p:spPr bwMode="auto">
          <a:xfrm>
            <a:off x="1" y="4593779"/>
            <a:ext cx="12192000" cy="2264221"/>
          </a:xfrm>
          <a:custGeom>
            <a:avLst/>
            <a:gdLst>
              <a:gd name="connsiteX0" fmla="*/ 9144000 w 9144000"/>
              <a:gd name="connsiteY0" fmla="*/ 0 h 1698166"/>
              <a:gd name="connsiteX1" fmla="*/ 9144000 w 9144000"/>
              <a:gd name="connsiteY1" fmla="*/ 62685 h 1698166"/>
              <a:gd name="connsiteX2" fmla="*/ 9144000 w 9144000"/>
              <a:gd name="connsiteY2" fmla="*/ 1698166 h 1698166"/>
              <a:gd name="connsiteX3" fmla="*/ 0 w 9144000"/>
              <a:gd name="connsiteY3" fmla="*/ 1698166 h 1698166"/>
              <a:gd name="connsiteX4" fmla="*/ 0 w 9144000"/>
              <a:gd name="connsiteY4" fmla="*/ 1139318 h 1698166"/>
              <a:gd name="connsiteX5" fmla="*/ 9144000 w 9144000"/>
              <a:gd name="connsiteY5" fmla="*/ 0 h 1698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0" h="1698166">
                <a:moveTo>
                  <a:pt x="9144000" y="0"/>
                </a:moveTo>
                <a:lnTo>
                  <a:pt x="9144000" y="62685"/>
                </a:lnTo>
                <a:lnTo>
                  <a:pt x="9144000" y="1698166"/>
                </a:lnTo>
                <a:lnTo>
                  <a:pt x="0" y="1698166"/>
                </a:lnTo>
                <a:lnTo>
                  <a:pt x="0" y="1139318"/>
                </a:lnTo>
                <a:lnTo>
                  <a:pt x="9144000" y="0"/>
                </a:lnTo>
                <a:close/>
              </a:path>
            </a:pathLst>
          </a:cu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0" tIns="0" rIns="121920" bIns="60960" numCol="1" spcCol="0" rtlCol="0" fromWordArt="0" anchor="ctr" anchorCtr="0" forceAA="0" compatLnSpc="1">
            <a:prstTxWarp prst="textNoShape">
              <a:avLst/>
            </a:prstTxWarp>
            <a:noAutofit/>
          </a:bodyPr>
          <a:lstStyle/>
          <a:p>
            <a:pPr marL="0" marR="0" indent="0" algn="ctr" defTabSz="1219170" rtl="0" eaLnBrk="1" fontAlgn="base" latinLnBrk="0" hangingPunct="1">
              <a:lnSpc>
                <a:spcPct val="86000"/>
              </a:lnSpc>
              <a:spcBef>
                <a:spcPct val="0"/>
              </a:spcBef>
              <a:spcAft>
                <a:spcPct val="0"/>
              </a:spcAft>
              <a:buClrTx/>
              <a:buSzTx/>
              <a:buFontTx/>
              <a:buNone/>
              <a:tabLst/>
            </a:pPr>
            <a:endParaRPr kumimoji="0" lang="en-US" sz="2667" b="0" i="0" u="none" strike="noStrike" cap="none" normalizeH="0" baseline="0">
              <a:ln>
                <a:noFill/>
              </a:ln>
              <a:solidFill>
                <a:schemeClr val="tx1"/>
              </a:solidFill>
              <a:effectLst/>
              <a:latin typeface="Arial" charset="0"/>
            </a:endParaRPr>
          </a:p>
        </p:txBody>
      </p:sp>
      <p:sp>
        <p:nvSpPr>
          <p:cNvPr id="4" name="Slide Number Placeholder 3"/>
          <p:cNvSpPr>
            <a:spLocks noGrp="1"/>
          </p:cNvSpPr>
          <p:nvPr userDrawn="1">
            <p:ph type="sldNum" sz="quarter" idx="10"/>
          </p:nvPr>
        </p:nvSpPr>
        <p:spPr/>
        <p:txBody>
          <a:bodyPr/>
          <a:lstStyle>
            <a:lvl1pPr>
              <a:defRPr>
                <a:solidFill>
                  <a:schemeClr val="bg1"/>
                </a:solidFill>
              </a:defRPr>
            </a:lvl1pPr>
          </a:lstStyle>
          <a:p>
            <a:fld id="{11CD31B8-DFA8-4BF7-BBBE-7E247CEDF3BD}" type="slidenum">
              <a:rPr lang="en-US" smtClean="0"/>
              <a:pPr/>
              <a:t>‹Nº›</a:t>
            </a:fld>
            <a:endParaRPr lang="en-US" dirty="0"/>
          </a:p>
        </p:txBody>
      </p:sp>
      <p:sp>
        <p:nvSpPr>
          <p:cNvPr id="14" name="Freeform 9"/>
          <p:cNvSpPr>
            <a:spLocks/>
          </p:cNvSpPr>
          <p:nvPr userDrawn="1"/>
        </p:nvSpPr>
        <p:spPr bwMode="auto">
          <a:xfrm>
            <a:off x="9176982" y="191062"/>
            <a:ext cx="3015017" cy="759407"/>
          </a:xfrm>
          <a:custGeom>
            <a:avLst/>
            <a:gdLst>
              <a:gd name="T0" fmla="*/ 2934 w 2934"/>
              <a:gd name="T1" fmla="*/ 739 h 739"/>
              <a:gd name="T2" fmla="*/ 2934 w 2934"/>
              <a:gd name="T3" fmla="*/ 0 h 739"/>
              <a:gd name="T4" fmla="*/ 2094 w 2934"/>
              <a:gd name="T5" fmla="*/ 111 h 739"/>
              <a:gd name="T6" fmla="*/ 0 w 2934"/>
              <a:gd name="T7" fmla="*/ 386 h 739"/>
              <a:gd name="T8" fmla="*/ 2934 w 2934"/>
              <a:gd name="T9" fmla="*/ 739 h 739"/>
            </a:gdLst>
            <a:ahLst/>
            <a:cxnLst>
              <a:cxn ang="0">
                <a:pos x="T0" y="T1"/>
              </a:cxn>
              <a:cxn ang="0">
                <a:pos x="T2" y="T3"/>
              </a:cxn>
              <a:cxn ang="0">
                <a:pos x="T4" y="T5"/>
              </a:cxn>
              <a:cxn ang="0">
                <a:pos x="T6" y="T7"/>
              </a:cxn>
              <a:cxn ang="0">
                <a:pos x="T8" y="T9"/>
              </a:cxn>
            </a:cxnLst>
            <a:rect l="0" t="0" r="r" b="b"/>
            <a:pathLst>
              <a:path w="2934" h="739">
                <a:moveTo>
                  <a:pt x="2934" y="739"/>
                </a:moveTo>
                <a:lnTo>
                  <a:pt x="2934" y="0"/>
                </a:lnTo>
                <a:lnTo>
                  <a:pt x="2094" y="111"/>
                </a:lnTo>
                <a:lnTo>
                  <a:pt x="0" y="386"/>
                </a:lnTo>
                <a:lnTo>
                  <a:pt x="2934" y="739"/>
                </a:lnTo>
                <a:close/>
              </a:path>
            </a:pathLst>
          </a:custGeom>
          <a:solidFill>
            <a:schemeClr val="accent3">
              <a:alpha val="82000"/>
            </a:schemeClr>
          </a:solidFill>
          <a:ln>
            <a:noFill/>
          </a:ln>
        </p:spPr>
        <p:txBody>
          <a:bodyPr vert="horz" wrap="square" lIns="121920" tIns="60960" rIns="121920" bIns="60960" numCol="1" anchor="t" anchorCtr="0" compatLnSpc="1">
            <a:prstTxWarp prst="textNoShape">
              <a:avLst/>
            </a:prstTxWarp>
          </a:bodyPr>
          <a:lstStyle/>
          <a:p>
            <a:endParaRPr lang="en-US" sz="2400"/>
          </a:p>
        </p:txBody>
      </p:sp>
    </p:spTree>
    <p:extLst>
      <p:ext uri="{BB962C8B-B14F-4D97-AF65-F5344CB8AC3E}">
        <p14:creationId xmlns:p14="http://schemas.microsoft.com/office/powerpoint/2010/main" val="1513094237"/>
      </p:ext>
    </p:extLst>
  </p:cSld>
  <p:clrMapOvr>
    <a:masterClrMapping/>
  </p:clrMapOvr>
  <p:extLst>
    <p:ext uri="{DCECCB84-F9BA-43D5-87BE-67443E8EF086}">
      <p15:sldGuideLst xmlns:p15="http://schemas.microsoft.com/office/powerpoint/2012/main"/>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type="secHead" preserve="1">
  <p:cSld name="Section Divider with Photo">
    <p:spTree>
      <p:nvGrpSpPr>
        <p:cNvPr id="1" name=""/>
        <p:cNvGrpSpPr/>
        <p:nvPr/>
      </p:nvGrpSpPr>
      <p:grpSpPr>
        <a:xfrm>
          <a:off x="0" y="0"/>
          <a:ext cx="0" cy="0"/>
          <a:chOff x="0" y="0"/>
          <a:chExt cx="0" cy="0"/>
        </a:xfrm>
      </p:grpSpPr>
      <p:sp>
        <p:nvSpPr>
          <p:cNvPr id="15" name="Freeform 14"/>
          <p:cNvSpPr>
            <a:spLocks/>
          </p:cNvSpPr>
          <p:nvPr userDrawn="1"/>
        </p:nvSpPr>
        <p:spPr bwMode="auto">
          <a:xfrm>
            <a:off x="1" y="3840000"/>
            <a:ext cx="1198880" cy="298755"/>
          </a:xfrm>
          <a:custGeom>
            <a:avLst/>
            <a:gdLst>
              <a:gd name="connsiteX0" fmla="*/ 0 w 2701455"/>
              <a:gd name="connsiteY0" fmla="*/ 0 h 673188"/>
              <a:gd name="connsiteX1" fmla="*/ 0 w 2701455"/>
              <a:gd name="connsiteY1" fmla="*/ 48782 h 673188"/>
              <a:gd name="connsiteX2" fmla="*/ 0 w 2701455"/>
              <a:gd name="connsiteY2" fmla="*/ 673188 h 673188"/>
              <a:gd name="connsiteX3" fmla="*/ 2701455 w 2701455"/>
              <a:gd name="connsiteY3" fmla="*/ 336594 h 673188"/>
              <a:gd name="connsiteX4" fmla="*/ 0 w 2701455"/>
              <a:gd name="connsiteY4" fmla="*/ 0 h 673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1455" h="673188">
                <a:moveTo>
                  <a:pt x="0" y="0"/>
                </a:moveTo>
                <a:lnTo>
                  <a:pt x="0" y="48782"/>
                </a:lnTo>
                <a:lnTo>
                  <a:pt x="0" y="673188"/>
                </a:lnTo>
                <a:lnTo>
                  <a:pt x="2701455" y="336594"/>
                </a:lnTo>
                <a:lnTo>
                  <a:pt x="0" y="0"/>
                </a:lnTo>
                <a:close/>
              </a:path>
            </a:pathLst>
          </a:custGeom>
          <a:solidFill>
            <a:schemeClr val="accent2">
              <a:alpha val="80000"/>
            </a:schemeClr>
          </a:solidFill>
          <a:ln>
            <a:noFill/>
          </a:ln>
        </p:spPr>
        <p:txBody>
          <a:bodyPr vert="horz" wrap="square" lIns="121920" tIns="60960" rIns="121920" bIns="60960" numCol="1" anchor="t" anchorCtr="0" compatLnSpc="1">
            <a:prstTxWarp prst="textNoShape">
              <a:avLst/>
            </a:prstTxWarp>
            <a:noAutofit/>
          </a:bodyPr>
          <a:lstStyle/>
          <a:p>
            <a:endParaRPr lang="en-US" sz="2400"/>
          </a:p>
        </p:txBody>
      </p:sp>
      <p:sp>
        <p:nvSpPr>
          <p:cNvPr id="13" name="Freeform 12"/>
          <p:cNvSpPr/>
          <p:nvPr userDrawn="1"/>
        </p:nvSpPr>
        <p:spPr bwMode="auto">
          <a:xfrm>
            <a:off x="-2" y="2613057"/>
            <a:ext cx="12192004" cy="4244944"/>
          </a:xfrm>
          <a:custGeom>
            <a:avLst/>
            <a:gdLst>
              <a:gd name="connsiteX0" fmla="*/ 9144003 w 9144003"/>
              <a:gd name="connsiteY0" fmla="*/ 0 h 3183708"/>
              <a:gd name="connsiteX1" fmla="*/ 9144003 w 9144003"/>
              <a:gd name="connsiteY1" fmla="*/ 62685 h 3183708"/>
              <a:gd name="connsiteX2" fmla="*/ 9144003 w 9144003"/>
              <a:gd name="connsiteY2" fmla="*/ 1698166 h 3183708"/>
              <a:gd name="connsiteX3" fmla="*/ 9144002 w 9144003"/>
              <a:gd name="connsiteY3" fmla="*/ 1698166 h 3183708"/>
              <a:gd name="connsiteX4" fmla="*/ 9144002 w 9144003"/>
              <a:gd name="connsiteY4" fmla="*/ 3183708 h 3183708"/>
              <a:gd name="connsiteX5" fmla="*/ 0 w 9144003"/>
              <a:gd name="connsiteY5" fmla="*/ 3183708 h 3183708"/>
              <a:gd name="connsiteX6" fmla="*/ 0 w 9144003"/>
              <a:gd name="connsiteY6" fmla="*/ 1633992 h 3183708"/>
              <a:gd name="connsiteX7" fmla="*/ 3 w 9144003"/>
              <a:gd name="connsiteY7" fmla="*/ 1633992 h 3183708"/>
              <a:gd name="connsiteX8" fmla="*/ 3 w 9144003"/>
              <a:gd name="connsiteY8" fmla="*/ 1139318 h 3183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3" h="3183708">
                <a:moveTo>
                  <a:pt x="9144003" y="0"/>
                </a:moveTo>
                <a:lnTo>
                  <a:pt x="9144003" y="62685"/>
                </a:lnTo>
                <a:lnTo>
                  <a:pt x="9144003" y="1698166"/>
                </a:lnTo>
                <a:lnTo>
                  <a:pt x="9144002" y="1698166"/>
                </a:lnTo>
                <a:lnTo>
                  <a:pt x="9144002" y="3183708"/>
                </a:lnTo>
                <a:lnTo>
                  <a:pt x="0" y="3183708"/>
                </a:lnTo>
                <a:lnTo>
                  <a:pt x="0" y="1633992"/>
                </a:lnTo>
                <a:lnTo>
                  <a:pt x="3" y="1633992"/>
                </a:lnTo>
                <a:lnTo>
                  <a:pt x="3" y="1139318"/>
                </a:lnTo>
                <a:close/>
              </a:path>
            </a:pathLst>
          </a:custGeom>
          <a:blipFill dpi="0" rotWithShape="1">
            <a:blip r:embed="rId2" cstate="hqprint">
              <a:extLst>
                <a:ext uri="{28A0092B-C50C-407E-A947-70E740481C1C}">
                  <a14:useLocalDpi xmlns:a14="http://schemas.microsoft.com/office/drawing/2010/main"/>
                </a:ext>
              </a:extLst>
            </a:blip>
            <a:srcRect/>
            <a:tile tx="0" ty="0" sx="100000" sy="100000" flip="none" algn="ctr"/>
          </a:blipFill>
          <a:ln w="9525" cap="flat" cmpd="sng" algn="ctr">
            <a:noFill/>
            <a:prstDash val="solid"/>
            <a:round/>
            <a:headEnd type="none" w="med" len="med"/>
            <a:tailEnd type="none" w="med" len="med"/>
          </a:ln>
          <a:effectLst/>
        </p:spPr>
        <p:txBody>
          <a:bodyPr rot="0" spcFirstLastPara="0" vertOverflow="overflow" horzOverflow="overflow" vert="horz" wrap="square" lIns="0" tIns="0" rIns="121920" bIns="60960" numCol="1" spcCol="0" rtlCol="0" fromWordArt="0" anchor="ctr" anchorCtr="0" forceAA="0" compatLnSpc="1">
            <a:prstTxWarp prst="textNoShape">
              <a:avLst/>
            </a:prstTxWarp>
            <a:noAutofit/>
          </a:bodyPr>
          <a:lstStyle/>
          <a:p>
            <a:pPr marL="0" marR="0" indent="0" algn="ctr" defTabSz="1219170" rtl="0" eaLnBrk="1" fontAlgn="base" latinLnBrk="0" hangingPunct="1">
              <a:lnSpc>
                <a:spcPct val="86000"/>
              </a:lnSpc>
              <a:spcBef>
                <a:spcPct val="0"/>
              </a:spcBef>
              <a:spcAft>
                <a:spcPct val="0"/>
              </a:spcAft>
              <a:buClrTx/>
              <a:buSzTx/>
              <a:buFontTx/>
              <a:buNone/>
              <a:tabLst/>
            </a:pPr>
            <a:endParaRPr kumimoji="0" lang="en-US" sz="2667" b="0" i="0" u="none" strike="noStrike" cap="none" normalizeH="0" baseline="0">
              <a:ln>
                <a:noFill/>
              </a:ln>
              <a:solidFill>
                <a:schemeClr val="tx1"/>
              </a:solidFill>
              <a:effectLst/>
              <a:latin typeface="Arial" charset="0"/>
            </a:endParaRPr>
          </a:p>
        </p:txBody>
      </p:sp>
      <p:sp>
        <p:nvSpPr>
          <p:cNvPr id="2" name="Title 1"/>
          <p:cNvSpPr>
            <a:spLocks noGrp="1"/>
          </p:cNvSpPr>
          <p:nvPr userDrawn="1">
            <p:ph type="title" hasCustomPrompt="1"/>
          </p:nvPr>
        </p:nvSpPr>
        <p:spPr>
          <a:xfrm>
            <a:off x="1198881" y="1788620"/>
            <a:ext cx="10126439" cy="1362075"/>
          </a:xfrm>
        </p:spPr>
        <p:txBody>
          <a:bodyPr/>
          <a:lstStyle>
            <a:lvl1pPr algn="l">
              <a:defRPr sz="4667" b="1" cap="none">
                <a:solidFill>
                  <a:schemeClr val="accent1"/>
                </a:solidFill>
              </a:defRPr>
            </a:lvl1pPr>
          </a:lstStyle>
          <a:p>
            <a:r>
              <a:rPr lang="en-US" dirty="0"/>
              <a:t>Click To Edit Master Title Style</a:t>
            </a:r>
          </a:p>
        </p:txBody>
      </p:sp>
      <p:sp>
        <p:nvSpPr>
          <p:cNvPr id="3" name="Text Placeholder 2"/>
          <p:cNvSpPr>
            <a:spLocks noGrp="1"/>
          </p:cNvSpPr>
          <p:nvPr userDrawn="1">
            <p:ph type="body" idx="1"/>
          </p:nvPr>
        </p:nvSpPr>
        <p:spPr>
          <a:xfrm>
            <a:off x="1198881" y="905702"/>
            <a:ext cx="10126439" cy="801637"/>
          </a:xfrm>
        </p:spPr>
        <p:txBody>
          <a:bodyPr anchor="b"/>
          <a:lstStyle>
            <a:lvl1pPr marL="0" indent="0">
              <a:spcBef>
                <a:spcPts val="800"/>
              </a:spcBef>
              <a:buNone/>
              <a:defRPr sz="2267">
                <a:solidFill>
                  <a:schemeClr val="accent2"/>
                </a:solidFill>
              </a:defRPr>
            </a:lvl1pPr>
            <a:lvl2pPr marL="529009" indent="0">
              <a:buNone/>
              <a:defRPr sz="2133"/>
            </a:lvl2pPr>
            <a:lvl3pPr marL="1058020" indent="0">
              <a:buNone/>
              <a:defRPr sz="1867"/>
            </a:lvl3pPr>
            <a:lvl4pPr marL="1587030" indent="0">
              <a:buNone/>
              <a:defRPr sz="1600"/>
            </a:lvl4pPr>
            <a:lvl5pPr marL="2116040" indent="0">
              <a:buNone/>
              <a:defRPr sz="1600"/>
            </a:lvl5pPr>
            <a:lvl6pPr marL="2645047" indent="0">
              <a:buNone/>
              <a:defRPr sz="1600"/>
            </a:lvl6pPr>
            <a:lvl7pPr marL="3174058" indent="0">
              <a:buNone/>
              <a:defRPr sz="1600"/>
            </a:lvl7pPr>
            <a:lvl8pPr marL="3703067" indent="0">
              <a:buNone/>
              <a:defRPr sz="1600"/>
            </a:lvl8pPr>
            <a:lvl9pPr marL="4232078" indent="0">
              <a:buNone/>
              <a:defRPr sz="1600"/>
            </a:lvl9pPr>
          </a:lstStyle>
          <a:p>
            <a:pPr lvl="0"/>
            <a:r>
              <a:rPr lang="en-US"/>
              <a:t>Edit Master text styles</a:t>
            </a:r>
          </a:p>
        </p:txBody>
      </p:sp>
      <p:sp>
        <p:nvSpPr>
          <p:cNvPr id="4" name="Slide Number Placeholder 3"/>
          <p:cNvSpPr>
            <a:spLocks noGrp="1"/>
          </p:cNvSpPr>
          <p:nvPr userDrawn="1">
            <p:ph type="sldNum" sz="quarter" idx="10"/>
          </p:nvPr>
        </p:nvSpPr>
        <p:spPr/>
        <p:txBody>
          <a:bodyPr/>
          <a:lstStyle>
            <a:lvl1pPr>
              <a:defRPr>
                <a:solidFill>
                  <a:schemeClr val="bg1"/>
                </a:solidFill>
              </a:defRPr>
            </a:lvl1pPr>
          </a:lstStyle>
          <a:p>
            <a:fld id="{11CD31B8-DFA8-4BF7-BBBE-7E247CEDF3BD}" type="slidenum">
              <a:rPr lang="en-US" smtClean="0"/>
              <a:pPr/>
              <a:t>‹Nº›</a:t>
            </a:fld>
            <a:endParaRPr lang="en-US" dirty="0"/>
          </a:p>
        </p:txBody>
      </p:sp>
    </p:spTree>
    <p:extLst>
      <p:ext uri="{BB962C8B-B14F-4D97-AF65-F5344CB8AC3E}">
        <p14:creationId xmlns:p14="http://schemas.microsoft.com/office/powerpoint/2010/main" val="2096551495"/>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secHead" preserve="1">
  <p:cSld name="1_Section Divider with Photo">
    <p:spTree>
      <p:nvGrpSpPr>
        <p:cNvPr id="1" name=""/>
        <p:cNvGrpSpPr/>
        <p:nvPr/>
      </p:nvGrpSpPr>
      <p:grpSpPr>
        <a:xfrm>
          <a:off x="0" y="0"/>
          <a:ext cx="0" cy="0"/>
          <a:chOff x="0" y="0"/>
          <a:chExt cx="0" cy="0"/>
        </a:xfrm>
      </p:grpSpPr>
      <p:sp>
        <p:nvSpPr>
          <p:cNvPr id="5" name="Rectangle 4"/>
          <p:cNvSpPr/>
          <p:nvPr userDrawn="1"/>
        </p:nvSpPr>
        <p:spPr bwMode="auto">
          <a:xfrm>
            <a:off x="-3" y="1"/>
            <a:ext cx="12192003" cy="6858001"/>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121920" bIns="60960" numCol="1" rtlCol="0" anchor="ctr" anchorCtr="0" compatLnSpc="1">
            <a:prstTxWarp prst="textNoShape">
              <a:avLst/>
            </a:prstTxWarp>
          </a:bodyPr>
          <a:lstStyle/>
          <a:p>
            <a:pPr marL="0" marR="0" indent="0" algn="ctr" defTabSz="1219170" rtl="0" eaLnBrk="1" fontAlgn="base" latinLnBrk="0" hangingPunct="1">
              <a:lnSpc>
                <a:spcPct val="86000"/>
              </a:lnSpc>
              <a:spcBef>
                <a:spcPct val="0"/>
              </a:spcBef>
              <a:spcAft>
                <a:spcPct val="0"/>
              </a:spcAft>
              <a:buClrTx/>
              <a:buSzTx/>
              <a:buFontTx/>
              <a:buNone/>
              <a:tabLst/>
            </a:pPr>
            <a:endParaRPr kumimoji="0" lang="en-US" sz="2667" b="0" i="0" u="none" strike="noStrike" cap="none" normalizeH="0" baseline="0">
              <a:ln>
                <a:noFill/>
              </a:ln>
              <a:solidFill>
                <a:schemeClr val="tx1"/>
              </a:solidFill>
              <a:effectLst/>
              <a:latin typeface="Arial" charset="0"/>
            </a:endParaRPr>
          </a:p>
        </p:txBody>
      </p:sp>
      <p:sp>
        <p:nvSpPr>
          <p:cNvPr id="15" name="Freeform 14"/>
          <p:cNvSpPr>
            <a:spLocks/>
          </p:cNvSpPr>
          <p:nvPr userDrawn="1"/>
        </p:nvSpPr>
        <p:spPr bwMode="auto">
          <a:xfrm>
            <a:off x="1" y="3836568"/>
            <a:ext cx="1198880" cy="298755"/>
          </a:xfrm>
          <a:custGeom>
            <a:avLst/>
            <a:gdLst>
              <a:gd name="connsiteX0" fmla="*/ 0 w 2701455"/>
              <a:gd name="connsiteY0" fmla="*/ 0 h 673188"/>
              <a:gd name="connsiteX1" fmla="*/ 0 w 2701455"/>
              <a:gd name="connsiteY1" fmla="*/ 48782 h 673188"/>
              <a:gd name="connsiteX2" fmla="*/ 0 w 2701455"/>
              <a:gd name="connsiteY2" fmla="*/ 673188 h 673188"/>
              <a:gd name="connsiteX3" fmla="*/ 2701455 w 2701455"/>
              <a:gd name="connsiteY3" fmla="*/ 336594 h 673188"/>
              <a:gd name="connsiteX4" fmla="*/ 0 w 2701455"/>
              <a:gd name="connsiteY4" fmla="*/ 0 h 673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1455" h="673188">
                <a:moveTo>
                  <a:pt x="0" y="0"/>
                </a:moveTo>
                <a:lnTo>
                  <a:pt x="0" y="48782"/>
                </a:lnTo>
                <a:lnTo>
                  <a:pt x="0" y="673188"/>
                </a:lnTo>
                <a:lnTo>
                  <a:pt x="2701455" y="336594"/>
                </a:lnTo>
                <a:lnTo>
                  <a:pt x="0" y="0"/>
                </a:lnTo>
                <a:close/>
              </a:path>
            </a:pathLst>
          </a:custGeom>
          <a:solidFill>
            <a:schemeClr val="accent2">
              <a:alpha val="80000"/>
            </a:schemeClr>
          </a:solidFill>
          <a:ln>
            <a:noFill/>
          </a:ln>
        </p:spPr>
        <p:txBody>
          <a:bodyPr vert="horz" wrap="square" lIns="121920" tIns="60960" rIns="121920" bIns="60960" numCol="1" anchor="t" anchorCtr="0" compatLnSpc="1">
            <a:prstTxWarp prst="textNoShape">
              <a:avLst/>
            </a:prstTxWarp>
            <a:noAutofit/>
          </a:bodyPr>
          <a:lstStyle/>
          <a:p>
            <a:endParaRPr lang="en-US" sz="2400"/>
          </a:p>
        </p:txBody>
      </p:sp>
      <p:sp>
        <p:nvSpPr>
          <p:cNvPr id="13" name="Freeform 12"/>
          <p:cNvSpPr/>
          <p:nvPr userDrawn="1"/>
        </p:nvSpPr>
        <p:spPr bwMode="auto">
          <a:xfrm>
            <a:off x="-2" y="2613057"/>
            <a:ext cx="12192004" cy="4244944"/>
          </a:xfrm>
          <a:custGeom>
            <a:avLst/>
            <a:gdLst>
              <a:gd name="connsiteX0" fmla="*/ 9144003 w 9144003"/>
              <a:gd name="connsiteY0" fmla="*/ 0 h 3183708"/>
              <a:gd name="connsiteX1" fmla="*/ 9144003 w 9144003"/>
              <a:gd name="connsiteY1" fmla="*/ 62685 h 3183708"/>
              <a:gd name="connsiteX2" fmla="*/ 9144003 w 9144003"/>
              <a:gd name="connsiteY2" fmla="*/ 1698166 h 3183708"/>
              <a:gd name="connsiteX3" fmla="*/ 9144002 w 9144003"/>
              <a:gd name="connsiteY3" fmla="*/ 1698166 h 3183708"/>
              <a:gd name="connsiteX4" fmla="*/ 9144002 w 9144003"/>
              <a:gd name="connsiteY4" fmla="*/ 3183708 h 3183708"/>
              <a:gd name="connsiteX5" fmla="*/ 0 w 9144003"/>
              <a:gd name="connsiteY5" fmla="*/ 3183708 h 3183708"/>
              <a:gd name="connsiteX6" fmla="*/ 0 w 9144003"/>
              <a:gd name="connsiteY6" fmla="*/ 1633992 h 3183708"/>
              <a:gd name="connsiteX7" fmla="*/ 3 w 9144003"/>
              <a:gd name="connsiteY7" fmla="*/ 1633992 h 3183708"/>
              <a:gd name="connsiteX8" fmla="*/ 3 w 9144003"/>
              <a:gd name="connsiteY8" fmla="*/ 1139318 h 3183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3" h="3183708">
                <a:moveTo>
                  <a:pt x="9144003" y="0"/>
                </a:moveTo>
                <a:lnTo>
                  <a:pt x="9144003" y="62685"/>
                </a:lnTo>
                <a:lnTo>
                  <a:pt x="9144003" y="1698166"/>
                </a:lnTo>
                <a:lnTo>
                  <a:pt x="9144002" y="1698166"/>
                </a:lnTo>
                <a:lnTo>
                  <a:pt x="9144002" y="3183708"/>
                </a:lnTo>
                <a:lnTo>
                  <a:pt x="0" y="3183708"/>
                </a:lnTo>
                <a:lnTo>
                  <a:pt x="0" y="1633992"/>
                </a:lnTo>
                <a:lnTo>
                  <a:pt x="3" y="1633992"/>
                </a:lnTo>
                <a:lnTo>
                  <a:pt x="3" y="1139318"/>
                </a:lnTo>
                <a:close/>
              </a:path>
            </a:pathLst>
          </a:custGeom>
          <a:blipFill dpi="0" rotWithShape="1">
            <a:blip r:embed="rId2"/>
            <a:srcRect/>
            <a:tile tx="101600" ty="1644650" sx="100000" sy="100000" flip="none" algn="ctr"/>
          </a:blipFill>
          <a:ln w="9525" cap="flat" cmpd="sng" algn="ctr">
            <a:noFill/>
            <a:prstDash val="solid"/>
            <a:round/>
            <a:headEnd type="none" w="med" len="med"/>
            <a:tailEnd type="none" w="med" len="med"/>
          </a:ln>
          <a:effectLst/>
        </p:spPr>
        <p:txBody>
          <a:bodyPr rot="0" spcFirstLastPara="0" vertOverflow="overflow" horzOverflow="overflow" vert="horz" wrap="square" lIns="0" tIns="0" rIns="121920" bIns="60960" numCol="1" spcCol="0" rtlCol="0" fromWordArt="0" anchor="ctr" anchorCtr="0" forceAA="0" compatLnSpc="1">
            <a:prstTxWarp prst="textNoShape">
              <a:avLst/>
            </a:prstTxWarp>
            <a:noAutofit/>
          </a:bodyPr>
          <a:lstStyle/>
          <a:p>
            <a:pPr marL="0" marR="0" indent="0" algn="ctr" defTabSz="1219170" rtl="0" eaLnBrk="1" fontAlgn="base" latinLnBrk="0" hangingPunct="1">
              <a:lnSpc>
                <a:spcPct val="86000"/>
              </a:lnSpc>
              <a:spcBef>
                <a:spcPct val="0"/>
              </a:spcBef>
              <a:spcAft>
                <a:spcPct val="0"/>
              </a:spcAft>
              <a:buClrTx/>
              <a:buSzTx/>
              <a:buFontTx/>
              <a:buNone/>
              <a:tabLst/>
            </a:pPr>
            <a:endParaRPr kumimoji="0" lang="en-US" sz="2667" b="0" i="0" u="none" strike="noStrike" cap="none" normalizeH="0" baseline="0">
              <a:ln>
                <a:noFill/>
              </a:ln>
              <a:solidFill>
                <a:schemeClr val="tx1"/>
              </a:solidFill>
              <a:effectLst/>
              <a:latin typeface="Arial" charset="0"/>
            </a:endParaRPr>
          </a:p>
        </p:txBody>
      </p:sp>
      <p:sp>
        <p:nvSpPr>
          <p:cNvPr id="2" name="Title 1"/>
          <p:cNvSpPr>
            <a:spLocks noGrp="1"/>
          </p:cNvSpPr>
          <p:nvPr userDrawn="1">
            <p:ph type="title" hasCustomPrompt="1"/>
          </p:nvPr>
        </p:nvSpPr>
        <p:spPr>
          <a:xfrm>
            <a:off x="1198881" y="1788620"/>
            <a:ext cx="10126439" cy="1362075"/>
          </a:xfrm>
        </p:spPr>
        <p:txBody>
          <a:bodyPr/>
          <a:lstStyle>
            <a:lvl1pPr algn="l">
              <a:defRPr sz="4667" b="1" cap="none">
                <a:solidFill>
                  <a:schemeClr val="bg1"/>
                </a:solidFill>
              </a:defRPr>
            </a:lvl1pPr>
          </a:lstStyle>
          <a:p>
            <a:r>
              <a:rPr lang="en-US" dirty="0"/>
              <a:t>Click To Edit Master Title Style</a:t>
            </a:r>
          </a:p>
        </p:txBody>
      </p:sp>
      <p:sp>
        <p:nvSpPr>
          <p:cNvPr id="3" name="Text Placeholder 2"/>
          <p:cNvSpPr>
            <a:spLocks noGrp="1"/>
          </p:cNvSpPr>
          <p:nvPr userDrawn="1">
            <p:ph type="body" idx="1"/>
          </p:nvPr>
        </p:nvSpPr>
        <p:spPr>
          <a:xfrm>
            <a:off x="1198881" y="905702"/>
            <a:ext cx="10126439" cy="801637"/>
          </a:xfrm>
        </p:spPr>
        <p:txBody>
          <a:bodyPr anchor="b"/>
          <a:lstStyle>
            <a:lvl1pPr marL="0" indent="0">
              <a:spcBef>
                <a:spcPts val="800"/>
              </a:spcBef>
              <a:buNone/>
              <a:defRPr sz="2267">
                <a:solidFill>
                  <a:schemeClr val="accent2"/>
                </a:solidFill>
              </a:defRPr>
            </a:lvl1pPr>
            <a:lvl2pPr marL="529009" indent="0">
              <a:buNone/>
              <a:defRPr sz="2133"/>
            </a:lvl2pPr>
            <a:lvl3pPr marL="1058020" indent="0">
              <a:buNone/>
              <a:defRPr sz="1867"/>
            </a:lvl3pPr>
            <a:lvl4pPr marL="1587030" indent="0">
              <a:buNone/>
              <a:defRPr sz="1600"/>
            </a:lvl4pPr>
            <a:lvl5pPr marL="2116040" indent="0">
              <a:buNone/>
              <a:defRPr sz="1600"/>
            </a:lvl5pPr>
            <a:lvl6pPr marL="2645047" indent="0">
              <a:buNone/>
              <a:defRPr sz="1600"/>
            </a:lvl6pPr>
            <a:lvl7pPr marL="3174058" indent="0">
              <a:buNone/>
              <a:defRPr sz="1600"/>
            </a:lvl7pPr>
            <a:lvl8pPr marL="3703067" indent="0">
              <a:buNone/>
              <a:defRPr sz="1600"/>
            </a:lvl8pPr>
            <a:lvl9pPr marL="4232078" indent="0">
              <a:buNone/>
              <a:defRPr sz="1600"/>
            </a:lvl9pPr>
          </a:lstStyle>
          <a:p>
            <a:pPr lvl="0"/>
            <a:r>
              <a:rPr lang="en-US"/>
              <a:t>Edit Master text styles</a:t>
            </a:r>
          </a:p>
        </p:txBody>
      </p:sp>
      <p:sp>
        <p:nvSpPr>
          <p:cNvPr id="4" name="Slide Number Placeholder 3"/>
          <p:cNvSpPr>
            <a:spLocks noGrp="1"/>
          </p:cNvSpPr>
          <p:nvPr userDrawn="1">
            <p:ph type="sldNum" sz="quarter" idx="10"/>
          </p:nvPr>
        </p:nvSpPr>
        <p:spPr/>
        <p:txBody>
          <a:bodyPr/>
          <a:lstStyle>
            <a:lvl1pPr>
              <a:defRPr>
                <a:solidFill>
                  <a:schemeClr val="bg1"/>
                </a:solidFill>
              </a:defRPr>
            </a:lvl1pPr>
          </a:lstStyle>
          <a:p>
            <a:fld id="{11CD31B8-DFA8-4BF7-BBBE-7E247CEDF3BD}" type="slidenum">
              <a:rPr lang="en-US" smtClean="0"/>
              <a:pPr/>
              <a:t>‹Nº›</a:t>
            </a:fld>
            <a:endParaRPr lang="en-US" dirty="0"/>
          </a:p>
        </p:txBody>
      </p:sp>
    </p:spTree>
    <p:extLst>
      <p:ext uri="{BB962C8B-B14F-4D97-AF65-F5344CB8AC3E}">
        <p14:creationId xmlns:p14="http://schemas.microsoft.com/office/powerpoint/2010/main" val="3337760695"/>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58801" y="382589"/>
            <a:ext cx="11048695" cy="690563"/>
          </a:xfrm>
        </p:spPr>
        <p:txBody>
          <a:bodyPr/>
          <a:lstStyle/>
          <a:p>
            <a:r>
              <a:rPr lang="en-US"/>
              <a:t>Click to edit Master title style</a:t>
            </a:r>
          </a:p>
        </p:txBody>
      </p:sp>
      <p:sp>
        <p:nvSpPr>
          <p:cNvPr id="3" name="Content Placeholder 2"/>
          <p:cNvSpPr>
            <a:spLocks noGrp="1"/>
          </p:cNvSpPr>
          <p:nvPr>
            <p:ph sz="half" idx="1"/>
          </p:nvPr>
        </p:nvSpPr>
        <p:spPr>
          <a:xfrm>
            <a:off x="558801" y="1277940"/>
            <a:ext cx="5437431" cy="4987925"/>
          </a:xfrm>
        </p:spPr>
        <p:txBody>
          <a:bodyPr/>
          <a:lstStyle>
            <a:lvl1pPr>
              <a:defRPr sz="2133"/>
            </a:lvl1pPr>
            <a:lvl2pPr>
              <a:defRPr sz="2133"/>
            </a:lvl2pPr>
            <a:lvl3pPr>
              <a:defRPr sz="2133"/>
            </a:lvl3pPr>
            <a:lvl4pPr>
              <a:defRPr sz="2133"/>
            </a:lvl4pPr>
            <a:lvl5pPr>
              <a:defRPr sz="2133"/>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89723" y="1277940"/>
            <a:ext cx="5417771" cy="4987925"/>
          </a:xfrm>
        </p:spPr>
        <p:txBody>
          <a:bodyPr/>
          <a:lstStyle>
            <a:lvl1pPr>
              <a:defRPr sz="2133"/>
            </a:lvl1pPr>
            <a:lvl2pPr>
              <a:defRPr sz="2133"/>
            </a:lvl2pPr>
            <a:lvl3pPr>
              <a:defRPr sz="2133"/>
            </a:lvl3pPr>
            <a:lvl4pPr>
              <a:defRPr sz="2133"/>
            </a:lvl4pPr>
            <a:lvl5pPr>
              <a:defRPr sz="2133"/>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p:txBody>
          <a:bodyPr/>
          <a:lstStyle>
            <a:lvl1pPr>
              <a:defRPr/>
            </a:lvl1pPr>
          </a:lstStyle>
          <a:p>
            <a:fld id="{B6B3F16F-53C0-4B82-9B28-C27AD8E1490E}" type="slidenum">
              <a:rPr lang="en-US"/>
              <a:pPr/>
              <a:t>‹Nº›</a:t>
            </a:fld>
            <a:endParaRPr lang="en-US"/>
          </a:p>
        </p:txBody>
      </p:sp>
    </p:spTree>
    <p:extLst>
      <p:ext uri="{BB962C8B-B14F-4D97-AF65-F5344CB8AC3E}">
        <p14:creationId xmlns:p14="http://schemas.microsoft.com/office/powerpoint/2010/main" val="40380650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x">
  <p:cSld name="Title slide C">
    <p:bg>
      <p:bgPr>
        <a:solidFill>
          <a:srgbClr val="FFFFFF"/>
        </a:solidFill>
        <a:effectLst/>
      </p:bgPr>
    </p:bg>
    <p:spTree>
      <p:nvGrpSpPr>
        <p:cNvPr id="1" name=""/>
        <p:cNvGrpSpPr/>
        <p:nvPr/>
      </p:nvGrpSpPr>
      <p:grpSpPr>
        <a:xfrm>
          <a:off x="0" y="0"/>
          <a:ext cx="0" cy="0"/>
          <a:chOff x="0" y="0"/>
          <a:chExt cx="0" cy="0"/>
        </a:xfrm>
      </p:grpSpPr>
      <p:pic>
        <p:nvPicPr>
          <p:cNvPr id="334" name="image2.png"/>
          <p:cNvPicPr>
            <a:picLocks noChangeAspect="1"/>
          </p:cNvPicPr>
          <p:nvPr/>
        </p:nvPicPr>
        <p:blipFill>
          <a:blip r:embed="rId2"/>
          <a:stretch>
            <a:fillRect/>
          </a:stretch>
        </p:blipFill>
        <p:spPr>
          <a:xfrm>
            <a:off x="486802" y="341761"/>
            <a:ext cx="1623976" cy="338329"/>
          </a:xfrm>
          <a:prstGeom prst="rect">
            <a:avLst/>
          </a:prstGeom>
          <a:ln w="12700">
            <a:miter lim="400000"/>
          </a:ln>
        </p:spPr>
      </p:pic>
      <p:sp>
        <p:nvSpPr>
          <p:cNvPr id="335" name="Shape 335"/>
          <p:cNvSpPr/>
          <p:nvPr/>
        </p:nvSpPr>
        <p:spPr>
          <a:xfrm>
            <a:off x="485774" y="6257135"/>
            <a:ext cx="1784624" cy="1397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lvl1pPr>
              <a:defRPr sz="1000"/>
            </a:lvl1pPr>
          </a:lstStyle>
          <a:p>
            <a:r>
              <a:t>A business of Marsh McLennan</a:t>
            </a:r>
          </a:p>
        </p:txBody>
      </p:sp>
      <p:sp>
        <p:nvSpPr>
          <p:cNvPr id="336" name="Shape 336"/>
          <p:cNvSpPr>
            <a:spLocks noGrp="1"/>
          </p:cNvSpPr>
          <p:nvPr>
            <p:ph type="pic" sz="quarter" idx="13"/>
          </p:nvPr>
        </p:nvSpPr>
        <p:spPr>
          <a:xfrm>
            <a:off x="8133618" y="361950"/>
            <a:ext cx="3575783" cy="495301"/>
          </a:xfrm>
          <a:prstGeom prst="rect">
            <a:avLst/>
          </a:prstGeom>
        </p:spPr>
        <p:txBody>
          <a:bodyPr lIns="91439" tIns="45719" rIns="91439" bIns="45719"/>
          <a:lstStyle/>
          <a:p>
            <a:endParaRPr/>
          </a:p>
        </p:txBody>
      </p:sp>
      <p:sp>
        <p:nvSpPr>
          <p:cNvPr id="337" name="Shape 337"/>
          <p:cNvSpPr>
            <a:spLocks noGrp="1"/>
          </p:cNvSpPr>
          <p:nvPr>
            <p:ph type="body" sz="quarter" idx="14"/>
          </p:nvPr>
        </p:nvSpPr>
        <p:spPr>
          <a:xfrm>
            <a:off x="485775" y="4870889"/>
            <a:ext cx="7400925" cy="1038526"/>
          </a:xfrm>
          <a:prstGeom prst="rect">
            <a:avLst/>
          </a:prstGeom>
        </p:spPr>
        <p:txBody>
          <a:bodyPr anchor="b"/>
          <a:lstStyle>
            <a:lvl1pPr>
              <a:spcBef>
                <a:spcPts val="0"/>
              </a:spcBef>
              <a:defRPr sz="1400"/>
            </a:lvl1pPr>
          </a:lstStyle>
          <a:p>
            <a:r>
              <a:t> </a:t>
            </a:r>
          </a:p>
        </p:txBody>
      </p:sp>
      <p:sp>
        <p:nvSpPr>
          <p:cNvPr id="338" name="Shape 338"/>
          <p:cNvSpPr>
            <a:spLocks noGrp="1"/>
          </p:cNvSpPr>
          <p:nvPr>
            <p:ph type="title"/>
          </p:nvPr>
        </p:nvSpPr>
        <p:spPr>
          <a:xfrm>
            <a:off x="408843" y="2347269"/>
            <a:ext cx="9433657" cy="1519881"/>
          </a:xfrm>
          <a:prstGeom prst="rect">
            <a:avLst/>
          </a:prstGeom>
        </p:spPr>
        <p:txBody>
          <a:bodyPr>
            <a:normAutofit/>
          </a:bodyPr>
          <a:lstStyle>
            <a:lvl1pPr>
              <a:defRPr sz="12000"/>
            </a:lvl1pPr>
          </a:lstStyle>
          <a:p>
            <a:r>
              <a:t>Texto del título</a:t>
            </a:r>
          </a:p>
        </p:txBody>
      </p:sp>
      <p:sp>
        <p:nvSpPr>
          <p:cNvPr id="339" name="Shape 339"/>
          <p:cNvSpPr>
            <a:spLocks noGrp="1"/>
          </p:cNvSpPr>
          <p:nvPr>
            <p:ph type="body" sz="quarter" idx="1"/>
          </p:nvPr>
        </p:nvSpPr>
        <p:spPr>
          <a:xfrm>
            <a:off x="465995" y="1784598"/>
            <a:ext cx="9313006" cy="381733"/>
          </a:xfrm>
          <a:prstGeom prst="rect">
            <a:avLst/>
          </a:prstGeom>
        </p:spPr>
        <p:txBody>
          <a:bodyPr anchor="b">
            <a:normAutofit/>
          </a:bodyPr>
          <a:lstStyle>
            <a:lvl1pPr>
              <a:defRPr sz="2400" b="1">
                <a:solidFill>
                  <a:srgbClr val="002C77"/>
                </a:solidFill>
              </a:defRPr>
            </a:lvl1pPr>
            <a:lvl2pPr marL="0" indent="457200">
              <a:buSzTx/>
              <a:buNone/>
              <a:defRPr sz="2400" b="1">
                <a:solidFill>
                  <a:srgbClr val="002C77"/>
                </a:solidFill>
              </a:defRPr>
            </a:lvl2pPr>
            <a:lvl3pPr marL="0" indent="914400">
              <a:buSzTx/>
              <a:buNone/>
              <a:defRPr sz="2400" b="1">
                <a:solidFill>
                  <a:srgbClr val="002C77"/>
                </a:solidFill>
              </a:defRPr>
            </a:lvl3pPr>
            <a:lvl4pPr marL="0" indent="1371600">
              <a:buSzTx/>
              <a:buNone/>
              <a:defRPr sz="2400" b="1">
                <a:solidFill>
                  <a:srgbClr val="002C77"/>
                </a:solidFill>
              </a:defRPr>
            </a:lvl4pPr>
            <a:lvl5pPr marL="0" indent="1828800">
              <a:buSzTx/>
              <a:buNone/>
              <a:defRPr sz="2400" b="1">
                <a:solidFill>
                  <a:srgbClr val="002C77"/>
                </a:solidFill>
              </a:defRPr>
            </a:lvl5pPr>
          </a:lstStyle>
          <a:p>
            <a:r>
              <a:t>Nivel de texto 1</a:t>
            </a:r>
          </a:p>
          <a:p>
            <a:pPr lvl="1"/>
            <a:r>
              <a:t>Nivel de texto 2</a:t>
            </a:r>
          </a:p>
          <a:p>
            <a:pPr lvl="2"/>
            <a:r>
              <a:t>Nivel de texto 3</a:t>
            </a:r>
          </a:p>
          <a:p>
            <a:pPr lvl="3"/>
            <a:r>
              <a:t>Nivel de texto 4</a:t>
            </a:r>
          </a:p>
          <a:p>
            <a:pPr lvl="4"/>
            <a:r>
              <a:t>Nivel de texto 5</a:t>
            </a:r>
          </a:p>
        </p:txBody>
      </p:sp>
      <p:sp>
        <p:nvSpPr>
          <p:cNvPr id="340" name="Shape 340"/>
          <p:cNvSpPr>
            <a:spLocks noGrp="1"/>
          </p:cNvSpPr>
          <p:nvPr>
            <p:ph type="sldNum" sz="quarter" idx="2"/>
          </p:nvPr>
        </p:nvSpPr>
        <p:spPr>
          <a:prstGeom prst="rect">
            <a:avLst/>
          </a:prstGeom>
        </p:spPr>
        <p:txBody>
          <a:bodyPr/>
          <a:lstStyle/>
          <a:p>
            <a:fld id="{86CB4B4D-7CA3-9044-876B-883B54F8677D}" type="slidenum">
              <a:t>‹Nº›</a:t>
            </a:fld>
            <a:endParaRPr/>
          </a:p>
        </p:txBody>
      </p:sp>
    </p:spTree>
  </p:cSld>
  <p:clrMapOvr>
    <a:masterClrMapping/>
  </p:clrMapOvr>
  <p:transition spd="med"/>
</p:sldLayout>
</file>

<file path=ppt/slideLayouts/slideLayout2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58801" y="382589"/>
            <a:ext cx="11048695" cy="690563"/>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fld id="{B72E4261-36D3-4014-B346-A128F8F06D63}" type="slidenum">
              <a:rPr lang="en-US"/>
              <a:pPr/>
              <a:t>‹Nº›</a:t>
            </a:fld>
            <a:endParaRPr lang="en-US"/>
          </a:p>
        </p:txBody>
      </p:sp>
    </p:spTree>
    <p:extLst>
      <p:ext uri="{BB962C8B-B14F-4D97-AF65-F5344CB8AC3E}">
        <p14:creationId xmlns:p14="http://schemas.microsoft.com/office/powerpoint/2010/main" val="291016823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4F232A17-555A-48B8-913E-AB2BDA701A65}" type="slidenum">
              <a:rPr lang="en-US"/>
              <a:pPr/>
              <a:t>‹Nº›</a:t>
            </a:fld>
            <a:endParaRPr lang="en-US"/>
          </a:p>
        </p:txBody>
      </p:sp>
    </p:spTree>
    <p:extLst>
      <p:ext uri="{BB962C8B-B14F-4D97-AF65-F5344CB8AC3E}">
        <p14:creationId xmlns:p14="http://schemas.microsoft.com/office/powerpoint/2010/main" val="3012910111"/>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Title and Content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GB"/>
          </a:p>
        </p:txBody>
      </p:sp>
      <p:sp>
        <p:nvSpPr>
          <p:cNvPr id="3" name="Heading"/>
          <p:cNvSpPr>
            <a:spLocks noGrp="1"/>
          </p:cNvSpPr>
          <p:nvPr>
            <p:ph type="body" idx="10" hasCustomPrompt="1"/>
          </p:nvPr>
        </p:nvSpPr>
        <p:spPr>
          <a:xfrm>
            <a:off x="580769" y="1399035"/>
            <a:ext cx="11030859" cy="429768"/>
          </a:xfrm>
        </p:spPr>
        <p:txBody>
          <a:bodyPr/>
          <a:lstStyle>
            <a:lvl1pPr marL="0" indent="0">
              <a:spcBef>
                <a:spcPts val="0"/>
              </a:spcBef>
              <a:buFont typeface="Arial" panose="020B0604020202020204" pitchFamily="34" charset="0"/>
              <a:buChar char="​"/>
              <a:defRPr sz="1400" b="1" baseline="0">
                <a:solidFill>
                  <a:schemeClr val="accent1"/>
                </a:solidFill>
                <a:latin typeface="+mj-lt"/>
                <a:ea typeface="+mj-ea"/>
              </a:defRPr>
            </a:lvl1pPr>
            <a:lvl2pPr marL="0" indent="0">
              <a:spcBef>
                <a:spcPts val="0"/>
              </a:spcBef>
              <a:buFont typeface="Arial" panose="020B0604020202020204" pitchFamily="34" charset="0"/>
              <a:buChar char="​"/>
              <a:defRPr sz="1400" baseline="0">
                <a:solidFill>
                  <a:schemeClr val="accent1"/>
                </a:solidFill>
                <a:latin typeface="+mj-lt"/>
                <a:ea typeface="+mj-ea"/>
              </a:defRPr>
            </a:lvl2pPr>
            <a:lvl3pPr marL="0" indent="0">
              <a:spcBef>
                <a:spcPts val="0"/>
              </a:spcBef>
              <a:buFont typeface="Arial" panose="020B0604020202020204" pitchFamily="34" charset="0"/>
              <a:buChar char="​"/>
              <a:defRPr sz="1400" baseline="0">
                <a:latin typeface="+mj-lt"/>
                <a:ea typeface="+mj-ea"/>
              </a:defRPr>
            </a:lvl3pPr>
            <a:lvl4pPr marL="0" indent="0">
              <a:spcBef>
                <a:spcPts val="0"/>
              </a:spcBef>
              <a:buFont typeface="Arial" panose="020B0604020202020204" pitchFamily="34" charset="0"/>
              <a:buChar char="​"/>
              <a:defRPr sz="1400" baseline="0">
                <a:latin typeface="+mj-lt"/>
                <a:ea typeface="+mj-ea"/>
              </a:defRPr>
            </a:lvl4pPr>
            <a:lvl5pPr marL="0" indent="0">
              <a:spcBef>
                <a:spcPts val="0"/>
              </a:spcBef>
              <a:buFont typeface="Arial" panose="020B0604020202020204" pitchFamily="34" charset="0"/>
              <a:buChar char="​"/>
              <a:defRPr sz="1400" baseline="0">
                <a:latin typeface="+mj-lt"/>
                <a:ea typeface="+mj-ea"/>
              </a:defRPr>
            </a:lvl5pPr>
            <a:lvl6pPr marL="0" indent="0">
              <a:spcBef>
                <a:spcPts val="0"/>
              </a:spcBef>
              <a:buFont typeface="Arial" panose="020B0604020202020204" pitchFamily="34" charset="0"/>
              <a:buChar char="​"/>
              <a:defRPr sz="1400" baseline="0">
                <a:latin typeface="+mj-lt"/>
                <a:ea typeface="+mj-ea"/>
              </a:defRPr>
            </a:lvl6pPr>
            <a:lvl7pPr marL="0" indent="0">
              <a:spcBef>
                <a:spcPts val="0"/>
              </a:spcBef>
              <a:buFont typeface="Arial" panose="020B0604020202020204" pitchFamily="34" charset="0"/>
              <a:buChar char="​"/>
              <a:defRPr sz="1400" baseline="0">
                <a:latin typeface="+mj-lt"/>
                <a:ea typeface="+mj-ea"/>
              </a:defRPr>
            </a:lvl7pPr>
            <a:lvl8pPr marL="0" indent="0">
              <a:spcBef>
                <a:spcPts val="0"/>
              </a:spcBef>
              <a:buFont typeface="Arial" panose="020B0604020202020204" pitchFamily="34" charset="0"/>
              <a:buChar char="​"/>
              <a:defRPr sz="1400" baseline="0">
                <a:latin typeface="+mj-lt"/>
                <a:ea typeface="+mj-ea"/>
              </a:defRPr>
            </a:lvl8pPr>
            <a:lvl9pPr marL="0" indent="0">
              <a:spcBef>
                <a:spcPts val="0"/>
              </a:spcBef>
              <a:buFont typeface="Arial" panose="020B0604020202020204" pitchFamily="34" charset="0"/>
              <a:buChar char="​"/>
              <a:defRPr sz="1400" baseline="0">
                <a:latin typeface="+mj-lt"/>
                <a:ea typeface="+mj-ea"/>
              </a:defRPr>
            </a:lvl9pPr>
          </a:lstStyle>
          <a:p>
            <a:pPr lvl="0"/>
            <a:r>
              <a:rPr dirty="0"/>
              <a:t>Heading 14 pt</a:t>
            </a:r>
          </a:p>
          <a:p>
            <a:pPr lvl="1"/>
            <a:r>
              <a:rPr dirty="0"/>
              <a:t>Subheading 14 pt</a:t>
            </a:r>
          </a:p>
        </p:txBody>
      </p:sp>
      <p:sp>
        <p:nvSpPr>
          <p:cNvPr id="4" name="Content"/>
          <p:cNvSpPr>
            <a:spLocks noGrp="1"/>
          </p:cNvSpPr>
          <p:nvPr>
            <p:ph idx="11"/>
          </p:nvPr>
        </p:nvSpPr>
        <p:spPr>
          <a:xfrm>
            <a:off x="580769" y="1883664"/>
            <a:ext cx="11030859" cy="4443984"/>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87384177"/>
      </p:ext>
    </p:extLst>
  </p:cSld>
  <p:clrMapOvr>
    <a:masterClrMapping/>
  </p:clrMapOvr>
  <p:extLst>
    <p:ext uri="{DCECCB84-F9BA-43D5-87BE-67443E8EF086}">
      <p15:sldGuideLst xmlns:p15="http://schemas.microsoft.com/office/powerpoint/2012/main">
        <p15:guide id="1" orient="horz" pos="1187">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p:cSld name="Content">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C6A0CCC6-7BFA-B74B-BE8E-833BC82918F0}"/>
              </a:ext>
            </a:extLst>
          </p:cNvPr>
          <p:cNvSpPr txBox="1"/>
          <p:nvPr/>
        </p:nvSpPr>
        <p:spPr>
          <a:xfrm>
            <a:off x="374977" y="2505671"/>
            <a:ext cx="8423034" cy="1846659"/>
          </a:xfrm>
          <a:prstGeom prst="rect">
            <a:avLst/>
          </a:prstGeom>
          <a:noFill/>
        </p:spPr>
        <p:txBody>
          <a:bodyPr wrap="squar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Content</a:t>
            </a:r>
          </a:p>
        </p:txBody>
      </p:sp>
    </p:spTree>
    <p:extLst>
      <p:ext uri="{BB962C8B-B14F-4D97-AF65-F5344CB8AC3E}">
        <p14:creationId xmlns:p14="http://schemas.microsoft.com/office/powerpoint/2010/main" val="229741286"/>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extLst>
              <p:ext uri="{D42A27DB-BD31-4B8C-83A1-F6EECF244321}">
                <p14:modId xmlns:p14="http://schemas.microsoft.com/office/powerpoint/2010/main" val="10553001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773DA736-E5DF-844D-B5DD-D8BB742411F8}"/>
              </a:ext>
            </a:extLst>
          </p:cNvPr>
          <p:cNvSpPr>
            <a:spLocks noGrp="1"/>
          </p:cNvSpPr>
          <p:nvPr>
            <p:ph type="body" sz="half" idx="10"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7"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11223624" cy="45166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1" name="Text Placeholder 3">
            <a:extLst>
              <a:ext uri="{FF2B5EF4-FFF2-40B4-BE49-F238E27FC236}">
                <a16:creationId xmlns:a16="http://schemas.microsoft.com/office/drawing/2014/main" id="{F2D0924E-7A15-6045-86EA-6E2333478DE4}"/>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254592385"/>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itle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27550181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C57F4E2F-BA25-A740-A97C-6060BBEA4B3C}"/>
              </a:ext>
            </a:extLst>
          </p:cNvPr>
          <p:cNvSpPr>
            <a:spLocks noGrp="1"/>
          </p:cNvSpPr>
          <p:nvPr>
            <p:ph sz="quarter" idx="12"/>
          </p:nvPr>
        </p:nvSpPr>
        <p:spPr>
          <a:xfrm>
            <a:off x="4305300" y="361950"/>
            <a:ext cx="7400923" cy="5756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3" name="Title 2">
            <a:extLst>
              <a:ext uri="{FF2B5EF4-FFF2-40B4-BE49-F238E27FC236}">
                <a16:creationId xmlns:a16="http://schemas.microsoft.com/office/drawing/2014/main" id="{0DD3F4F7-9124-C547-A701-15854901D947}"/>
              </a:ext>
            </a:extLst>
          </p:cNvPr>
          <p:cNvSpPr>
            <a:spLocks noGrp="1"/>
          </p:cNvSpPr>
          <p:nvPr>
            <p:ph type="title" hasCustomPrompt="1"/>
          </p:nvPr>
        </p:nvSpPr>
        <p:spPr>
          <a:xfrm>
            <a:off x="458721" y="356540"/>
            <a:ext cx="3605279" cy="5770271"/>
          </a:xfrm>
        </p:spPr>
        <p:txBody>
          <a:bodyPr/>
          <a:lstStyle/>
          <a:p>
            <a:r>
              <a:rPr lang="en-US" dirty="0"/>
              <a:t>Click to add title</a:t>
            </a:r>
          </a:p>
        </p:txBody>
      </p:sp>
    </p:spTree>
    <p:extLst>
      <p:ext uri="{BB962C8B-B14F-4D97-AF65-F5344CB8AC3E}">
        <p14:creationId xmlns:p14="http://schemas.microsoft.com/office/powerpoint/2010/main" val="3630435792"/>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Title + content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40776776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6" y="1616075"/>
            <a:ext cx="3578224" cy="450215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9" name="Content Placeholder 3">
            <a:extLst>
              <a:ext uri="{FF2B5EF4-FFF2-40B4-BE49-F238E27FC236}">
                <a16:creationId xmlns:a16="http://schemas.microsoft.com/office/drawing/2014/main" id="{945836DB-331C-BB4D-A888-9D9ECE5B27F2}"/>
              </a:ext>
            </a:extLst>
          </p:cNvPr>
          <p:cNvSpPr>
            <a:spLocks noGrp="1"/>
          </p:cNvSpPr>
          <p:nvPr>
            <p:ph sz="quarter" idx="12"/>
          </p:nvPr>
        </p:nvSpPr>
        <p:spPr>
          <a:xfrm>
            <a:off x="4305300" y="361950"/>
            <a:ext cx="7404100" cy="5756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98020D88-DDBE-B945-895B-9676A84EF58F}"/>
              </a:ext>
            </a:extLst>
          </p:cNvPr>
          <p:cNvSpPr>
            <a:spLocks noGrp="1"/>
          </p:cNvSpPr>
          <p:nvPr>
            <p:ph type="title" hasCustomPrompt="1"/>
          </p:nvPr>
        </p:nvSpPr>
        <p:spPr>
          <a:xfrm>
            <a:off x="458721" y="356540"/>
            <a:ext cx="3605279" cy="839213"/>
          </a:xfrm>
        </p:spPr>
        <p:txBody>
          <a:bodyPr/>
          <a:lstStyle/>
          <a:p>
            <a:r>
              <a:rPr lang="en-US" dirty="0"/>
              <a:t>Click to add title</a:t>
            </a:r>
          </a:p>
        </p:txBody>
      </p:sp>
    </p:spTree>
    <p:extLst>
      <p:ext uri="{BB962C8B-B14F-4D97-AF65-F5344CB8AC3E}">
        <p14:creationId xmlns:p14="http://schemas.microsoft.com/office/powerpoint/2010/main" val="3249089991"/>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38528138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5" y="1609726"/>
            <a:ext cx="5495925" cy="4511674"/>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0303" y="1609725"/>
            <a:ext cx="5499098" cy="4511675"/>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4" y="6388100"/>
            <a:ext cx="4546596"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0" name="Title 1">
            <a:extLst>
              <a:ext uri="{FF2B5EF4-FFF2-40B4-BE49-F238E27FC236}">
                <a16:creationId xmlns:a16="http://schemas.microsoft.com/office/drawing/2014/main" id="{F39CC0C0-5779-B349-BDDB-E539A51CC8CA}"/>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1" name="Text Placeholder 3">
            <a:extLst>
              <a:ext uri="{FF2B5EF4-FFF2-40B4-BE49-F238E27FC236}">
                <a16:creationId xmlns:a16="http://schemas.microsoft.com/office/drawing/2014/main" id="{AF3391C4-98D7-4747-8880-F82E7546E92C}"/>
              </a:ext>
            </a:extLst>
          </p:cNvPr>
          <p:cNvSpPr>
            <a:spLocks noGrp="1"/>
          </p:cNvSpPr>
          <p:nvPr>
            <p:ph type="body" sz="half" idx="1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4192464758"/>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23331816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7" y="1616075"/>
            <a:ext cx="3578224" cy="4505325"/>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317755" y="1616075"/>
            <a:ext cx="3578224" cy="4505325"/>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8128000" y="1616075"/>
            <a:ext cx="3578223" cy="4505326"/>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10" name="Text Placeholder 3">
            <a:extLst>
              <a:ext uri="{FF2B5EF4-FFF2-40B4-BE49-F238E27FC236}">
                <a16:creationId xmlns:a16="http://schemas.microsoft.com/office/drawing/2014/main" id="{46026CD4-41A6-2745-806A-108B86DE8600}"/>
              </a:ext>
            </a:extLst>
          </p:cNvPr>
          <p:cNvSpPr>
            <a:spLocks noGrp="1"/>
          </p:cNvSpPr>
          <p:nvPr>
            <p:ph type="body" sz="half" idx="12"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1" name="Title 1">
            <a:extLst>
              <a:ext uri="{FF2B5EF4-FFF2-40B4-BE49-F238E27FC236}">
                <a16:creationId xmlns:a16="http://schemas.microsoft.com/office/drawing/2014/main" id="{24127F47-2151-2E4E-804E-5041FF74C799}"/>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1AB0AB67-B739-1E41-9B7F-40BDB88E8937}"/>
              </a:ext>
            </a:extLst>
          </p:cNvPr>
          <p:cNvSpPr>
            <a:spLocks noGrp="1"/>
          </p:cNvSpPr>
          <p:nvPr>
            <p:ph type="body" sz="half" idx="13"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2806214398"/>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41605610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6" y="1616075"/>
            <a:ext cx="2626455"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3352800" y="1616075"/>
            <a:ext cx="2628900"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9089292" y="1616075"/>
            <a:ext cx="2616932"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9" name="Content Placeholder 3">
            <a:extLst>
              <a:ext uri="{FF2B5EF4-FFF2-40B4-BE49-F238E27FC236}">
                <a16:creationId xmlns:a16="http://schemas.microsoft.com/office/drawing/2014/main" id="{90CFE4A1-AAEA-9742-8946-359C3F5D0A1A}"/>
              </a:ext>
            </a:extLst>
          </p:cNvPr>
          <p:cNvSpPr>
            <a:spLocks noGrp="1"/>
          </p:cNvSpPr>
          <p:nvPr>
            <p:ph sz="half" idx="12"/>
          </p:nvPr>
        </p:nvSpPr>
        <p:spPr>
          <a:xfrm>
            <a:off x="6219823" y="1616075"/>
            <a:ext cx="2619377"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22" name="Text Placeholder 3">
            <a:extLst>
              <a:ext uri="{FF2B5EF4-FFF2-40B4-BE49-F238E27FC236}">
                <a16:creationId xmlns:a16="http://schemas.microsoft.com/office/drawing/2014/main" id="{A9C0AEB2-29EF-7A4A-9D9F-717BFB9D7E58}"/>
              </a:ext>
            </a:extLst>
          </p:cNvPr>
          <p:cNvSpPr>
            <a:spLocks noGrp="1"/>
          </p:cNvSpPr>
          <p:nvPr>
            <p:ph type="body" sz="half" idx="13" hasCustomPrompt="1"/>
          </p:nvPr>
        </p:nvSpPr>
        <p:spPr>
          <a:xfrm>
            <a:off x="6210301" y="6388100"/>
            <a:ext cx="4546599"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1" name="Title 1">
            <a:extLst>
              <a:ext uri="{FF2B5EF4-FFF2-40B4-BE49-F238E27FC236}">
                <a16:creationId xmlns:a16="http://schemas.microsoft.com/office/drawing/2014/main" id="{83CB1B1D-63D8-624F-8FE2-BACDF39AFA38}"/>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93192BB1-48EF-E34D-A18B-088C2525C8DE}"/>
              </a:ext>
            </a:extLst>
          </p:cNvPr>
          <p:cNvSpPr>
            <a:spLocks noGrp="1"/>
          </p:cNvSpPr>
          <p:nvPr>
            <p:ph type="body" sz="half" idx="14"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77350816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x">
  <p:cSld name="Title slide C: blue">
    <p:bg>
      <p:bgPr>
        <a:solidFill>
          <a:srgbClr val="002C77"/>
        </a:solidFill>
        <a:effectLst/>
      </p:bgPr>
    </p:bg>
    <p:spTree>
      <p:nvGrpSpPr>
        <p:cNvPr id="1" name=""/>
        <p:cNvGrpSpPr/>
        <p:nvPr/>
      </p:nvGrpSpPr>
      <p:grpSpPr>
        <a:xfrm>
          <a:off x="0" y="0"/>
          <a:ext cx="0" cy="0"/>
          <a:chOff x="0" y="0"/>
          <a:chExt cx="0" cy="0"/>
        </a:xfrm>
      </p:grpSpPr>
      <p:pic>
        <p:nvPicPr>
          <p:cNvPr id="347" name="image11.png"/>
          <p:cNvPicPr>
            <a:picLocks noChangeAspect="1"/>
          </p:cNvPicPr>
          <p:nvPr/>
        </p:nvPicPr>
        <p:blipFill>
          <a:blip r:embed="rId2"/>
          <a:stretch>
            <a:fillRect/>
          </a:stretch>
        </p:blipFill>
        <p:spPr>
          <a:xfrm>
            <a:off x="486802" y="341761"/>
            <a:ext cx="1623976" cy="338329"/>
          </a:xfrm>
          <a:prstGeom prst="rect">
            <a:avLst/>
          </a:prstGeom>
          <a:ln w="12700">
            <a:miter lim="400000"/>
          </a:ln>
        </p:spPr>
      </p:pic>
      <p:sp>
        <p:nvSpPr>
          <p:cNvPr id="348" name="Shape 348"/>
          <p:cNvSpPr/>
          <p:nvPr/>
        </p:nvSpPr>
        <p:spPr>
          <a:xfrm>
            <a:off x="485774" y="6257135"/>
            <a:ext cx="1784624" cy="1397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lvl1pPr>
              <a:defRPr sz="1000">
                <a:solidFill>
                  <a:srgbClr val="FFFFFF"/>
                </a:solidFill>
              </a:defRPr>
            </a:lvl1pPr>
          </a:lstStyle>
          <a:p>
            <a:r>
              <a:t>A business of Marsh McLennan</a:t>
            </a:r>
          </a:p>
        </p:txBody>
      </p:sp>
      <p:sp>
        <p:nvSpPr>
          <p:cNvPr id="349" name="Shape 349"/>
          <p:cNvSpPr>
            <a:spLocks noGrp="1"/>
          </p:cNvSpPr>
          <p:nvPr>
            <p:ph type="pic" sz="quarter" idx="13"/>
          </p:nvPr>
        </p:nvSpPr>
        <p:spPr>
          <a:xfrm>
            <a:off x="8133618" y="361950"/>
            <a:ext cx="3575783" cy="495301"/>
          </a:xfrm>
          <a:prstGeom prst="rect">
            <a:avLst/>
          </a:prstGeom>
        </p:spPr>
        <p:txBody>
          <a:bodyPr lIns="91439" tIns="45719" rIns="91439" bIns="45719"/>
          <a:lstStyle/>
          <a:p>
            <a:endParaRPr/>
          </a:p>
        </p:txBody>
      </p:sp>
      <p:sp>
        <p:nvSpPr>
          <p:cNvPr id="350" name="Shape 350"/>
          <p:cNvSpPr>
            <a:spLocks noGrp="1"/>
          </p:cNvSpPr>
          <p:nvPr>
            <p:ph type="body" sz="quarter" idx="14"/>
          </p:nvPr>
        </p:nvSpPr>
        <p:spPr>
          <a:xfrm>
            <a:off x="485775" y="4870889"/>
            <a:ext cx="7400925" cy="1038526"/>
          </a:xfrm>
          <a:prstGeom prst="rect">
            <a:avLst/>
          </a:prstGeom>
        </p:spPr>
        <p:txBody>
          <a:bodyPr anchor="b"/>
          <a:lstStyle>
            <a:lvl1pPr>
              <a:spcBef>
                <a:spcPts val="0"/>
              </a:spcBef>
              <a:defRPr sz="1400">
                <a:solidFill>
                  <a:srgbClr val="FFFFFF"/>
                </a:solidFill>
              </a:defRPr>
            </a:lvl1pPr>
          </a:lstStyle>
          <a:p>
            <a:r>
              <a:t> </a:t>
            </a:r>
          </a:p>
        </p:txBody>
      </p:sp>
      <p:sp>
        <p:nvSpPr>
          <p:cNvPr id="351" name="Shape 351"/>
          <p:cNvSpPr>
            <a:spLocks noGrp="1"/>
          </p:cNvSpPr>
          <p:nvPr>
            <p:ph type="title"/>
          </p:nvPr>
        </p:nvSpPr>
        <p:spPr>
          <a:xfrm>
            <a:off x="409829" y="2350190"/>
            <a:ext cx="9429496" cy="1516961"/>
          </a:xfrm>
          <a:prstGeom prst="rect">
            <a:avLst/>
          </a:prstGeom>
        </p:spPr>
        <p:txBody>
          <a:bodyPr>
            <a:normAutofit/>
          </a:bodyPr>
          <a:lstStyle>
            <a:lvl1pPr>
              <a:defRPr sz="12000">
                <a:solidFill>
                  <a:srgbClr val="FFFFFF"/>
                </a:solidFill>
              </a:defRPr>
            </a:lvl1pPr>
          </a:lstStyle>
          <a:p>
            <a:r>
              <a:t>Texto del título</a:t>
            </a:r>
          </a:p>
        </p:txBody>
      </p:sp>
      <p:sp>
        <p:nvSpPr>
          <p:cNvPr id="352" name="Shape 352"/>
          <p:cNvSpPr>
            <a:spLocks noGrp="1"/>
          </p:cNvSpPr>
          <p:nvPr>
            <p:ph type="body" sz="quarter" idx="1"/>
          </p:nvPr>
        </p:nvSpPr>
        <p:spPr>
          <a:xfrm>
            <a:off x="465201" y="1783079"/>
            <a:ext cx="9310624" cy="384049"/>
          </a:xfrm>
          <a:prstGeom prst="rect">
            <a:avLst/>
          </a:prstGeom>
        </p:spPr>
        <p:txBody>
          <a:bodyPr anchor="b">
            <a:normAutofit/>
          </a:bodyPr>
          <a:lstStyle>
            <a:lvl1pPr>
              <a:defRPr sz="2400" b="1">
                <a:solidFill>
                  <a:srgbClr val="FFFFFF"/>
                </a:solidFill>
              </a:defRPr>
            </a:lvl1pPr>
            <a:lvl2pPr marL="0" indent="457200">
              <a:buSzTx/>
              <a:buNone/>
              <a:defRPr sz="2400" b="1">
                <a:solidFill>
                  <a:srgbClr val="FFFFFF"/>
                </a:solidFill>
              </a:defRPr>
            </a:lvl2pPr>
            <a:lvl3pPr marL="0" indent="914400">
              <a:buSzTx/>
              <a:buNone/>
              <a:defRPr sz="2400" b="1">
                <a:solidFill>
                  <a:srgbClr val="FFFFFF"/>
                </a:solidFill>
              </a:defRPr>
            </a:lvl3pPr>
            <a:lvl4pPr marL="0" indent="1371600">
              <a:buSzTx/>
              <a:buNone/>
              <a:defRPr sz="2400" b="1">
                <a:solidFill>
                  <a:srgbClr val="FFFFFF"/>
                </a:solidFill>
              </a:defRPr>
            </a:lvl4pPr>
            <a:lvl5pPr marL="0" indent="1828800">
              <a:buSzTx/>
              <a:buNone/>
              <a:defRPr sz="2400" b="1">
                <a:solidFill>
                  <a:srgbClr val="FFFFFF"/>
                </a:solidFill>
              </a:defRPr>
            </a:lvl5pPr>
          </a:lstStyle>
          <a:p>
            <a:r>
              <a:t>Nivel de texto 1</a:t>
            </a:r>
          </a:p>
          <a:p>
            <a:pPr lvl="1"/>
            <a:r>
              <a:t>Nivel de texto 2</a:t>
            </a:r>
          </a:p>
          <a:p>
            <a:pPr lvl="2"/>
            <a:r>
              <a:t>Nivel de texto 3</a:t>
            </a:r>
          </a:p>
          <a:p>
            <a:pPr lvl="3"/>
            <a:r>
              <a:t>Nivel de texto 4</a:t>
            </a:r>
          </a:p>
          <a:p>
            <a:pPr lvl="4"/>
            <a:r>
              <a:t>Nivel de texto 5</a:t>
            </a:r>
          </a:p>
        </p:txBody>
      </p:sp>
      <p:sp>
        <p:nvSpPr>
          <p:cNvPr id="353" name="Shape 353"/>
          <p:cNvSpPr>
            <a:spLocks noGrp="1"/>
          </p:cNvSpPr>
          <p:nvPr>
            <p:ph type="sldNum" sz="quarter" idx="2"/>
          </p:nvPr>
        </p:nvSpPr>
        <p:spPr>
          <a:prstGeom prst="rect">
            <a:avLst/>
          </a:prstGeom>
        </p:spPr>
        <p:txBody>
          <a:bodyPr/>
          <a:lstStyle/>
          <a:p>
            <a:fld id="{86CB4B4D-7CA3-9044-876B-883B54F8677D}" type="slidenum">
              <a:t>‹Nº›</a:t>
            </a:fld>
            <a:endParaRPr/>
          </a:p>
        </p:txBody>
      </p:sp>
    </p:spTree>
  </p:cSld>
  <p:clrMapOvr>
    <a:masterClrMapping/>
  </p:clrMapOvr>
  <p:transition spd="med"/>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Six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15020574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5"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2397760"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6221730"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9" name="Content Placeholder 3">
            <a:extLst>
              <a:ext uri="{FF2B5EF4-FFF2-40B4-BE49-F238E27FC236}">
                <a16:creationId xmlns:a16="http://schemas.microsoft.com/office/drawing/2014/main" id="{90CFE4A1-AAEA-9742-8946-359C3F5D0A1A}"/>
              </a:ext>
            </a:extLst>
          </p:cNvPr>
          <p:cNvSpPr>
            <a:spLocks noGrp="1"/>
          </p:cNvSpPr>
          <p:nvPr>
            <p:ph sz="half" idx="12"/>
          </p:nvPr>
        </p:nvSpPr>
        <p:spPr>
          <a:xfrm>
            <a:off x="4309745"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10" name="Content Placeholder 3">
            <a:extLst>
              <a:ext uri="{FF2B5EF4-FFF2-40B4-BE49-F238E27FC236}">
                <a16:creationId xmlns:a16="http://schemas.microsoft.com/office/drawing/2014/main" id="{B60CBF3D-4AE0-E04C-A0D8-C2B53DF312B4}"/>
              </a:ext>
            </a:extLst>
          </p:cNvPr>
          <p:cNvSpPr>
            <a:spLocks noGrp="1"/>
          </p:cNvSpPr>
          <p:nvPr>
            <p:ph sz="half" idx="13"/>
          </p:nvPr>
        </p:nvSpPr>
        <p:spPr>
          <a:xfrm>
            <a:off x="8133715"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D441AD0A-E6DF-5847-BEB4-907DA9B01661}"/>
              </a:ext>
            </a:extLst>
          </p:cNvPr>
          <p:cNvSpPr>
            <a:spLocks noGrp="1"/>
          </p:cNvSpPr>
          <p:nvPr>
            <p:ph sz="half" idx="14"/>
          </p:nvPr>
        </p:nvSpPr>
        <p:spPr>
          <a:xfrm>
            <a:off x="10045698"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12" name="Text Placeholder 3">
            <a:extLst>
              <a:ext uri="{FF2B5EF4-FFF2-40B4-BE49-F238E27FC236}">
                <a16:creationId xmlns:a16="http://schemas.microsoft.com/office/drawing/2014/main" id="{775FE915-A989-2C4F-B5CF-8C03CD0485CB}"/>
              </a:ext>
            </a:extLst>
          </p:cNvPr>
          <p:cNvSpPr>
            <a:spLocks noGrp="1"/>
          </p:cNvSpPr>
          <p:nvPr>
            <p:ph type="body" sz="half" idx="15" hasCustomPrompt="1"/>
          </p:nvPr>
        </p:nvSpPr>
        <p:spPr>
          <a:xfrm>
            <a:off x="6221731" y="6388100"/>
            <a:ext cx="453517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4" name="Title 1">
            <a:extLst>
              <a:ext uri="{FF2B5EF4-FFF2-40B4-BE49-F238E27FC236}">
                <a16:creationId xmlns:a16="http://schemas.microsoft.com/office/drawing/2014/main" id="{ABCBBFA3-BF99-FC46-8DCA-D9D911944ABD}"/>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5" name="Text Placeholder 3">
            <a:extLst>
              <a:ext uri="{FF2B5EF4-FFF2-40B4-BE49-F238E27FC236}">
                <a16:creationId xmlns:a16="http://schemas.microsoft.com/office/drawing/2014/main" id="{B46280AB-2B05-3446-8F2E-AD2C0974CB6E}"/>
              </a:ext>
            </a:extLst>
          </p:cNvPr>
          <p:cNvSpPr>
            <a:spLocks noGrp="1"/>
          </p:cNvSpPr>
          <p:nvPr>
            <p:ph type="body" sz="half" idx="16"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3569500420"/>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1"/>
            </p:custDataLst>
            <p:extLst>
              <p:ext uri="{D42A27DB-BD31-4B8C-83A1-F6EECF244321}">
                <p14:modId xmlns:p14="http://schemas.microsoft.com/office/powerpoint/2010/main" val="1464383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7" name="Title 1">
            <a:extLst>
              <a:ext uri="{FF2B5EF4-FFF2-40B4-BE49-F238E27FC236}">
                <a16:creationId xmlns:a16="http://schemas.microsoft.com/office/drawing/2014/main" id="{354D9E00-BE79-044E-880B-B336004BBA7A}"/>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358082597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179489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 name="Freeform 16">
            <a:extLst>
              <a:ext uri="{FF2B5EF4-FFF2-40B4-BE49-F238E27FC236}">
                <a16:creationId xmlns:a16="http://schemas.microsoft.com/office/drawing/2014/main" id="{87B98418-DB22-7247-B4EF-AF4390CDCA0E}"/>
              </a:ext>
            </a:extLst>
          </p:cNvPr>
          <p:cNvSpPr/>
          <p:nvPr/>
        </p:nvSpPr>
        <p:spPr>
          <a:xfrm>
            <a:off x="6211018" y="0"/>
            <a:ext cx="5980982" cy="6858000"/>
          </a:xfrm>
          <a:custGeom>
            <a:avLst/>
            <a:gdLst>
              <a:gd name="connsiteX0" fmla="*/ 0 w 5980982"/>
              <a:gd name="connsiteY0" fmla="*/ 0 h 6858000"/>
              <a:gd name="connsiteX1" fmla="*/ 5980982 w 5980982"/>
              <a:gd name="connsiteY1" fmla="*/ 0 h 6858000"/>
              <a:gd name="connsiteX2" fmla="*/ 5980982 w 5980982"/>
              <a:gd name="connsiteY2" fmla="*/ 6858000 h 6858000"/>
              <a:gd name="connsiteX3" fmla="*/ 0 w 5980982"/>
              <a:gd name="connsiteY3" fmla="*/ 6858000 h 6858000"/>
              <a:gd name="connsiteX4" fmla="*/ 0 w 5980982"/>
              <a:gd name="connsiteY4" fmla="*/ 3555999 h 6858000"/>
              <a:gd name="connsiteX5" fmla="*/ 132789 w 5980982"/>
              <a:gd name="connsiteY5" fmla="*/ 3429000 h 6858000"/>
              <a:gd name="connsiteX6" fmla="*/ 0 w 5980982"/>
              <a:gd name="connsiteY6" fmla="*/ 33020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0982" h="6858000">
                <a:moveTo>
                  <a:pt x="0" y="0"/>
                </a:moveTo>
                <a:lnTo>
                  <a:pt x="5980982" y="0"/>
                </a:lnTo>
                <a:lnTo>
                  <a:pt x="5980982" y="6858000"/>
                </a:lnTo>
                <a:lnTo>
                  <a:pt x="0" y="6858000"/>
                </a:lnTo>
                <a:lnTo>
                  <a:pt x="0" y="3555999"/>
                </a:lnTo>
                <a:lnTo>
                  <a:pt x="132789" y="3429000"/>
                </a:lnTo>
                <a:lnTo>
                  <a:pt x="0" y="3302001"/>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5" name="Title 1">
            <a:extLst>
              <a:ext uri="{FF2B5EF4-FFF2-40B4-BE49-F238E27FC236}">
                <a16:creationId xmlns:a16="http://schemas.microsoft.com/office/drawing/2014/main" id="{DB3B1839-746D-0040-B4BF-DEAD14769839}"/>
              </a:ext>
            </a:extLst>
          </p:cNvPr>
          <p:cNvSpPr>
            <a:spLocks noGrp="1"/>
          </p:cNvSpPr>
          <p:nvPr>
            <p:ph type="title" hasCustomPrompt="1"/>
          </p:nvPr>
        </p:nvSpPr>
        <p:spPr>
          <a:xfrm>
            <a:off x="457201" y="355601"/>
            <a:ext cx="5524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7" y="806807"/>
            <a:ext cx="54959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6"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5495925" cy="45166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2422525"/>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plit call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9870961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Freeform 5">
            <a:extLst>
              <a:ext uri="{FF2B5EF4-FFF2-40B4-BE49-F238E27FC236}">
                <a16:creationId xmlns:a16="http://schemas.microsoft.com/office/drawing/2014/main" id="{6C28D570-764E-8746-A9D3-AD94F6E88F8D}"/>
              </a:ext>
            </a:extLst>
          </p:cNvPr>
          <p:cNvSpPr/>
          <p:nvPr/>
        </p:nvSpPr>
        <p:spPr>
          <a:xfrm>
            <a:off x="8130488" y="0"/>
            <a:ext cx="4061512" cy="6858000"/>
          </a:xfrm>
          <a:custGeom>
            <a:avLst/>
            <a:gdLst>
              <a:gd name="connsiteX0" fmla="*/ 0 w 4061512"/>
              <a:gd name="connsiteY0" fmla="*/ 0 h 6858000"/>
              <a:gd name="connsiteX1" fmla="*/ 3147112 w 4061512"/>
              <a:gd name="connsiteY1" fmla="*/ 0 h 6858000"/>
              <a:gd name="connsiteX2" fmla="*/ 4035136 w 4061512"/>
              <a:gd name="connsiteY2" fmla="*/ 0 h 6858000"/>
              <a:gd name="connsiteX3" fmla="*/ 4061512 w 4061512"/>
              <a:gd name="connsiteY3" fmla="*/ 0 h 6858000"/>
              <a:gd name="connsiteX4" fmla="*/ 4061512 w 4061512"/>
              <a:gd name="connsiteY4" fmla="*/ 6858000 h 6858000"/>
              <a:gd name="connsiteX5" fmla="*/ 4035136 w 4061512"/>
              <a:gd name="connsiteY5" fmla="*/ 6858000 h 6858000"/>
              <a:gd name="connsiteX6" fmla="*/ 3147112 w 4061512"/>
              <a:gd name="connsiteY6" fmla="*/ 6858000 h 6858000"/>
              <a:gd name="connsiteX7" fmla="*/ 0 w 4061512"/>
              <a:gd name="connsiteY7" fmla="*/ 6858000 h 6858000"/>
              <a:gd name="connsiteX8" fmla="*/ 0 w 4061512"/>
              <a:gd name="connsiteY8" fmla="*/ 1863155 h 6858000"/>
              <a:gd name="connsiteX9" fmla="*/ 129886 w 4061512"/>
              <a:gd name="connsiteY9" fmla="*/ 1737014 h 6858000"/>
              <a:gd name="connsiteX10" fmla="*/ 0 w 4061512"/>
              <a:gd name="connsiteY10" fmla="*/ 16108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512" h="6858000">
                <a:moveTo>
                  <a:pt x="0" y="0"/>
                </a:moveTo>
                <a:lnTo>
                  <a:pt x="3147112" y="0"/>
                </a:lnTo>
                <a:lnTo>
                  <a:pt x="4035136" y="0"/>
                </a:lnTo>
                <a:lnTo>
                  <a:pt x="4061512" y="0"/>
                </a:lnTo>
                <a:lnTo>
                  <a:pt x="4061512" y="6858000"/>
                </a:lnTo>
                <a:lnTo>
                  <a:pt x="4035136" y="6858000"/>
                </a:lnTo>
                <a:lnTo>
                  <a:pt x="3147112" y="6858000"/>
                </a:lnTo>
                <a:lnTo>
                  <a:pt x="0" y="6858000"/>
                </a:lnTo>
                <a:lnTo>
                  <a:pt x="0" y="1863155"/>
                </a:lnTo>
                <a:lnTo>
                  <a:pt x="129886" y="1737014"/>
                </a:lnTo>
                <a:lnTo>
                  <a:pt x="0" y="1610874"/>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7400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9"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7400925" cy="45166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67981731"/>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plit callout gradient">
    <p:spTree>
      <p:nvGrpSpPr>
        <p:cNvPr id="1" name=""/>
        <p:cNvGrpSpPr/>
        <p:nvPr/>
      </p:nvGrpSpPr>
      <p:grpSpPr>
        <a:xfrm>
          <a:off x="0" y="0"/>
          <a:ext cx="0" cy="0"/>
          <a:chOff x="0" y="0"/>
          <a:chExt cx="0" cy="0"/>
        </a:xfrm>
      </p:grpSpPr>
      <p:sp>
        <p:nvSpPr>
          <p:cNvPr id="11" name="Freeform 10">
            <a:extLst>
              <a:ext uri="{FF2B5EF4-FFF2-40B4-BE49-F238E27FC236}">
                <a16:creationId xmlns:a16="http://schemas.microsoft.com/office/drawing/2014/main" id="{6C28D570-764E-8746-A9D3-AD94F6E88F8D}"/>
              </a:ext>
            </a:extLst>
          </p:cNvPr>
          <p:cNvSpPr/>
          <p:nvPr userDrawn="1"/>
        </p:nvSpPr>
        <p:spPr>
          <a:xfrm>
            <a:off x="8130488" y="0"/>
            <a:ext cx="4061512" cy="6858000"/>
          </a:xfrm>
          <a:custGeom>
            <a:avLst/>
            <a:gdLst>
              <a:gd name="connsiteX0" fmla="*/ 0 w 4061512"/>
              <a:gd name="connsiteY0" fmla="*/ 0 h 6858000"/>
              <a:gd name="connsiteX1" fmla="*/ 3147112 w 4061512"/>
              <a:gd name="connsiteY1" fmla="*/ 0 h 6858000"/>
              <a:gd name="connsiteX2" fmla="*/ 4035136 w 4061512"/>
              <a:gd name="connsiteY2" fmla="*/ 0 h 6858000"/>
              <a:gd name="connsiteX3" fmla="*/ 4061512 w 4061512"/>
              <a:gd name="connsiteY3" fmla="*/ 0 h 6858000"/>
              <a:gd name="connsiteX4" fmla="*/ 4061512 w 4061512"/>
              <a:gd name="connsiteY4" fmla="*/ 6858000 h 6858000"/>
              <a:gd name="connsiteX5" fmla="*/ 4035136 w 4061512"/>
              <a:gd name="connsiteY5" fmla="*/ 6858000 h 6858000"/>
              <a:gd name="connsiteX6" fmla="*/ 3147112 w 4061512"/>
              <a:gd name="connsiteY6" fmla="*/ 6858000 h 6858000"/>
              <a:gd name="connsiteX7" fmla="*/ 0 w 4061512"/>
              <a:gd name="connsiteY7" fmla="*/ 6858000 h 6858000"/>
              <a:gd name="connsiteX8" fmla="*/ 0 w 4061512"/>
              <a:gd name="connsiteY8" fmla="*/ 1863155 h 6858000"/>
              <a:gd name="connsiteX9" fmla="*/ 129886 w 4061512"/>
              <a:gd name="connsiteY9" fmla="*/ 1737014 h 6858000"/>
              <a:gd name="connsiteX10" fmla="*/ 0 w 4061512"/>
              <a:gd name="connsiteY10" fmla="*/ 16108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512" h="6858000">
                <a:moveTo>
                  <a:pt x="0" y="0"/>
                </a:moveTo>
                <a:lnTo>
                  <a:pt x="3147112" y="0"/>
                </a:lnTo>
                <a:lnTo>
                  <a:pt x="4035136" y="0"/>
                </a:lnTo>
                <a:lnTo>
                  <a:pt x="4061512" y="0"/>
                </a:lnTo>
                <a:lnTo>
                  <a:pt x="4061512" y="6858000"/>
                </a:lnTo>
                <a:lnTo>
                  <a:pt x="4035136" y="6858000"/>
                </a:lnTo>
                <a:lnTo>
                  <a:pt x="3147112" y="6858000"/>
                </a:lnTo>
                <a:lnTo>
                  <a:pt x="0" y="6858000"/>
                </a:lnTo>
                <a:lnTo>
                  <a:pt x="0" y="1863155"/>
                </a:lnTo>
                <a:lnTo>
                  <a:pt x="129886" y="1737014"/>
                </a:lnTo>
                <a:lnTo>
                  <a:pt x="0" y="1610874"/>
                </a:lnTo>
                <a:close/>
              </a:path>
            </a:pathLst>
          </a:custGeom>
          <a:blipFill dpi="0" rotWithShape="1">
            <a:blip r:embed="rId3"/>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7400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9"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7400925" cy="45166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935439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plit callout phot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7400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9"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7400925" cy="45166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9"/>
          <p:cNvSpPr>
            <a:spLocks noGrp="1"/>
          </p:cNvSpPr>
          <p:nvPr>
            <p:ph type="pic" sz="quarter" idx="12" hasCustomPrompt="1"/>
          </p:nvPr>
        </p:nvSpPr>
        <p:spPr>
          <a:xfrm>
            <a:off x="8131175" y="0"/>
            <a:ext cx="4060825" cy="6858000"/>
          </a:xfrm>
          <a:custGeom>
            <a:avLst/>
            <a:gdLst>
              <a:gd name="connsiteX0" fmla="*/ 0 w 4060825"/>
              <a:gd name="connsiteY0" fmla="*/ 0 h 6858000"/>
              <a:gd name="connsiteX1" fmla="*/ 4060825 w 4060825"/>
              <a:gd name="connsiteY1" fmla="*/ 0 h 6858000"/>
              <a:gd name="connsiteX2" fmla="*/ 4060825 w 4060825"/>
              <a:gd name="connsiteY2" fmla="*/ 6858000 h 6858000"/>
              <a:gd name="connsiteX3" fmla="*/ 0 w 4060825"/>
              <a:gd name="connsiteY3" fmla="*/ 6858000 h 6858000"/>
              <a:gd name="connsiteX4" fmla="*/ 0 w 4060825"/>
              <a:gd name="connsiteY4" fmla="*/ 1861958 h 6858000"/>
              <a:gd name="connsiteX5" fmla="*/ 124598 w 4060825"/>
              <a:gd name="connsiteY5" fmla="*/ 1737360 h 6858000"/>
              <a:gd name="connsiteX6" fmla="*/ 0 w 4060825"/>
              <a:gd name="connsiteY6" fmla="*/ 161276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0825" h="6858000">
                <a:moveTo>
                  <a:pt x="0" y="0"/>
                </a:moveTo>
                <a:lnTo>
                  <a:pt x="4060825" y="0"/>
                </a:lnTo>
                <a:lnTo>
                  <a:pt x="4060825" y="6858000"/>
                </a:lnTo>
                <a:lnTo>
                  <a:pt x="0" y="6858000"/>
                </a:lnTo>
                <a:lnTo>
                  <a:pt x="0" y="1861958"/>
                </a:lnTo>
                <a:lnTo>
                  <a:pt x="124598" y="1737360"/>
                </a:lnTo>
                <a:lnTo>
                  <a:pt x="0" y="1612762"/>
                </a:lnTo>
                <a:close/>
              </a:path>
            </a:pathLst>
          </a:custGeom>
          <a:solidFill>
            <a:srgbClr val="F0F0F0"/>
          </a:solidFill>
        </p:spPr>
        <p:txBody>
          <a:bodyPr wrap="square">
            <a:noAutofit/>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Tree>
    <p:extLst>
      <p:ext uri="{BB962C8B-B14F-4D97-AF65-F5344CB8AC3E}">
        <p14:creationId xmlns:p14="http://schemas.microsoft.com/office/powerpoint/2010/main" val="2391458372"/>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2443372"/>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p:cSld name="CONTENT + IMAG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C6A0CCC6-7BFA-B74B-BE8E-833BC82918F0}"/>
              </a:ext>
            </a:extLst>
          </p:cNvPr>
          <p:cNvSpPr txBox="1"/>
          <p:nvPr/>
        </p:nvSpPr>
        <p:spPr>
          <a:xfrm>
            <a:off x="374977" y="1582341"/>
            <a:ext cx="8423034" cy="3693319"/>
          </a:xfrm>
          <a:prstGeom prst="rect">
            <a:avLst/>
          </a:prstGeom>
          <a:noFill/>
        </p:spPr>
        <p:txBody>
          <a:bodyPr wrap="squar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Content +  images</a:t>
            </a:r>
          </a:p>
        </p:txBody>
      </p:sp>
    </p:spTree>
    <p:extLst>
      <p:ext uri="{BB962C8B-B14F-4D97-AF65-F5344CB8AC3E}">
        <p14:creationId xmlns:p14="http://schemas.microsoft.com/office/powerpoint/2010/main" val="3632319565"/>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Content + Image backgroun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extLst>
              <p:ext uri="{D42A27DB-BD31-4B8C-83A1-F6EECF244321}">
                <p14:modId xmlns:p14="http://schemas.microsoft.com/office/powerpoint/2010/main" val="24870090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735B67BB-4145-CB43-9042-99F21E43E2EB}"/>
              </a:ext>
            </a:extLst>
          </p:cNvPr>
          <p:cNvSpPr>
            <a:spLocks noGrp="1"/>
          </p:cNvSpPr>
          <p:nvPr>
            <p:ph type="pic" sz="quarter" idx="12" hasCustomPrompt="1"/>
          </p:nvPr>
        </p:nvSpPr>
        <p:spPr>
          <a:xfrm>
            <a:off x="1" y="0"/>
            <a:ext cx="12192000" cy="6858000"/>
          </a:xfrm>
          <a:solidFill>
            <a:srgbClr val="F0F0F0"/>
          </a:solidFill>
        </p:spPr>
        <p:txBody>
          <a:bodyPr/>
          <a:lstStyle>
            <a:lvl1pPr>
              <a:defRPr sz="1200">
                <a:solidFill>
                  <a:srgbClr val="FF0000"/>
                </a:solidFill>
              </a:defRPr>
            </a:lvl1pPr>
          </a:lstStyle>
          <a:p>
            <a:r>
              <a:rPr lang="en-US" dirty="0"/>
              <a:t>Bring picture placeholder to front. Click on picture icon to insert picture. Reset layout and send picture to back.</a:t>
            </a:r>
          </a:p>
        </p:txBody>
      </p:sp>
      <p:sp>
        <p:nvSpPr>
          <p:cNvPr id="8" name="Title 7">
            <a:extLst>
              <a:ext uri="{FF2B5EF4-FFF2-40B4-BE49-F238E27FC236}">
                <a16:creationId xmlns:a16="http://schemas.microsoft.com/office/drawing/2014/main" id="{F3F7DAD6-9BB0-734A-B0C2-5B0A76C9FD6E}"/>
              </a:ext>
            </a:extLst>
          </p:cNvPr>
          <p:cNvSpPr>
            <a:spLocks noGrp="1"/>
          </p:cNvSpPr>
          <p:nvPr>
            <p:ph type="title" hasCustomPrompt="1"/>
          </p:nvPr>
        </p:nvSpPr>
        <p:spPr>
          <a:xfrm>
            <a:off x="438912" y="1619247"/>
            <a:ext cx="5495924" cy="1495428"/>
          </a:xfrm>
        </p:spPr>
        <p:txBody>
          <a:bodyPr vert="horz"/>
          <a:lstStyle>
            <a:lvl1pPr>
              <a:defRPr sz="5600">
                <a:solidFill>
                  <a:schemeClr val="bg1"/>
                </a:solidFill>
              </a:defRPr>
            </a:lvl1pPr>
          </a:lstStyle>
          <a:p>
            <a:r>
              <a:rPr lang="en-US" dirty="0"/>
              <a:t>Click to add title</a:t>
            </a:r>
          </a:p>
        </p:txBody>
      </p:sp>
      <p:sp>
        <p:nvSpPr>
          <p:cNvPr id="26" name="Text Placeholder 25">
            <a:extLst>
              <a:ext uri="{FF2B5EF4-FFF2-40B4-BE49-F238E27FC236}">
                <a16:creationId xmlns:a16="http://schemas.microsoft.com/office/drawing/2014/main" id="{01D5F8C2-80B5-BD4F-91F7-1B8D6A3ACFB6}"/>
              </a:ext>
            </a:extLst>
          </p:cNvPr>
          <p:cNvSpPr>
            <a:spLocks noGrp="1"/>
          </p:cNvSpPr>
          <p:nvPr>
            <p:ph type="body" sz="quarter" idx="13"/>
          </p:nvPr>
        </p:nvSpPr>
        <p:spPr>
          <a:xfrm>
            <a:off x="485776" y="3315923"/>
            <a:ext cx="5495924" cy="2805477"/>
          </a:xfrm>
        </p:spPr>
        <p:txBody>
          <a:bodyPr/>
          <a:lstStyle>
            <a:lvl1pPr>
              <a:defRPr sz="2000" b="1">
                <a:solidFill>
                  <a:schemeClr val="bg1"/>
                </a:solidFill>
              </a:defRPr>
            </a:lvl1pPr>
            <a:lvl2pPr>
              <a:defRPr sz="2000">
                <a:solidFill>
                  <a:schemeClr val="bg1"/>
                </a:solidFill>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3070181296"/>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Content + 1up">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extLst>
              <p:ext uri="{D42A27DB-BD31-4B8C-83A1-F6EECF244321}">
                <p14:modId xmlns:p14="http://schemas.microsoft.com/office/powerpoint/2010/main" val="37654885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8AED69B9-B4F1-004C-A77F-27A6FA2E5B93}"/>
              </a:ext>
            </a:extLst>
          </p:cNvPr>
          <p:cNvSpPr>
            <a:spLocks noGrp="1"/>
          </p:cNvSpPr>
          <p:nvPr>
            <p:ph sz="quarter" idx="11"/>
          </p:nvPr>
        </p:nvSpPr>
        <p:spPr>
          <a:xfrm>
            <a:off x="485777" y="1609725"/>
            <a:ext cx="7400923" cy="451986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Picture Placeholder 10">
            <a:extLst>
              <a:ext uri="{FF2B5EF4-FFF2-40B4-BE49-F238E27FC236}">
                <a16:creationId xmlns:a16="http://schemas.microsoft.com/office/drawing/2014/main" id="{735B67BB-4145-CB43-9042-99F21E43E2EB}"/>
              </a:ext>
            </a:extLst>
          </p:cNvPr>
          <p:cNvSpPr>
            <a:spLocks noGrp="1"/>
          </p:cNvSpPr>
          <p:nvPr>
            <p:ph type="pic" sz="quarter" idx="12" hasCustomPrompt="1"/>
          </p:nvPr>
        </p:nvSpPr>
        <p:spPr>
          <a:xfrm>
            <a:off x="8128001" y="119959"/>
            <a:ext cx="3940174" cy="6618082"/>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0" name="Title 1">
            <a:extLst>
              <a:ext uri="{FF2B5EF4-FFF2-40B4-BE49-F238E27FC236}">
                <a16:creationId xmlns:a16="http://schemas.microsoft.com/office/drawing/2014/main" id="{EAEFB055-FB93-6449-B5E1-10B3AB4A19FD}"/>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E243AFB7-5041-9B4B-8CEB-9A5E8F8695ED}"/>
              </a:ext>
            </a:extLst>
          </p:cNvPr>
          <p:cNvSpPr>
            <a:spLocks noGrp="1"/>
          </p:cNvSpPr>
          <p:nvPr>
            <p:ph type="body" sz="half" idx="2" hasCustomPrompt="1"/>
          </p:nvPr>
        </p:nvSpPr>
        <p:spPr>
          <a:xfrm>
            <a:off x="485776" y="806807"/>
            <a:ext cx="7410633"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0464272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x">
  <p:cSld name="Title slide C: gradient">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360" name="image11.png"/>
          <p:cNvPicPr>
            <a:picLocks noChangeAspect="1"/>
          </p:cNvPicPr>
          <p:nvPr/>
        </p:nvPicPr>
        <p:blipFill>
          <a:blip r:embed="rId3"/>
          <a:stretch>
            <a:fillRect/>
          </a:stretch>
        </p:blipFill>
        <p:spPr>
          <a:xfrm>
            <a:off x="486802" y="341761"/>
            <a:ext cx="1623976" cy="338329"/>
          </a:xfrm>
          <a:prstGeom prst="rect">
            <a:avLst/>
          </a:prstGeom>
          <a:ln w="12700">
            <a:miter lim="400000"/>
          </a:ln>
        </p:spPr>
      </p:pic>
      <p:sp>
        <p:nvSpPr>
          <p:cNvPr id="361" name="Shape 361"/>
          <p:cNvSpPr/>
          <p:nvPr/>
        </p:nvSpPr>
        <p:spPr>
          <a:xfrm>
            <a:off x="485774" y="6257135"/>
            <a:ext cx="1784624" cy="1397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lvl1pPr>
              <a:defRPr sz="1000">
                <a:solidFill>
                  <a:srgbClr val="FFFFFF"/>
                </a:solidFill>
              </a:defRPr>
            </a:lvl1pPr>
          </a:lstStyle>
          <a:p>
            <a:r>
              <a:t>A business of Marsh McLennan</a:t>
            </a:r>
          </a:p>
        </p:txBody>
      </p:sp>
      <p:sp>
        <p:nvSpPr>
          <p:cNvPr id="362" name="Shape 362"/>
          <p:cNvSpPr>
            <a:spLocks noGrp="1"/>
          </p:cNvSpPr>
          <p:nvPr>
            <p:ph type="pic" sz="quarter" idx="13"/>
          </p:nvPr>
        </p:nvSpPr>
        <p:spPr>
          <a:xfrm>
            <a:off x="8133618" y="361950"/>
            <a:ext cx="3575783" cy="495301"/>
          </a:xfrm>
          <a:prstGeom prst="rect">
            <a:avLst/>
          </a:prstGeom>
        </p:spPr>
        <p:txBody>
          <a:bodyPr lIns="91439" tIns="45719" rIns="91439" bIns="45719"/>
          <a:lstStyle/>
          <a:p>
            <a:endParaRPr/>
          </a:p>
        </p:txBody>
      </p:sp>
      <p:sp>
        <p:nvSpPr>
          <p:cNvPr id="363" name="Shape 363"/>
          <p:cNvSpPr>
            <a:spLocks noGrp="1"/>
          </p:cNvSpPr>
          <p:nvPr>
            <p:ph type="body" sz="quarter" idx="14"/>
          </p:nvPr>
        </p:nvSpPr>
        <p:spPr>
          <a:xfrm>
            <a:off x="485775" y="4870889"/>
            <a:ext cx="7400925" cy="1038526"/>
          </a:xfrm>
          <a:prstGeom prst="rect">
            <a:avLst/>
          </a:prstGeom>
        </p:spPr>
        <p:txBody>
          <a:bodyPr anchor="b"/>
          <a:lstStyle>
            <a:lvl1pPr>
              <a:spcBef>
                <a:spcPts val="0"/>
              </a:spcBef>
              <a:defRPr sz="1400">
                <a:solidFill>
                  <a:srgbClr val="FFFFFF"/>
                </a:solidFill>
              </a:defRPr>
            </a:lvl1pPr>
          </a:lstStyle>
          <a:p>
            <a:r>
              <a:t> </a:t>
            </a:r>
          </a:p>
        </p:txBody>
      </p:sp>
      <p:sp>
        <p:nvSpPr>
          <p:cNvPr id="364" name="Shape 364"/>
          <p:cNvSpPr>
            <a:spLocks noGrp="1"/>
          </p:cNvSpPr>
          <p:nvPr>
            <p:ph type="title"/>
          </p:nvPr>
        </p:nvSpPr>
        <p:spPr>
          <a:xfrm>
            <a:off x="409829" y="2350190"/>
            <a:ext cx="9429496" cy="1516961"/>
          </a:xfrm>
          <a:prstGeom prst="rect">
            <a:avLst/>
          </a:prstGeom>
        </p:spPr>
        <p:txBody>
          <a:bodyPr>
            <a:normAutofit/>
          </a:bodyPr>
          <a:lstStyle>
            <a:lvl1pPr>
              <a:defRPr sz="12000">
                <a:solidFill>
                  <a:srgbClr val="FFFFFF"/>
                </a:solidFill>
              </a:defRPr>
            </a:lvl1pPr>
          </a:lstStyle>
          <a:p>
            <a:r>
              <a:t>Texto del título</a:t>
            </a:r>
          </a:p>
        </p:txBody>
      </p:sp>
      <p:sp>
        <p:nvSpPr>
          <p:cNvPr id="365" name="Shape 365"/>
          <p:cNvSpPr>
            <a:spLocks noGrp="1"/>
          </p:cNvSpPr>
          <p:nvPr>
            <p:ph type="body" sz="quarter" idx="1"/>
          </p:nvPr>
        </p:nvSpPr>
        <p:spPr>
          <a:xfrm>
            <a:off x="465201" y="1783079"/>
            <a:ext cx="9310624" cy="384049"/>
          </a:xfrm>
          <a:prstGeom prst="rect">
            <a:avLst/>
          </a:prstGeom>
        </p:spPr>
        <p:txBody>
          <a:bodyPr anchor="b">
            <a:normAutofit/>
          </a:bodyPr>
          <a:lstStyle>
            <a:lvl1pPr>
              <a:defRPr sz="2400" b="1">
                <a:solidFill>
                  <a:srgbClr val="FFFFFF"/>
                </a:solidFill>
              </a:defRPr>
            </a:lvl1pPr>
            <a:lvl2pPr marL="0" indent="457200">
              <a:buSzTx/>
              <a:buNone/>
              <a:defRPr sz="2400" b="1">
                <a:solidFill>
                  <a:srgbClr val="FFFFFF"/>
                </a:solidFill>
              </a:defRPr>
            </a:lvl2pPr>
            <a:lvl3pPr marL="0" indent="914400">
              <a:buSzTx/>
              <a:buNone/>
              <a:defRPr sz="2400" b="1">
                <a:solidFill>
                  <a:srgbClr val="FFFFFF"/>
                </a:solidFill>
              </a:defRPr>
            </a:lvl3pPr>
            <a:lvl4pPr marL="0" indent="1371600">
              <a:buSzTx/>
              <a:buNone/>
              <a:defRPr sz="2400" b="1">
                <a:solidFill>
                  <a:srgbClr val="FFFFFF"/>
                </a:solidFill>
              </a:defRPr>
            </a:lvl4pPr>
            <a:lvl5pPr marL="0" indent="1828800">
              <a:buSzTx/>
              <a:buNone/>
              <a:defRPr sz="2400" b="1">
                <a:solidFill>
                  <a:srgbClr val="FFFFFF"/>
                </a:solidFill>
              </a:defRPr>
            </a:lvl5pPr>
          </a:lstStyle>
          <a:p>
            <a:r>
              <a:t>Nivel de texto 1</a:t>
            </a:r>
          </a:p>
          <a:p>
            <a:pPr lvl="1"/>
            <a:r>
              <a:t>Nivel de texto 2</a:t>
            </a:r>
          </a:p>
          <a:p>
            <a:pPr lvl="2"/>
            <a:r>
              <a:t>Nivel de texto 3</a:t>
            </a:r>
          </a:p>
          <a:p>
            <a:pPr lvl="3"/>
            <a:r>
              <a:t>Nivel de texto 4</a:t>
            </a:r>
          </a:p>
          <a:p>
            <a:pPr lvl="4"/>
            <a:r>
              <a:t>Nivel de texto 5</a:t>
            </a:r>
          </a:p>
        </p:txBody>
      </p:sp>
      <p:sp>
        <p:nvSpPr>
          <p:cNvPr id="366" name="Shape 366"/>
          <p:cNvSpPr>
            <a:spLocks noGrp="1"/>
          </p:cNvSpPr>
          <p:nvPr>
            <p:ph type="sldNum" sz="quarter" idx="2"/>
          </p:nvPr>
        </p:nvSpPr>
        <p:spPr>
          <a:prstGeom prst="rect">
            <a:avLst/>
          </a:prstGeom>
        </p:spPr>
        <p:txBody>
          <a:bodyPr/>
          <a:lstStyle/>
          <a:p>
            <a:fld id="{86CB4B4D-7CA3-9044-876B-883B54F8677D}" type="slidenum">
              <a:t>‹Nº›</a:t>
            </a:fld>
            <a:endParaRPr/>
          </a:p>
        </p:txBody>
      </p:sp>
    </p:spTree>
  </p:cSld>
  <p:clrMapOvr>
    <a:masterClrMapping/>
  </p:clrMapOvr>
  <p:transition spd="med"/>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Content + 2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35094729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10">
            <a:extLst>
              <a:ext uri="{FF2B5EF4-FFF2-40B4-BE49-F238E27FC236}">
                <a16:creationId xmlns:a16="http://schemas.microsoft.com/office/drawing/2014/main" id="{1031E9E1-2938-814C-965B-19D14975B268}"/>
              </a:ext>
            </a:extLst>
          </p:cNvPr>
          <p:cNvSpPr>
            <a:spLocks noGrp="1"/>
          </p:cNvSpPr>
          <p:nvPr>
            <p:ph type="pic" sz="quarter" idx="12" hasCustomPrompt="1"/>
          </p:nvPr>
        </p:nvSpPr>
        <p:spPr>
          <a:xfrm>
            <a:off x="4305300" y="358775"/>
            <a:ext cx="7762875"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hasCustomPrompt="1"/>
          </p:nvPr>
        </p:nvSpPr>
        <p:spPr>
          <a:xfrm>
            <a:off x="4305300" y="3493742"/>
            <a:ext cx="7762875"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3" name="Content Placeholder 2"/>
          <p:cNvSpPr>
            <a:spLocks noGrp="1"/>
          </p:cNvSpPr>
          <p:nvPr>
            <p:ph sz="half" idx="1"/>
          </p:nvPr>
        </p:nvSpPr>
        <p:spPr>
          <a:xfrm>
            <a:off x="485776" y="1609725"/>
            <a:ext cx="3578224" cy="450850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9" name="Title 1">
            <a:extLst>
              <a:ext uri="{FF2B5EF4-FFF2-40B4-BE49-F238E27FC236}">
                <a16:creationId xmlns:a16="http://schemas.microsoft.com/office/drawing/2014/main" id="{189225C4-8365-8740-B93B-01403F28E601}"/>
              </a:ext>
            </a:extLst>
          </p:cNvPr>
          <p:cNvSpPr>
            <a:spLocks noGrp="1"/>
          </p:cNvSpPr>
          <p:nvPr>
            <p:ph type="title" hasCustomPrompt="1"/>
          </p:nvPr>
        </p:nvSpPr>
        <p:spPr>
          <a:xfrm>
            <a:off x="457201" y="355601"/>
            <a:ext cx="3606800" cy="752474"/>
          </a:xfrm>
        </p:spPr>
        <p:txBody>
          <a:bodyPr vert="horz"/>
          <a:lstStyle/>
          <a:p>
            <a:r>
              <a:rPr lang="en-US" dirty="0"/>
              <a:t>Click to add title</a:t>
            </a:r>
          </a:p>
        </p:txBody>
      </p:sp>
    </p:spTree>
    <p:extLst>
      <p:ext uri="{BB962C8B-B14F-4D97-AF65-F5344CB8AC3E}">
        <p14:creationId xmlns:p14="http://schemas.microsoft.com/office/powerpoint/2010/main" val="4048582839"/>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Content + 3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3708806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hasCustomPrompt="1"/>
          </p:nvPr>
        </p:nvSpPr>
        <p:spPr>
          <a:xfrm>
            <a:off x="4305300" y="3493742"/>
            <a:ext cx="7762875"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2" name="Picture Placeholder 10">
            <a:extLst>
              <a:ext uri="{FF2B5EF4-FFF2-40B4-BE49-F238E27FC236}">
                <a16:creationId xmlns:a16="http://schemas.microsoft.com/office/drawing/2014/main" id="{86D97FC1-1436-AE4B-A0BC-E2E020B6104B}"/>
              </a:ext>
            </a:extLst>
          </p:cNvPr>
          <p:cNvSpPr>
            <a:spLocks noGrp="1"/>
          </p:cNvSpPr>
          <p:nvPr>
            <p:ph type="pic" sz="quarter" idx="14" hasCustomPrompt="1"/>
          </p:nvPr>
        </p:nvSpPr>
        <p:spPr>
          <a:xfrm>
            <a:off x="8185678" y="358775"/>
            <a:ext cx="3882498"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5" name="Picture Placeholder 10">
            <a:extLst>
              <a:ext uri="{FF2B5EF4-FFF2-40B4-BE49-F238E27FC236}">
                <a16:creationId xmlns:a16="http://schemas.microsoft.com/office/drawing/2014/main" id="{BC987E18-8715-1944-B602-040A7437FAB6}"/>
              </a:ext>
            </a:extLst>
          </p:cNvPr>
          <p:cNvSpPr>
            <a:spLocks noGrp="1"/>
          </p:cNvSpPr>
          <p:nvPr>
            <p:ph type="pic" sz="quarter" idx="12" hasCustomPrompt="1"/>
          </p:nvPr>
        </p:nvSpPr>
        <p:spPr>
          <a:xfrm>
            <a:off x="4305300" y="358775"/>
            <a:ext cx="3742665"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3" name="Content Placeholder 2"/>
          <p:cNvSpPr>
            <a:spLocks noGrp="1"/>
          </p:cNvSpPr>
          <p:nvPr>
            <p:ph sz="half" idx="1"/>
          </p:nvPr>
        </p:nvSpPr>
        <p:spPr>
          <a:xfrm>
            <a:off x="485776" y="1609725"/>
            <a:ext cx="3578224" cy="450850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9" name="Title 1">
            <a:extLst>
              <a:ext uri="{FF2B5EF4-FFF2-40B4-BE49-F238E27FC236}">
                <a16:creationId xmlns:a16="http://schemas.microsoft.com/office/drawing/2014/main" id="{DAB781F8-68B2-BC49-8993-F85CEFB0A3B4}"/>
              </a:ext>
            </a:extLst>
          </p:cNvPr>
          <p:cNvSpPr>
            <a:spLocks noGrp="1"/>
          </p:cNvSpPr>
          <p:nvPr>
            <p:ph type="title" hasCustomPrompt="1"/>
          </p:nvPr>
        </p:nvSpPr>
        <p:spPr>
          <a:xfrm>
            <a:off x="457201" y="355601"/>
            <a:ext cx="3606800" cy="752474"/>
          </a:xfrm>
        </p:spPr>
        <p:txBody>
          <a:bodyPr vert="horz"/>
          <a:lstStyle/>
          <a:p>
            <a:r>
              <a:rPr lang="en-US" dirty="0"/>
              <a:t>Click to add title</a:t>
            </a:r>
          </a:p>
        </p:txBody>
      </p:sp>
    </p:spTree>
    <p:extLst>
      <p:ext uri="{BB962C8B-B14F-4D97-AF65-F5344CB8AC3E}">
        <p14:creationId xmlns:p14="http://schemas.microsoft.com/office/powerpoint/2010/main" val="227332851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Content + 3up modu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21829578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3" name="Picture Placeholder 10">
            <a:extLst>
              <a:ext uri="{FF2B5EF4-FFF2-40B4-BE49-F238E27FC236}">
                <a16:creationId xmlns:a16="http://schemas.microsoft.com/office/drawing/2014/main" id="{06D1C5D0-6FBD-DC40-BF13-9C09EFC9B450}"/>
              </a:ext>
            </a:extLst>
          </p:cNvPr>
          <p:cNvSpPr>
            <a:spLocks noGrp="1"/>
          </p:cNvSpPr>
          <p:nvPr>
            <p:ph type="pic" sz="quarter" idx="12" hasCustomPrompt="1"/>
          </p:nvPr>
        </p:nvSpPr>
        <p:spPr>
          <a:xfrm>
            <a:off x="4305300" y="358775"/>
            <a:ext cx="3822700"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4" name="Picture Placeholder 10">
            <a:extLst>
              <a:ext uri="{FF2B5EF4-FFF2-40B4-BE49-F238E27FC236}">
                <a16:creationId xmlns:a16="http://schemas.microsoft.com/office/drawing/2014/main" id="{52B98AD3-DEEF-4E4E-A5E7-207AD9EDE0A4}"/>
              </a:ext>
            </a:extLst>
          </p:cNvPr>
          <p:cNvSpPr>
            <a:spLocks noGrp="1"/>
          </p:cNvSpPr>
          <p:nvPr>
            <p:ph type="pic" sz="quarter" idx="14" hasCustomPrompt="1"/>
          </p:nvPr>
        </p:nvSpPr>
        <p:spPr>
          <a:xfrm>
            <a:off x="8226964" y="3493742"/>
            <a:ext cx="3841211"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5" name="Picture Placeholder 10">
            <a:extLst>
              <a:ext uri="{FF2B5EF4-FFF2-40B4-BE49-F238E27FC236}">
                <a16:creationId xmlns:a16="http://schemas.microsoft.com/office/drawing/2014/main" id="{05DBA6C8-E574-1C41-BF14-D1988A1F09BB}"/>
              </a:ext>
            </a:extLst>
          </p:cNvPr>
          <p:cNvSpPr>
            <a:spLocks noGrp="1"/>
          </p:cNvSpPr>
          <p:nvPr>
            <p:ph type="pic" sz="quarter" idx="15" hasCustomPrompt="1"/>
          </p:nvPr>
        </p:nvSpPr>
        <p:spPr>
          <a:xfrm>
            <a:off x="123826" y="3493742"/>
            <a:ext cx="4104142"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6" name="Text Placeholder 3">
            <a:extLst>
              <a:ext uri="{FF2B5EF4-FFF2-40B4-BE49-F238E27FC236}">
                <a16:creationId xmlns:a16="http://schemas.microsoft.com/office/drawing/2014/main" id="{450CA7BF-D868-9C46-B4DE-128E2C7369C1}"/>
              </a:ext>
            </a:extLst>
          </p:cNvPr>
          <p:cNvSpPr>
            <a:spLocks noGrp="1"/>
          </p:cNvSpPr>
          <p:nvPr>
            <p:ph type="body" sz="half" idx="2" hasCustomPrompt="1"/>
          </p:nvPr>
        </p:nvSpPr>
        <p:spPr>
          <a:xfrm>
            <a:off x="485777" y="358775"/>
            <a:ext cx="3578224" cy="3019424"/>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content</a:t>
            </a:r>
          </a:p>
        </p:txBody>
      </p:sp>
      <p:sp>
        <p:nvSpPr>
          <p:cNvPr id="17" name="Text Placeholder 3">
            <a:extLst>
              <a:ext uri="{FF2B5EF4-FFF2-40B4-BE49-F238E27FC236}">
                <a16:creationId xmlns:a16="http://schemas.microsoft.com/office/drawing/2014/main" id="{ABA9015E-F6D4-0A41-87F6-DE612B8F621A}"/>
              </a:ext>
            </a:extLst>
          </p:cNvPr>
          <p:cNvSpPr>
            <a:spLocks noGrp="1"/>
          </p:cNvSpPr>
          <p:nvPr>
            <p:ph type="body" sz="half" idx="16" hasCustomPrompt="1"/>
          </p:nvPr>
        </p:nvSpPr>
        <p:spPr>
          <a:xfrm>
            <a:off x="8289863" y="358774"/>
            <a:ext cx="3546537" cy="2965449"/>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content</a:t>
            </a:r>
          </a:p>
        </p:txBody>
      </p:sp>
      <p:sp>
        <p:nvSpPr>
          <p:cNvPr id="18" name="Text Placeholder 3">
            <a:extLst>
              <a:ext uri="{FF2B5EF4-FFF2-40B4-BE49-F238E27FC236}">
                <a16:creationId xmlns:a16="http://schemas.microsoft.com/office/drawing/2014/main" id="{9BFDCF20-88FB-6C4F-AD7A-8B859EBAB09C}"/>
              </a:ext>
            </a:extLst>
          </p:cNvPr>
          <p:cNvSpPr>
            <a:spLocks noGrp="1"/>
          </p:cNvSpPr>
          <p:nvPr>
            <p:ph type="body" sz="half" idx="17" hasCustomPrompt="1"/>
          </p:nvPr>
        </p:nvSpPr>
        <p:spPr>
          <a:xfrm>
            <a:off x="4396873" y="3811323"/>
            <a:ext cx="3657599" cy="2564078"/>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content</a:t>
            </a:r>
          </a:p>
        </p:txBody>
      </p:sp>
    </p:spTree>
    <p:extLst>
      <p:ext uri="{BB962C8B-B14F-4D97-AF65-F5344CB8AC3E}">
        <p14:creationId xmlns:p14="http://schemas.microsoft.com/office/powerpoint/2010/main" val="3435551383"/>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Content + 4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356814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10">
            <a:extLst>
              <a:ext uri="{FF2B5EF4-FFF2-40B4-BE49-F238E27FC236}">
                <a16:creationId xmlns:a16="http://schemas.microsoft.com/office/drawing/2014/main" id="{1031E9E1-2938-814C-965B-19D14975B268}"/>
              </a:ext>
            </a:extLst>
          </p:cNvPr>
          <p:cNvSpPr>
            <a:spLocks noGrp="1"/>
          </p:cNvSpPr>
          <p:nvPr>
            <p:ph type="pic" sz="quarter" idx="12" hasCustomPrompt="1"/>
          </p:nvPr>
        </p:nvSpPr>
        <p:spPr>
          <a:xfrm>
            <a:off x="4305301" y="358775"/>
            <a:ext cx="3785416"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hasCustomPrompt="1"/>
          </p:nvPr>
        </p:nvSpPr>
        <p:spPr>
          <a:xfrm>
            <a:off x="4305300" y="3493742"/>
            <a:ext cx="3785415"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2" name="Picture Placeholder 10">
            <a:extLst>
              <a:ext uri="{FF2B5EF4-FFF2-40B4-BE49-F238E27FC236}">
                <a16:creationId xmlns:a16="http://schemas.microsoft.com/office/drawing/2014/main" id="{86D97FC1-1436-AE4B-A0BC-E2E020B6104B}"/>
              </a:ext>
            </a:extLst>
          </p:cNvPr>
          <p:cNvSpPr>
            <a:spLocks noGrp="1"/>
          </p:cNvSpPr>
          <p:nvPr>
            <p:ph type="pic" sz="quarter" idx="14" hasCustomPrompt="1"/>
          </p:nvPr>
        </p:nvSpPr>
        <p:spPr>
          <a:xfrm>
            <a:off x="8226964" y="358775"/>
            <a:ext cx="3841211"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8" name="Picture Placeholder 10">
            <a:extLst>
              <a:ext uri="{FF2B5EF4-FFF2-40B4-BE49-F238E27FC236}">
                <a16:creationId xmlns:a16="http://schemas.microsoft.com/office/drawing/2014/main" id="{B2831122-E8DB-534C-BD66-BD9BFD1BC822}"/>
              </a:ext>
            </a:extLst>
          </p:cNvPr>
          <p:cNvSpPr>
            <a:spLocks noGrp="1"/>
          </p:cNvSpPr>
          <p:nvPr>
            <p:ph type="pic" sz="quarter" idx="15" hasCustomPrompt="1"/>
          </p:nvPr>
        </p:nvSpPr>
        <p:spPr>
          <a:xfrm>
            <a:off x="8226964" y="3493742"/>
            <a:ext cx="3841211"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3" name="Content Placeholder 2"/>
          <p:cNvSpPr>
            <a:spLocks noGrp="1"/>
          </p:cNvSpPr>
          <p:nvPr>
            <p:ph sz="half" idx="1"/>
          </p:nvPr>
        </p:nvSpPr>
        <p:spPr>
          <a:xfrm>
            <a:off x="485776" y="1609725"/>
            <a:ext cx="3578224" cy="4508499"/>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13" name="Title 1">
            <a:extLst>
              <a:ext uri="{FF2B5EF4-FFF2-40B4-BE49-F238E27FC236}">
                <a16:creationId xmlns:a16="http://schemas.microsoft.com/office/drawing/2014/main" id="{B329BC4F-7509-4849-AAA2-704C43361D2E}"/>
              </a:ext>
            </a:extLst>
          </p:cNvPr>
          <p:cNvSpPr>
            <a:spLocks noGrp="1"/>
          </p:cNvSpPr>
          <p:nvPr>
            <p:ph type="title" hasCustomPrompt="1"/>
          </p:nvPr>
        </p:nvSpPr>
        <p:spPr>
          <a:xfrm>
            <a:off x="457201" y="355601"/>
            <a:ext cx="3606800" cy="752474"/>
          </a:xfrm>
        </p:spPr>
        <p:txBody>
          <a:bodyPr vert="horz"/>
          <a:lstStyle/>
          <a:p>
            <a:r>
              <a:rPr lang="en-US" dirty="0"/>
              <a:t>Click to add title</a:t>
            </a:r>
          </a:p>
        </p:txBody>
      </p:sp>
    </p:spTree>
    <p:extLst>
      <p:ext uri="{BB962C8B-B14F-4D97-AF65-F5344CB8AC3E}">
        <p14:creationId xmlns:p14="http://schemas.microsoft.com/office/powerpoint/2010/main" val="266029131"/>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p:cSld name="COV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1"/>
            </p:custDataLst>
            <p:extLst>
              <p:ext uri="{D42A27DB-BD31-4B8C-83A1-F6EECF244321}">
                <p14:modId xmlns:p14="http://schemas.microsoft.com/office/powerpoint/2010/main" val="13040087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BA7BA343-6086-A542-94F9-DEB6382B60AA}"/>
              </a:ext>
            </a:extLst>
          </p:cNvPr>
          <p:cNvSpPr txBox="1"/>
          <p:nvPr/>
        </p:nvSpPr>
        <p:spPr>
          <a:xfrm>
            <a:off x="374977" y="2505671"/>
            <a:ext cx="5217775" cy="184665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Covers</a:t>
            </a:r>
          </a:p>
        </p:txBody>
      </p:sp>
    </p:spTree>
    <p:extLst>
      <p:ext uri="{BB962C8B-B14F-4D97-AF65-F5344CB8AC3E}">
        <p14:creationId xmlns:p14="http://schemas.microsoft.com/office/powerpoint/2010/main" val="2298018428"/>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Title slide A: image box">
    <p:bg>
      <p:bgPr>
        <a:solidFill>
          <a:schemeClr val="tx2"/>
        </a:solidFill>
        <a:effectLst/>
      </p:bgPr>
    </p:bg>
    <p:spTree>
      <p:nvGrpSpPr>
        <p:cNvPr id="1" name=""/>
        <p:cNvGrpSpPr/>
        <p:nvPr/>
      </p:nvGrpSpPr>
      <p:grpSpPr>
        <a:xfrm>
          <a:off x="0" y="0"/>
          <a:ext cx="0" cy="0"/>
          <a:chOff x="0" y="0"/>
          <a:chExt cx="0" cy="0"/>
        </a:xfrm>
      </p:grpSpPr>
      <p:sp>
        <p:nvSpPr>
          <p:cNvPr id="69" name="Rectangle 68"/>
          <p:cNvSpPr/>
          <p:nvPr userDrawn="1"/>
        </p:nvSpPr>
        <p:spPr>
          <a:xfrm>
            <a:off x="355599" y="6121400"/>
            <a:ext cx="2032001" cy="4953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2" name="Picture Placeholder 71">
            <a:extLst>
              <a:ext uri="{FF2B5EF4-FFF2-40B4-BE49-F238E27FC236}">
                <a16:creationId xmlns:a16="http://schemas.microsoft.com/office/drawing/2014/main" id="{73319BE5-0EF3-DD4B-B826-A8E9F0755285}"/>
              </a:ext>
            </a:extLst>
          </p:cNvPr>
          <p:cNvSpPr>
            <a:spLocks noGrp="1"/>
          </p:cNvSpPr>
          <p:nvPr>
            <p:ph type="pic" sz="quarter" idx="10" hasCustomPrompt="1"/>
          </p:nvPr>
        </p:nvSpPr>
        <p:spPr>
          <a:xfrm>
            <a:off x="-1" y="-1"/>
            <a:ext cx="12191999" cy="6858001"/>
          </a:xfrm>
          <a:custGeom>
            <a:avLst/>
            <a:gdLst>
              <a:gd name="connsiteX0" fmla="*/ 2154182 w 12191999"/>
              <a:gd name="connsiteY0" fmla="*/ 6348735 h 6858001"/>
              <a:gd name="connsiteX1" fmla="*/ 2154182 w 12191999"/>
              <a:gd name="connsiteY1" fmla="*/ 6352726 h 6858001"/>
              <a:gd name="connsiteX2" fmla="*/ 2152428 w 12191999"/>
              <a:gd name="connsiteY2" fmla="*/ 6363609 h 6858001"/>
              <a:gd name="connsiteX3" fmla="*/ 2145233 w 12191999"/>
              <a:gd name="connsiteY3" fmla="*/ 6371136 h 6858001"/>
              <a:gd name="connsiteX4" fmla="*/ 2134048 w 12191999"/>
              <a:gd name="connsiteY4" fmla="*/ 6373887 h 6858001"/>
              <a:gd name="connsiteX5" fmla="*/ 2124404 w 12191999"/>
              <a:gd name="connsiteY5" fmla="*/ 6370985 h 6858001"/>
              <a:gd name="connsiteX6" fmla="*/ 2121109 w 12191999"/>
              <a:gd name="connsiteY6" fmla="*/ 6363730 h 6858001"/>
              <a:gd name="connsiteX7" fmla="*/ 2122621 w 12191999"/>
              <a:gd name="connsiteY7" fmla="*/ 6358560 h 6858001"/>
              <a:gd name="connsiteX8" fmla="*/ 2126913 w 12191999"/>
              <a:gd name="connsiteY8" fmla="*/ 6355023 h 6858001"/>
              <a:gd name="connsiteX9" fmla="*/ 2136406 w 12191999"/>
              <a:gd name="connsiteY9" fmla="*/ 6352847 h 6858001"/>
              <a:gd name="connsiteX10" fmla="*/ 2154182 w 12191999"/>
              <a:gd name="connsiteY10" fmla="*/ 6348735 h 6858001"/>
              <a:gd name="connsiteX11" fmla="*/ 1430281 w 12191999"/>
              <a:gd name="connsiteY11" fmla="*/ 6348735 h 6858001"/>
              <a:gd name="connsiteX12" fmla="*/ 1430281 w 12191999"/>
              <a:gd name="connsiteY12" fmla="*/ 6352726 h 6858001"/>
              <a:gd name="connsiteX13" fmla="*/ 1428528 w 12191999"/>
              <a:gd name="connsiteY13" fmla="*/ 6363609 h 6858001"/>
              <a:gd name="connsiteX14" fmla="*/ 1421333 w 12191999"/>
              <a:gd name="connsiteY14" fmla="*/ 6371136 h 6858001"/>
              <a:gd name="connsiteX15" fmla="*/ 1410148 w 12191999"/>
              <a:gd name="connsiteY15" fmla="*/ 6373887 h 6858001"/>
              <a:gd name="connsiteX16" fmla="*/ 1400504 w 12191999"/>
              <a:gd name="connsiteY16" fmla="*/ 6370985 h 6858001"/>
              <a:gd name="connsiteX17" fmla="*/ 1397209 w 12191999"/>
              <a:gd name="connsiteY17" fmla="*/ 6363730 h 6858001"/>
              <a:gd name="connsiteX18" fmla="*/ 1398721 w 12191999"/>
              <a:gd name="connsiteY18" fmla="*/ 6358560 h 6858001"/>
              <a:gd name="connsiteX19" fmla="*/ 1403013 w 12191999"/>
              <a:gd name="connsiteY19" fmla="*/ 6355023 h 6858001"/>
              <a:gd name="connsiteX20" fmla="*/ 1412506 w 12191999"/>
              <a:gd name="connsiteY20" fmla="*/ 6352847 h 6858001"/>
              <a:gd name="connsiteX21" fmla="*/ 1430281 w 12191999"/>
              <a:gd name="connsiteY21" fmla="*/ 6348735 h 6858001"/>
              <a:gd name="connsiteX22" fmla="*/ 1167698 w 12191999"/>
              <a:gd name="connsiteY22" fmla="*/ 6324309 h 6858001"/>
              <a:gd name="connsiteX23" fmla="*/ 1181150 w 12191999"/>
              <a:gd name="connsiteY23" fmla="*/ 6330446 h 6858001"/>
              <a:gd name="connsiteX24" fmla="*/ 1186561 w 12191999"/>
              <a:gd name="connsiteY24" fmla="*/ 6348493 h 6858001"/>
              <a:gd name="connsiteX25" fmla="*/ 1181180 w 12191999"/>
              <a:gd name="connsiteY25" fmla="*/ 6367297 h 6858001"/>
              <a:gd name="connsiteX26" fmla="*/ 1167698 w 12191999"/>
              <a:gd name="connsiteY26" fmla="*/ 6373464 h 6858001"/>
              <a:gd name="connsiteX27" fmla="*/ 1154154 w 12191999"/>
              <a:gd name="connsiteY27" fmla="*/ 6367327 h 6858001"/>
              <a:gd name="connsiteX28" fmla="*/ 1148773 w 12191999"/>
              <a:gd name="connsiteY28" fmla="*/ 6348856 h 6858001"/>
              <a:gd name="connsiteX29" fmla="*/ 1154154 w 12191999"/>
              <a:gd name="connsiteY29" fmla="*/ 6330415 h 6858001"/>
              <a:gd name="connsiteX30" fmla="*/ 1167698 w 12191999"/>
              <a:gd name="connsiteY30" fmla="*/ 6324309 h 6858001"/>
              <a:gd name="connsiteX31" fmla="*/ 1939646 w 12191999"/>
              <a:gd name="connsiteY31" fmla="*/ 6324248 h 6858001"/>
              <a:gd name="connsiteX32" fmla="*/ 1953129 w 12191999"/>
              <a:gd name="connsiteY32" fmla="*/ 6330536 h 6858001"/>
              <a:gd name="connsiteX33" fmla="*/ 1957240 w 12191999"/>
              <a:gd name="connsiteY33" fmla="*/ 6342689 h 6858001"/>
              <a:gd name="connsiteX34" fmla="*/ 1921387 w 12191999"/>
              <a:gd name="connsiteY34" fmla="*/ 6342689 h 6858001"/>
              <a:gd name="connsiteX35" fmla="*/ 1927040 w 12191999"/>
              <a:gd name="connsiteY35" fmla="*/ 6329267 h 6858001"/>
              <a:gd name="connsiteX36" fmla="*/ 1939646 w 12191999"/>
              <a:gd name="connsiteY36" fmla="*/ 6324248 h 6858001"/>
              <a:gd name="connsiteX37" fmla="*/ 929996 w 12191999"/>
              <a:gd name="connsiteY37" fmla="*/ 6324248 h 6858001"/>
              <a:gd name="connsiteX38" fmla="*/ 943479 w 12191999"/>
              <a:gd name="connsiteY38" fmla="*/ 6330536 h 6858001"/>
              <a:gd name="connsiteX39" fmla="*/ 947590 w 12191999"/>
              <a:gd name="connsiteY39" fmla="*/ 6342689 h 6858001"/>
              <a:gd name="connsiteX40" fmla="*/ 911736 w 12191999"/>
              <a:gd name="connsiteY40" fmla="*/ 6342689 h 6858001"/>
              <a:gd name="connsiteX41" fmla="*/ 917389 w 12191999"/>
              <a:gd name="connsiteY41" fmla="*/ 6329267 h 6858001"/>
              <a:gd name="connsiteX42" fmla="*/ 929996 w 12191999"/>
              <a:gd name="connsiteY42" fmla="*/ 6324248 h 6858001"/>
              <a:gd name="connsiteX43" fmla="*/ 635688 w 12191999"/>
              <a:gd name="connsiteY43" fmla="*/ 6324248 h 6858001"/>
              <a:gd name="connsiteX44" fmla="*/ 647750 w 12191999"/>
              <a:gd name="connsiteY44" fmla="*/ 6330234 h 6858001"/>
              <a:gd name="connsiteX45" fmla="*/ 652738 w 12191999"/>
              <a:gd name="connsiteY45" fmla="*/ 6348796 h 6858001"/>
              <a:gd name="connsiteX46" fmla="*/ 647538 w 12191999"/>
              <a:gd name="connsiteY46" fmla="*/ 6367267 h 6858001"/>
              <a:gd name="connsiteX47" fmla="*/ 635204 w 12191999"/>
              <a:gd name="connsiteY47" fmla="*/ 6373464 h 6858001"/>
              <a:gd name="connsiteX48" fmla="*/ 621298 w 12191999"/>
              <a:gd name="connsiteY48" fmla="*/ 6365060 h 6858001"/>
              <a:gd name="connsiteX49" fmla="*/ 618154 w 12191999"/>
              <a:gd name="connsiteY49" fmla="*/ 6348373 h 6858001"/>
              <a:gd name="connsiteX50" fmla="*/ 623354 w 12191999"/>
              <a:gd name="connsiteY50" fmla="*/ 6330446 h 6858001"/>
              <a:gd name="connsiteX51" fmla="*/ 635688 w 12191999"/>
              <a:gd name="connsiteY51" fmla="*/ 6324248 h 6858001"/>
              <a:gd name="connsiteX52" fmla="*/ 808324 w 12191999"/>
              <a:gd name="connsiteY52" fmla="*/ 6316751 h 6858001"/>
              <a:gd name="connsiteX53" fmla="*/ 808324 w 12191999"/>
              <a:gd name="connsiteY53" fmla="*/ 6380961 h 6858001"/>
              <a:gd name="connsiteX54" fmla="*/ 819207 w 12191999"/>
              <a:gd name="connsiteY54" fmla="*/ 6380961 h 6858001"/>
              <a:gd name="connsiteX55" fmla="*/ 819207 w 12191999"/>
              <a:gd name="connsiteY55" fmla="*/ 6316751 h 6858001"/>
              <a:gd name="connsiteX56" fmla="*/ 674672 w 12191999"/>
              <a:gd name="connsiteY56" fmla="*/ 6316751 h 6858001"/>
              <a:gd name="connsiteX57" fmla="*/ 674672 w 12191999"/>
              <a:gd name="connsiteY57" fmla="*/ 6356535 h 6858001"/>
              <a:gd name="connsiteX58" fmla="*/ 675337 w 12191999"/>
              <a:gd name="connsiteY58" fmla="*/ 6366692 h 6858001"/>
              <a:gd name="connsiteX59" fmla="*/ 678692 w 12191999"/>
              <a:gd name="connsiteY59" fmla="*/ 6374764 h 6858001"/>
              <a:gd name="connsiteX60" fmla="*/ 686008 w 12191999"/>
              <a:gd name="connsiteY60" fmla="*/ 6380236 h 6858001"/>
              <a:gd name="connsiteX61" fmla="*/ 696619 w 12191999"/>
              <a:gd name="connsiteY61" fmla="*/ 6382412 h 6858001"/>
              <a:gd name="connsiteX62" fmla="*/ 716995 w 12191999"/>
              <a:gd name="connsiteY62" fmla="*/ 6371529 h 6858001"/>
              <a:gd name="connsiteX63" fmla="*/ 716995 w 12191999"/>
              <a:gd name="connsiteY63" fmla="*/ 6380961 h 6858001"/>
              <a:gd name="connsiteX64" fmla="*/ 726729 w 12191999"/>
              <a:gd name="connsiteY64" fmla="*/ 6380961 h 6858001"/>
              <a:gd name="connsiteX65" fmla="*/ 726729 w 12191999"/>
              <a:gd name="connsiteY65" fmla="*/ 6316751 h 6858001"/>
              <a:gd name="connsiteX66" fmla="*/ 715846 w 12191999"/>
              <a:gd name="connsiteY66" fmla="*/ 6316751 h 6858001"/>
              <a:gd name="connsiteX67" fmla="*/ 715846 w 12191999"/>
              <a:gd name="connsiteY67" fmla="*/ 6351154 h 6858001"/>
              <a:gd name="connsiteX68" fmla="*/ 714062 w 12191999"/>
              <a:gd name="connsiteY68" fmla="*/ 6363700 h 6858001"/>
              <a:gd name="connsiteX69" fmla="*/ 707986 w 12191999"/>
              <a:gd name="connsiteY69" fmla="*/ 6370532 h 6858001"/>
              <a:gd name="connsiteX70" fmla="*/ 698796 w 12191999"/>
              <a:gd name="connsiteY70" fmla="*/ 6373041 h 6858001"/>
              <a:gd name="connsiteX71" fmla="*/ 690573 w 12191999"/>
              <a:gd name="connsiteY71" fmla="*/ 6370592 h 6858001"/>
              <a:gd name="connsiteX72" fmla="*/ 686220 w 12191999"/>
              <a:gd name="connsiteY72" fmla="*/ 6363851 h 6858001"/>
              <a:gd name="connsiteX73" fmla="*/ 685555 w 12191999"/>
              <a:gd name="connsiteY73" fmla="*/ 6352363 h 6858001"/>
              <a:gd name="connsiteX74" fmla="*/ 685555 w 12191999"/>
              <a:gd name="connsiteY74" fmla="*/ 6316751 h 6858001"/>
              <a:gd name="connsiteX75" fmla="*/ 2210094 w 12191999"/>
              <a:gd name="connsiteY75" fmla="*/ 6315300 h 6858001"/>
              <a:gd name="connsiteX76" fmla="*/ 2189659 w 12191999"/>
              <a:gd name="connsiteY76" fmla="*/ 6325881 h 6858001"/>
              <a:gd name="connsiteX77" fmla="*/ 2189659 w 12191999"/>
              <a:gd name="connsiteY77" fmla="*/ 6316751 h 6858001"/>
              <a:gd name="connsiteX78" fmla="*/ 2179864 w 12191999"/>
              <a:gd name="connsiteY78" fmla="*/ 6316751 h 6858001"/>
              <a:gd name="connsiteX79" fmla="*/ 2179864 w 12191999"/>
              <a:gd name="connsiteY79" fmla="*/ 6380961 h 6858001"/>
              <a:gd name="connsiteX80" fmla="*/ 2190747 w 12191999"/>
              <a:gd name="connsiteY80" fmla="*/ 6380961 h 6858001"/>
              <a:gd name="connsiteX81" fmla="*/ 2190747 w 12191999"/>
              <a:gd name="connsiteY81" fmla="*/ 6345894 h 6858001"/>
              <a:gd name="connsiteX82" fmla="*/ 2195795 w 12191999"/>
              <a:gd name="connsiteY82" fmla="*/ 6329146 h 6858001"/>
              <a:gd name="connsiteX83" fmla="*/ 2207797 w 12191999"/>
              <a:gd name="connsiteY83" fmla="*/ 6324732 h 6858001"/>
              <a:gd name="connsiteX84" fmla="*/ 2215385 w 12191999"/>
              <a:gd name="connsiteY84" fmla="*/ 6326697 h 6858001"/>
              <a:gd name="connsiteX85" fmla="*/ 2219889 w 12191999"/>
              <a:gd name="connsiteY85" fmla="*/ 6331957 h 6858001"/>
              <a:gd name="connsiteX86" fmla="*/ 2221159 w 12191999"/>
              <a:gd name="connsiteY86" fmla="*/ 6341903 h 6858001"/>
              <a:gd name="connsiteX87" fmla="*/ 2221159 w 12191999"/>
              <a:gd name="connsiteY87" fmla="*/ 6380961 h 6858001"/>
              <a:gd name="connsiteX88" fmla="*/ 2232042 w 12191999"/>
              <a:gd name="connsiteY88" fmla="*/ 6380961 h 6858001"/>
              <a:gd name="connsiteX89" fmla="*/ 2232042 w 12191999"/>
              <a:gd name="connsiteY89" fmla="*/ 6341480 h 6858001"/>
              <a:gd name="connsiteX90" fmla="*/ 2231437 w 12191999"/>
              <a:gd name="connsiteY90" fmla="*/ 6330899 h 6858001"/>
              <a:gd name="connsiteX91" fmla="*/ 2228052 w 12191999"/>
              <a:gd name="connsiteY91" fmla="*/ 6322858 h 6858001"/>
              <a:gd name="connsiteX92" fmla="*/ 2220766 w 12191999"/>
              <a:gd name="connsiteY92" fmla="*/ 6317386 h 6858001"/>
              <a:gd name="connsiteX93" fmla="*/ 2210094 w 12191999"/>
              <a:gd name="connsiteY93" fmla="*/ 6315300 h 6858001"/>
              <a:gd name="connsiteX94" fmla="*/ 2140336 w 12191999"/>
              <a:gd name="connsiteY94" fmla="*/ 6315300 h 6858001"/>
              <a:gd name="connsiteX95" fmla="*/ 2125765 w 12191999"/>
              <a:gd name="connsiteY95" fmla="*/ 6317567 h 6858001"/>
              <a:gd name="connsiteX96" fmla="*/ 2116151 w 12191999"/>
              <a:gd name="connsiteY96" fmla="*/ 6324037 h 6858001"/>
              <a:gd name="connsiteX97" fmla="*/ 2111375 w 12191999"/>
              <a:gd name="connsiteY97" fmla="*/ 6335071 h 6858001"/>
              <a:gd name="connsiteX98" fmla="*/ 2122016 w 12191999"/>
              <a:gd name="connsiteY98" fmla="*/ 6336522 h 6858001"/>
              <a:gd name="connsiteX99" fmla="*/ 2127427 w 12191999"/>
              <a:gd name="connsiteY99" fmla="*/ 6326999 h 6858001"/>
              <a:gd name="connsiteX100" fmla="*/ 2138764 w 12191999"/>
              <a:gd name="connsiteY100" fmla="*/ 6324309 h 6858001"/>
              <a:gd name="connsiteX101" fmla="*/ 2151159 w 12191999"/>
              <a:gd name="connsiteY101" fmla="*/ 6327997 h 6858001"/>
              <a:gd name="connsiteX102" fmla="*/ 2154242 w 12191999"/>
              <a:gd name="connsiteY102" fmla="*/ 6337369 h 6858001"/>
              <a:gd name="connsiteX103" fmla="*/ 2154182 w 12191999"/>
              <a:gd name="connsiteY103" fmla="*/ 6340210 h 6858001"/>
              <a:gd name="connsiteX104" fmla="*/ 2134773 w 12191999"/>
              <a:gd name="connsiteY104" fmla="*/ 6343959 h 6858001"/>
              <a:gd name="connsiteX105" fmla="*/ 2125100 w 12191999"/>
              <a:gd name="connsiteY105" fmla="*/ 6345591 h 6858001"/>
              <a:gd name="connsiteX106" fmla="*/ 2117270 w 12191999"/>
              <a:gd name="connsiteY106" fmla="*/ 6349159 h 6858001"/>
              <a:gd name="connsiteX107" fmla="*/ 2111647 w 12191999"/>
              <a:gd name="connsiteY107" fmla="*/ 6355416 h 6858001"/>
              <a:gd name="connsiteX108" fmla="*/ 2109500 w 12191999"/>
              <a:gd name="connsiteY108" fmla="*/ 6364032 h 6858001"/>
              <a:gd name="connsiteX109" fmla="*/ 2115184 w 12191999"/>
              <a:gd name="connsiteY109" fmla="*/ 6377243 h 6858001"/>
              <a:gd name="connsiteX110" fmla="*/ 2131448 w 12191999"/>
              <a:gd name="connsiteY110" fmla="*/ 6382412 h 6858001"/>
              <a:gd name="connsiteX111" fmla="*/ 2143450 w 12191999"/>
              <a:gd name="connsiteY111" fmla="*/ 6380296 h 6858001"/>
              <a:gd name="connsiteX112" fmla="*/ 2155089 w 12191999"/>
              <a:gd name="connsiteY112" fmla="*/ 6373041 h 6858001"/>
              <a:gd name="connsiteX113" fmla="*/ 2157265 w 12191999"/>
              <a:gd name="connsiteY113" fmla="*/ 6380961 h 6858001"/>
              <a:gd name="connsiteX114" fmla="*/ 2168632 w 12191999"/>
              <a:gd name="connsiteY114" fmla="*/ 6380961 h 6858001"/>
              <a:gd name="connsiteX115" fmla="*/ 2165881 w 12191999"/>
              <a:gd name="connsiteY115" fmla="*/ 6373252 h 6858001"/>
              <a:gd name="connsiteX116" fmla="*/ 2165185 w 12191999"/>
              <a:gd name="connsiteY116" fmla="*/ 6354056 h 6858001"/>
              <a:gd name="connsiteX117" fmla="*/ 2165185 w 12191999"/>
              <a:gd name="connsiteY117" fmla="*/ 6339545 h 6858001"/>
              <a:gd name="connsiteX118" fmla="*/ 2164641 w 12191999"/>
              <a:gd name="connsiteY118" fmla="*/ 6329509 h 6858001"/>
              <a:gd name="connsiteX119" fmla="*/ 2161255 w 12191999"/>
              <a:gd name="connsiteY119" fmla="*/ 6322102 h 6858001"/>
              <a:gd name="connsiteX120" fmla="*/ 2153698 w 12191999"/>
              <a:gd name="connsiteY120" fmla="*/ 6317235 h 6858001"/>
              <a:gd name="connsiteX121" fmla="*/ 2140336 w 12191999"/>
              <a:gd name="connsiteY121" fmla="*/ 6315300 h 6858001"/>
              <a:gd name="connsiteX122" fmla="*/ 2076744 w 12191999"/>
              <a:gd name="connsiteY122" fmla="*/ 6315300 h 6858001"/>
              <a:gd name="connsiteX123" fmla="*/ 2056309 w 12191999"/>
              <a:gd name="connsiteY123" fmla="*/ 6325881 h 6858001"/>
              <a:gd name="connsiteX124" fmla="*/ 2056309 w 12191999"/>
              <a:gd name="connsiteY124" fmla="*/ 6316751 h 6858001"/>
              <a:gd name="connsiteX125" fmla="*/ 2046514 w 12191999"/>
              <a:gd name="connsiteY125" fmla="*/ 6316751 h 6858001"/>
              <a:gd name="connsiteX126" fmla="*/ 2046514 w 12191999"/>
              <a:gd name="connsiteY126" fmla="*/ 6380961 h 6858001"/>
              <a:gd name="connsiteX127" fmla="*/ 2057397 w 12191999"/>
              <a:gd name="connsiteY127" fmla="*/ 6380961 h 6858001"/>
              <a:gd name="connsiteX128" fmla="*/ 2057397 w 12191999"/>
              <a:gd name="connsiteY128" fmla="*/ 6345894 h 6858001"/>
              <a:gd name="connsiteX129" fmla="*/ 2062445 w 12191999"/>
              <a:gd name="connsiteY129" fmla="*/ 6329146 h 6858001"/>
              <a:gd name="connsiteX130" fmla="*/ 2074447 w 12191999"/>
              <a:gd name="connsiteY130" fmla="*/ 6324732 h 6858001"/>
              <a:gd name="connsiteX131" fmla="*/ 2082035 w 12191999"/>
              <a:gd name="connsiteY131" fmla="*/ 6326697 h 6858001"/>
              <a:gd name="connsiteX132" fmla="*/ 2086539 w 12191999"/>
              <a:gd name="connsiteY132" fmla="*/ 6331957 h 6858001"/>
              <a:gd name="connsiteX133" fmla="*/ 2087809 w 12191999"/>
              <a:gd name="connsiteY133" fmla="*/ 6341903 h 6858001"/>
              <a:gd name="connsiteX134" fmla="*/ 2087809 w 12191999"/>
              <a:gd name="connsiteY134" fmla="*/ 6380961 h 6858001"/>
              <a:gd name="connsiteX135" fmla="*/ 2098692 w 12191999"/>
              <a:gd name="connsiteY135" fmla="*/ 6380961 h 6858001"/>
              <a:gd name="connsiteX136" fmla="*/ 2098692 w 12191999"/>
              <a:gd name="connsiteY136" fmla="*/ 6341480 h 6858001"/>
              <a:gd name="connsiteX137" fmla="*/ 2098087 w 12191999"/>
              <a:gd name="connsiteY137" fmla="*/ 6330899 h 6858001"/>
              <a:gd name="connsiteX138" fmla="*/ 2094702 w 12191999"/>
              <a:gd name="connsiteY138" fmla="*/ 6322858 h 6858001"/>
              <a:gd name="connsiteX139" fmla="*/ 2087416 w 12191999"/>
              <a:gd name="connsiteY139" fmla="*/ 6317386 h 6858001"/>
              <a:gd name="connsiteX140" fmla="*/ 2076744 w 12191999"/>
              <a:gd name="connsiteY140" fmla="*/ 6315300 h 6858001"/>
              <a:gd name="connsiteX141" fmla="*/ 2010069 w 12191999"/>
              <a:gd name="connsiteY141" fmla="*/ 6315300 h 6858001"/>
              <a:gd name="connsiteX142" fmla="*/ 1989633 w 12191999"/>
              <a:gd name="connsiteY142" fmla="*/ 6325881 h 6858001"/>
              <a:gd name="connsiteX143" fmla="*/ 1989633 w 12191999"/>
              <a:gd name="connsiteY143" fmla="*/ 6316751 h 6858001"/>
              <a:gd name="connsiteX144" fmla="*/ 1979839 w 12191999"/>
              <a:gd name="connsiteY144" fmla="*/ 6316751 h 6858001"/>
              <a:gd name="connsiteX145" fmla="*/ 1979839 w 12191999"/>
              <a:gd name="connsiteY145" fmla="*/ 6380961 h 6858001"/>
              <a:gd name="connsiteX146" fmla="*/ 1990722 w 12191999"/>
              <a:gd name="connsiteY146" fmla="*/ 6380961 h 6858001"/>
              <a:gd name="connsiteX147" fmla="*/ 1990722 w 12191999"/>
              <a:gd name="connsiteY147" fmla="*/ 6345894 h 6858001"/>
              <a:gd name="connsiteX148" fmla="*/ 1995770 w 12191999"/>
              <a:gd name="connsiteY148" fmla="*/ 6329146 h 6858001"/>
              <a:gd name="connsiteX149" fmla="*/ 2007772 w 12191999"/>
              <a:gd name="connsiteY149" fmla="*/ 6324732 h 6858001"/>
              <a:gd name="connsiteX150" fmla="*/ 2015360 w 12191999"/>
              <a:gd name="connsiteY150" fmla="*/ 6326697 h 6858001"/>
              <a:gd name="connsiteX151" fmla="*/ 2019864 w 12191999"/>
              <a:gd name="connsiteY151" fmla="*/ 6331957 h 6858001"/>
              <a:gd name="connsiteX152" fmla="*/ 2021134 w 12191999"/>
              <a:gd name="connsiteY152" fmla="*/ 6341903 h 6858001"/>
              <a:gd name="connsiteX153" fmla="*/ 2021134 w 12191999"/>
              <a:gd name="connsiteY153" fmla="*/ 6380961 h 6858001"/>
              <a:gd name="connsiteX154" fmla="*/ 2032017 w 12191999"/>
              <a:gd name="connsiteY154" fmla="*/ 6380961 h 6858001"/>
              <a:gd name="connsiteX155" fmla="*/ 2032017 w 12191999"/>
              <a:gd name="connsiteY155" fmla="*/ 6341480 h 6858001"/>
              <a:gd name="connsiteX156" fmla="*/ 2031412 w 12191999"/>
              <a:gd name="connsiteY156" fmla="*/ 6330899 h 6858001"/>
              <a:gd name="connsiteX157" fmla="*/ 2028026 w 12191999"/>
              <a:gd name="connsiteY157" fmla="*/ 6322858 h 6858001"/>
              <a:gd name="connsiteX158" fmla="*/ 2020741 w 12191999"/>
              <a:gd name="connsiteY158" fmla="*/ 6317386 h 6858001"/>
              <a:gd name="connsiteX159" fmla="*/ 2010069 w 12191999"/>
              <a:gd name="connsiteY159" fmla="*/ 6315300 h 6858001"/>
              <a:gd name="connsiteX160" fmla="*/ 1939525 w 12191999"/>
              <a:gd name="connsiteY160" fmla="*/ 6315300 h 6858001"/>
              <a:gd name="connsiteX161" fmla="*/ 1917880 w 12191999"/>
              <a:gd name="connsiteY161" fmla="*/ 6324248 h 6858001"/>
              <a:gd name="connsiteX162" fmla="*/ 1909536 w 12191999"/>
              <a:gd name="connsiteY162" fmla="*/ 6349400 h 6858001"/>
              <a:gd name="connsiteX163" fmla="*/ 1917789 w 12191999"/>
              <a:gd name="connsiteY163" fmla="*/ 6373736 h 6858001"/>
              <a:gd name="connsiteX164" fmla="*/ 1940129 w 12191999"/>
              <a:gd name="connsiteY164" fmla="*/ 6382412 h 6858001"/>
              <a:gd name="connsiteX165" fmla="*/ 1958510 w 12191999"/>
              <a:gd name="connsiteY165" fmla="*/ 6376971 h 6858001"/>
              <a:gd name="connsiteX166" fmla="*/ 1968365 w 12191999"/>
              <a:gd name="connsiteY166" fmla="*/ 6361674 h 6858001"/>
              <a:gd name="connsiteX167" fmla="*/ 1957119 w 12191999"/>
              <a:gd name="connsiteY167" fmla="*/ 6360283 h 6858001"/>
              <a:gd name="connsiteX168" fmla="*/ 1950408 w 12191999"/>
              <a:gd name="connsiteY168" fmla="*/ 6370320 h 6858001"/>
              <a:gd name="connsiteX169" fmla="*/ 1940190 w 12191999"/>
              <a:gd name="connsiteY169" fmla="*/ 6373464 h 6858001"/>
              <a:gd name="connsiteX170" fmla="*/ 1926767 w 12191999"/>
              <a:gd name="connsiteY170" fmla="*/ 6367841 h 6858001"/>
              <a:gd name="connsiteX171" fmla="*/ 1920782 w 12191999"/>
              <a:gd name="connsiteY171" fmla="*/ 6351637 h 6858001"/>
              <a:gd name="connsiteX172" fmla="*/ 1968667 w 12191999"/>
              <a:gd name="connsiteY172" fmla="*/ 6351637 h 6858001"/>
              <a:gd name="connsiteX173" fmla="*/ 1968728 w 12191999"/>
              <a:gd name="connsiteY173" fmla="*/ 6348735 h 6858001"/>
              <a:gd name="connsiteX174" fmla="*/ 1960565 w 12191999"/>
              <a:gd name="connsiteY174" fmla="*/ 6324067 h 6858001"/>
              <a:gd name="connsiteX175" fmla="*/ 1939525 w 12191999"/>
              <a:gd name="connsiteY175" fmla="*/ 6315300 h 6858001"/>
              <a:gd name="connsiteX176" fmla="*/ 1805752 w 12191999"/>
              <a:gd name="connsiteY176" fmla="*/ 6315300 h 6858001"/>
              <a:gd name="connsiteX177" fmla="*/ 1790425 w 12191999"/>
              <a:gd name="connsiteY177" fmla="*/ 6319200 h 6858001"/>
              <a:gd name="connsiteX178" fmla="*/ 1779935 w 12191999"/>
              <a:gd name="connsiteY178" fmla="*/ 6330899 h 6858001"/>
              <a:gd name="connsiteX179" fmla="*/ 1776488 w 12191999"/>
              <a:gd name="connsiteY179" fmla="*/ 6349098 h 6858001"/>
              <a:gd name="connsiteX180" fmla="*/ 1784499 w 12191999"/>
              <a:gd name="connsiteY180" fmla="*/ 6373797 h 6858001"/>
              <a:gd name="connsiteX181" fmla="*/ 1805691 w 12191999"/>
              <a:gd name="connsiteY181" fmla="*/ 6382412 h 6858001"/>
              <a:gd name="connsiteX182" fmla="*/ 1823437 w 12191999"/>
              <a:gd name="connsiteY182" fmla="*/ 6376155 h 6858001"/>
              <a:gd name="connsiteX183" fmla="*/ 1832415 w 12191999"/>
              <a:gd name="connsiteY183" fmla="*/ 6358832 h 6858001"/>
              <a:gd name="connsiteX184" fmla="*/ 1821714 w 12191999"/>
              <a:gd name="connsiteY184" fmla="*/ 6357442 h 6858001"/>
              <a:gd name="connsiteX185" fmla="*/ 1816272 w 12191999"/>
              <a:gd name="connsiteY185" fmla="*/ 6369534 h 6858001"/>
              <a:gd name="connsiteX186" fmla="*/ 1805570 w 12191999"/>
              <a:gd name="connsiteY186" fmla="*/ 6373464 h 6858001"/>
              <a:gd name="connsiteX187" fmla="*/ 1792632 w 12191999"/>
              <a:gd name="connsiteY187" fmla="*/ 6367599 h 6858001"/>
              <a:gd name="connsiteX188" fmla="*/ 1787674 w 12191999"/>
              <a:gd name="connsiteY188" fmla="*/ 6348796 h 6858001"/>
              <a:gd name="connsiteX189" fmla="*/ 1792813 w 12191999"/>
              <a:gd name="connsiteY189" fmla="*/ 6330143 h 6858001"/>
              <a:gd name="connsiteX190" fmla="*/ 1806175 w 12191999"/>
              <a:gd name="connsiteY190" fmla="*/ 6324248 h 6858001"/>
              <a:gd name="connsiteX191" fmla="*/ 1815456 w 12191999"/>
              <a:gd name="connsiteY191" fmla="*/ 6327513 h 6858001"/>
              <a:gd name="connsiteX192" fmla="*/ 1820806 w 12191999"/>
              <a:gd name="connsiteY192" fmla="*/ 6337248 h 6858001"/>
              <a:gd name="connsiteX193" fmla="*/ 1831387 w 12191999"/>
              <a:gd name="connsiteY193" fmla="*/ 6335615 h 6858001"/>
              <a:gd name="connsiteX194" fmla="*/ 1822862 w 12191999"/>
              <a:gd name="connsiteY194" fmla="*/ 6320591 h 6858001"/>
              <a:gd name="connsiteX195" fmla="*/ 1805752 w 12191999"/>
              <a:gd name="connsiteY195" fmla="*/ 6315300 h 6858001"/>
              <a:gd name="connsiteX196" fmla="*/ 1515165 w 12191999"/>
              <a:gd name="connsiteY196" fmla="*/ 6315300 h 6858001"/>
              <a:gd name="connsiteX197" fmla="*/ 1505763 w 12191999"/>
              <a:gd name="connsiteY197" fmla="*/ 6316600 h 6858001"/>
              <a:gd name="connsiteX198" fmla="*/ 1498840 w 12191999"/>
              <a:gd name="connsiteY198" fmla="*/ 6319774 h 6858001"/>
              <a:gd name="connsiteX199" fmla="*/ 1493489 w 12191999"/>
              <a:gd name="connsiteY199" fmla="*/ 6325851 h 6858001"/>
              <a:gd name="connsiteX200" fmla="*/ 1491524 w 12191999"/>
              <a:gd name="connsiteY200" fmla="*/ 6333801 h 6858001"/>
              <a:gd name="connsiteX201" fmla="*/ 1493913 w 12191999"/>
              <a:gd name="connsiteY201" fmla="*/ 6342417 h 6858001"/>
              <a:gd name="connsiteX202" fmla="*/ 1500926 w 12191999"/>
              <a:gd name="connsiteY202" fmla="*/ 6348524 h 6858001"/>
              <a:gd name="connsiteX203" fmla="*/ 1517523 w 12191999"/>
              <a:gd name="connsiteY203" fmla="*/ 6353754 h 6858001"/>
              <a:gd name="connsiteX204" fmla="*/ 1528648 w 12191999"/>
              <a:gd name="connsiteY204" fmla="*/ 6357442 h 6858001"/>
              <a:gd name="connsiteX205" fmla="*/ 1531852 w 12191999"/>
              <a:gd name="connsiteY205" fmla="*/ 6363246 h 6858001"/>
              <a:gd name="connsiteX206" fmla="*/ 1528224 w 12191999"/>
              <a:gd name="connsiteY206" fmla="*/ 6370411 h 6858001"/>
              <a:gd name="connsiteX207" fmla="*/ 1517100 w 12191999"/>
              <a:gd name="connsiteY207" fmla="*/ 6373464 h 6858001"/>
              <a:gd name="connsiteX208" fmla="*/ 1505521 w 12191999"/>
              <a:gd name="connsiteY208" fmla="*/ 6370018 h 6858001"/>
              <a:gd name="connsiteX209" fmla="*/ 1500472 w 12191999"/>
              <a:gd name="connsiteY209" fmla="*/ 6360102 h 6858001"/>
              <a:gd name="connsiteX210" fmla="*/ 1489710 w 12191999"/>
              <a:gd name="connsiteY210" fmla="*/ 6361795 h 6858001"/>
              <a:gd name="connsiteX211" fmla="*/ 1498084 w 12191999"/>
              <a:gd name="connsiteY211" fmla="*/ 6377213 h 6858001"/>
              <a:gd name="connsiteX212" fmla="*/ 1517160 w 12191999"/>
              <a:gd name="connsiteY212" fmla="*/ 6382412 h 6858001"/>
              <a:gd name="connsiteX213" fmla="*/ 1530703 w 12191999"/>
              <a:gd name="connsiteY213" fmla="*/ 6379782 h 6858001"/>
              <a:gd name="connsiteX214" fmla="*/ 1539863 w 12191999"/>
              <a:gd name="connsiteY214" fmla="*/ 6372345 h 6858001"/>
              <a:gd name="connsiteX215" fmla="*/ 1543037 w 12191999"/>
              <a:gd name="connsiteY215" fmla="*/ 6362097 h 6858001"/>
              <a:gd name="connsiteX216" fmla="*/ 1540437 w 12191999"/>
              <a:gd name="connsiteY216" fmla="*/ 6352786 h 6858001"/>
              <a:gd name="connsiteX217" fmla="*/ 1533273 w 12191999"/>
              <a:gd name="connsiteY217" fmla="*/ 6347073 h 6858001"/>
              <a:gd name="connsiteX218" fmla="*/ 1517160 w 12191999"/>
              <a:gd name="connsiteY218" fmla="*/ 6342024 h 6858001"/>
              <a:gd name="connsiteX219" fmla="*/ 1507547 w 12191999"/>
              <a:gd name="connsiteY219" fmla="*/ 6339243 h 6858001"/>
              <a:gd name="connsiteX220" fmla="*/ 1503375 w 12191999"/>
              <a:gd name="connsiteY220" fmla="*/ 6336341 h 6858001"/>
              <a:gd name="connsiteX221" fmla="*/ 1502044 w 12191999"/>
              <a:gd name="connsiteY221" fmla="*/ 6332532 h 6858001"/>
              <a:gd name="connsiteX222" fmla="*/ 1505249 w 12191999"/>
              <a:gd name="connsiteY222" fmla="*/ 6326727 h 6858001"/>
              <a:gd name="connsiteX223" fmla="*/ 1515951 w 12191999"/>
              <a:gd name="connsiteY223" fmla="*/ 6324248 h 6858001"/>
              <a:gd name="connsiteX224" fmla="*/ 1525776 w 12191999"/>
              <a:gd name="connsiteY224" fmla="*/ 6327030 h 6858001"/>
              <a:gd name="connsiteX225" fmla="*/ 1529978 w 12191999"/>
              <a:gd name="connsiteY225" fmla="*/ 6334769 h 6858001"/>
              <a:gd name="connsiteX226" fmla="*/ 1540619 w 12191999"/>
              <a:gd name="connsiteY226" fmla="*/ 6333318 h 6858001"/>
              <a:gd name="connsiteX227" fmla="*/ 1536870 w 12191999"/>
              <a:gd name="connsiteY227" fmla="*/ 6323372 h 6858001"/>
              <a:gd name="connsiteX228" fmla="*/ 1528436 w 12191999"/>
              <a:gd name="connsiteY228" fmla="*/ 6317477 h 6858001"/>
              <a:gd name="connsiteX229" fmla="*/ 1515165 w 12191999"/>
              <a:gd name="connsiteY229" fmla="*/ 6315300 h 6858001"/>
              <a:gd name="connsiteX230" fmla="*/ 1479544 w 12191999"/>
              <a:gd name="connsiteY230" fmla="*/ 6315300 h 6858001"/>
              <a:gd name="connsiteX231" fmla="*/ 1472560 w 12191999"/>
              <a:gd name="connsiteY231" fmla="*/ 6317477 h 6858001"/>
              <a:gd name="connsiteX232" fmla="*/ 1465638 w 12191999"/>
              <a:gd name="connsiteY232" fmla="*/ 6326486 h 6858001"/>
              <a:gd name="connsiteX233" fmla="*/ 1465638 w 12191999"/>
              <a:gd name="connsiteY233" fmla="*/ 6316751 h 6858001"/>
              <a:gd name="connsiteX234" fmla="*/ 1455843 w 12191999"/>
              <a:gd name="connsiteY234" fmla="*/ 6316751 h 6858001"/>
              <a:gd name="connsiteX235" fmla="*/ 1455843 w 12191999"/>
              <a:gd name="connsiteY235" fmla="*/ 6380961 h 6858001"/>
              <a:gd name="connsiteX236" fmla="*/ 1466726 w 12191999"/>
              <a:gd name="connsiteY236" fmla="*/ 6380961 h 6858001"/>
              <a:gd name="connsiteX237" fmla="*/ 1466726 w 12191999"/>
              <a:gd name="connsiteY237" fmla="*/ 6347345 h 6858001"/>
              <a:gd name="connsiteX238" fmla="*/ 1468540 w 12191999"/>
              <a:gd name="connsiteY238" fmla="*/ 6334648 h 6858001"/>
              <a:gd name="connsiteX239" fmla="*/ 1472590 w 12191999"/>
              <a:gd name="connsiteY239" fmla="*/ 6328692 h 6858001"/>
              <a:gd name="connsiteX240" fmla="*/ 1479000 w 12191999"/>
              <a:gd name="connsiteY240" fmla="*/ 6326546 h 6858001"/>
              <a:gd name="connsiteX241" fmla="*/ 1486980 w 12191999"/>
              <a:gd name="connsiteY241" fmla="*/ 6328904 h 6858001"/>
              <a:gd name="connsiteX242" fmla="*/ 1490729 w 12191999"/>
              <a:gd name="connsiteY242" fmla="*/ 6318807 h 6858001"/>
              <a:gd name="connsiteX243" fmla="*/ 1479544 w 12191999"/>
              <a:gd name="connsiteY243" fmla="*/ 6315300 h 6858001"/>
              <a:gd name="connsiteX244" fmla="*/ 1416436 w 12191999"/>
              <a:gd name="connsiteY244" fmla="*/ 6315300 h 6858001"/>
              <a:gd name="connsiteX245" fmla="*/ 1401865 w 12191999"/>
              <a:gd name="connsiteY245" fmla="*/ 6317567 h 6858001"/>
              <a:gd name="connsiteX246" fmla="*/ 1392251 w 12191999"/>
              <a:gd name="connsiteY246" fmla="*/ 6324037 h 6858001"/>
              <a:gd name="connsiteX247" fmla="*/ 1387475 w 12191999"/>
              <a:gd name="connsiteY247" fmla="*/ 6335071 h 6858001"/>
              <a:gd name="connsiteX248" fmla="*/ 1398116 w 12191999"/>
              <a:gd name="connsiteY248" fmla="*/ 6336522 h 6858001"/>
              <a:gd name="connsiteX249" fmla="*/ 1403527 w 12191999"/>
              <a:gd name="connsiteY249" fmla="*/ 6326999 h 6858001"/>
              <a:gd name="connsiteX250" fmla="*/ 1414864 w 12191999"/>
              <a:gd name="connsiteY250" fmla="*/ 6324309 h 6858001"/>
              <a:gd name="connsiteX251" fmla="*/ 1427258 w 12191999"/>
              <a:gd name="connsiteY251" fmla="*/ 6327997 h 6858001"/>
              <a:gd name="connsiteX252" fmla="*/ 1430342 w 12191999"/>
              <a:gd name="connsiteY252" fmla="*/ 6337369 h 6858001"/>
              <a:gd name="connsiteX253" fmla="*/ 1430281 w 12191999"/>
              <a:gd name="connsiteY253" fmla="*/ 6340210 h 6858001"/>
              <a:gd name="connsiteX254" fmla="*/ 1410873 w 12191999"/>
              <a:gd name="connsiteY254" fmla="*/ 6343959 h 6858001"/>
              <a:gd name="connsiteX255" fmla="*/ 1401199 w 12191999"/>
              <a:gd name="connsiteY255" fmla="*/ 6345591 h 6858001"/>
              <a:gd name="connsiteX256" fmla="*/ 1393370 w 12191999"/>
              <a:gd name="connsiteY256" fmla="*/ 6349159 h 6858001"/>
              <a:gd name="connsiteX257" fmla="*/ 1387747 w 12191999"/>
              <a:gd name="connsiteY257" fmla="*/ 6355416 h 6858001"/>
              <a:gd name="connsiteX258" fmla="*/ 1385600 w 12191999"/>
              <a:gd name="connsiteY258" fmla="*/ 6364032 h 6858001"/>
              <a:gd name="connsiteX259" fmla="*/ 1391284 w 12191999"/>
              <a:gd name="connsiteY259" fmla="*/ 6377243 h 6858001"/>
              <a:gd name="connsiteX260" fmla="*/ 1407548 w 12191999"/>
              <a:gd name="connsiteY260" fmla="*/ 6382412 h 6858001"/>
              <a:gd name="connsiteX261" fmla="*/ 1419550 w 12191999"/>
              <a:gd name="connsiteY261" fmla="*/ 6380296 h 6858001"/>
              <a:gd name="connsiteX262" fmla="*/ 1431188 w 12191999"/>
              <a:gd name="connsiteY262" fmla="*/ 6373041 h 6858001"/>
              <a:gd name="connsiteX263" fmla="*/ 1433365 w 12191999"/>
              <a:gd name="connsiteY263" fmla="*/ 6380961 h 6858001"/>
              <a:gd name="connsiteX264" fmla="*/ 1444732 w 12191999"/>
              <a:gd name="connsiteY264" fmla="*/ 6380961 h 6858001"/>
              <a:gd name="connsiteX265" fmla="*/ 1441981 w 12191999"/>
              <a:gd name="connsiteY265" fmla="*/ 6373252 h 6858001"/>
              <a:gd name="connsiteX266" fmla="*/ 1441285 w 12191999"/>
              <a:gd name="connsiteY266" fmla="*/ 6354056 h 6858001"/>
              <a:gd name="connsiteX267" fmla="*/ 1441285 w 12191999"/>
              <a:gd name="connsiteY267" fmla="*/ 6339545 h 6858001"/>
              <a:gd name="connsiteX268" fmla="*/ 1440741 w 12191999"/>
              <a:gd name="connsiteY268" fmla="*/ 6329509 h 6858001"/>
              <a:gd name="connsiteX269" fmla="*/ 1437355 w 12191999"/>
              <a:gd name="connsiteY269" fmla="*/ 6322102 h 6858001"/>
              <a:gd name="connsiteX270" fmla="*/ 1429798 w 12191999"/>
              <a:gd name="connsiteY270" fmla="*/ 6317235 h 6858001"/>
              <a:gd name="connsiteX271" fmla="*/ 1416436 w 12191999"/>
              <a:gd name="connsiteY271" fmla="*/ 6315300 h 6858001"/>
              <a:gd name="connsiteX272" fmla="*/ 1167698 w 12191999"/>
              <a:gd name="connsiteY272" fmla="*/ 6315300 h 6858001"/>
              <a:gd name="connsiteX273" fmla="*/ 1147503 w 12191999"/>
              <a:gd name="connsiteY273" fmla="*/ 6322435 h 6858001"/>
              <a:gd name="connsiteX274" fmla="*/ 1137588 w 12191999"/>
              <a:gd name="connsiteY274" fmla="*/ 6348856 h 6858001"/>
              <a:gd name="connsiteX275" fmla="*/ 1145901 w 12191999"/>
              <a:gd name="connsiteY275" fmla="*/ 6373766 h 6858001"/>
              <a:gd name="connsiteX276" fmla="*/ 1167698 w 12191999"/>
              <a:gd name="connsiteY276" fmla="*/ 6382412 h 6858001"/>
              <a:gd name="connsiteX277" fmla="*/ 1183206 w 12191999"/>
              <a:gd name="connsiteY277" fmla="*/ 6378482 h 6858001"/>
              <a:gd name="connsiteX278" fmla="*/ 1194028 w 12191999"/>
              <a:gd name="connsiteY278" fmla="*/ 6367448 h 6858001"/>
              <a:gd name="connsiteX279" fmla="*/ 1197747 w 12191999"/>
              <a:gd name="connsiteY279" fmla="*/ 6347949 h 6858001"/>
              <a:gd name="connsiteX280" fmla="*/ 1189343 w 12191999"/>
              <a:gd name="connsiteY280" fmla="*/ 6323976 h 6858001"/>
              <a:gd name="connsiteX281" fmla="*/ 1167698 w 12191999"/>
              <a:gd name="connsiteY281" fmla="*/ 6315300 h 6858001"/>
              <a:gd name="connsiteX282" fmla="*/ 1057965 w 12191999"/>
              <a:gd name="connsiteY282" fmla="*/ 6315300 h 6858001"/>
              <a:gd name="connsiteX283" fmla="*/ 1048563 w 12191999"/>
              <a:gd name="connsiteY283" fmla="*/ 6316600 h 6858001"/>
              <a:gd name="connsiteX284" fmla="*/ 1041640 w 12191999"/>
              <a:gd name="connsiteY284" fmla="*/ 6319774 h 6858001"/>
              <a:gd name="connsiteX285" fmla="*/ 1036289 w 12191999"/>
              <a:gd name="connsiteY285" fmla="*/ 6325851 h 6858001"/>
              <a:gd name="connsiteX286" fmla="*/ 1034324 w 12191999"/>
              <a:gd name="connsiteY286" fmla="*/ 6333801 h 6858001"/>
              <a:gd name="connsiteX287" fmla="*/ 1036712 w 12191999"/>
              <a:gd name="connsiteY287" fmla="*/ 6342417 h 6858001"/>
              <a:gd name="connsiteX288" fmla="*/ 1043726 w 12191999"/>
              <a:gd name="connsiteY288" fmla="*/ 6348524 h 6858001"/>
              <a:gd name="connsiteX289" fmla="*/ 1060323 w 12191999"/>
              <a:gd name="connsiteY289" fmla="*/ 6353754 h 6858001"/>
              <a:gd name="connsiteX290" fmla="*/ 1071447 w 12191999"/>
              <a:gd name="connsiteY290" fmla="*/ 6357442 h 6858001"/>
              <a:gd name="connsiteX291" fmla="*/ 1074652 w 12191999"/>
              <a:gd name="connsiteY291" fmla="*/ 6363246 h 6858001"/>
              <a:gd name="connsiteX292" fmla="*/ 1071024 w 12191999"/>
              <a:gd name="connsiteY292" fmla="*/ 6370411 h 6858001"/>
              <a:gd name="connsiteX293" fmla="*/ 1059899 w 12191999"/>
              <a:gd name="connsiteY293" fmla="*/ 6373464 h 6858001"/>
              <a:gd name="connsiteX294" fmla="*/ 1048321 w 12191999"/>
              <a:gd name="connsiteY294" fmla="*/ 6370018 h 6858001"/>
              <a:gd name="connsiteX295" fmla="*/ 1043272 w 12191999"/>
              <a:gd name="connsiteY295" fmla="*/ 6360102 h 6858001"/>
              <a:gd name="connsiteX296" fmla="*/ 1032510 w 12191999"/>
              <a:gd name="connsiteY296" fmla="*/ 6361795 h 6858001"/>
              <a:gd name="connsiteX297" fmla="*/ 1040884 w 12191999"/>
              <a:gd name="connsiteY297" fmla="*/ 6377213 h 6858001"/>
              <a:gd name="connsiteX298" fmla="*/ 1059960 w 12191999"/>
              <a:gd name="connsiteY298" fmla="*/ 6382412 h 6858001"/>
              <a:gd name="connsiteX299" fmla="*/ 1073503 w 12191999"/>
              <a:gd name="connsiteY299" fmla="*/ 6379782 h 6858001"/>
              <a:gd name="connsiteX300" fmla="*/ 1082663 w 12191999"/>
              <a:gd name="connsiteY300" fmla="*/ 6372345 h 6858001"/>
              <a:gd name="connsiteX301" fmla="*/ 1085837 w 12191999"/>
              <a:gd name="connsiteY301" fmla="*/ 6362097 h 6858001"/>
              <a:gd name="connsiteX302" fmla="*/ 1083237 w 12191999"/>
              <a:gd name="connsiteY302" fmla="*/ 6352786 h 6858001"/>
              <a:gd name="connsiteX303" fmla="*/ 1076073 w 12191999"/>
              <a:gd name="connsiteY303" fmla="*/ 6347073 h 6858001"/>
              <a:gd name="connsiteX304" fmla="*/ 1059960 w 12191999"/>
              <a:gd name="connsiteY304" fmla="*/ 6342024 h 6858001"/>
              <a:gd name="connsiteX305" fmla="*/ 1050346 w 12191999"/>
              <a:gd name="connsiteY305" fmla="*/ 6339243 h 6858001"/>
              <a:gd name="connsiteX306" fmla="*/ 1046175 w 12191999"/>
              <a:gd name="connsiteY306" fmla="*/ 6336341 h 6858001"/>
              <a:gd name="connsiteX307" fmla="*/ 1044844 w 12191999"/>
              <a:gd name="connsiteY307" fmla="*/ 6332532 h 6858001"/>
              <a:gd name="connsiteX308" fmla="*/ 1048049 w 12191999"/>
              <a:gd name="connsiteY308" fmla="*/ 6326727 h 6858001"/>
              <a:gd name="connsiteX309" fmla="*/ 1058751 w 12191999"/>
              <a:gd name="connsiteY309" fmla="*/ 6324248 h 6858001"/>
              <a:gd name="connsiteX310" fmla="*/ 1068576 w 12191999"/>
              <a:gd name="connsiteY310" fmla="*/ 6327030 h 6858001"/>
              <a:gd name="connsiteX311" fmla="*/ 1072778 w 12191999"/>
              <a:gd name="connsiteY311" fmla="*/ 6334769 h 6858001"/>
              <a:gd name="connsiteX312" fmla="*/ 1083419 w 12191999"/>
              <a:gd name="connsiteY312" fmla="*/ 6333318 h 6858001"/>
              <a:gd name="connsiteX313" fmla="*/ 1079670 w 12191999"/>
              <a:gd name="connsiteY313" fmla="*/ 6323372 h 6858001"/>
              <a:gd name="connsiteX314" fmla="*/ 1071236 w 12191999"/>
              <a:gd name="connsiteY314" fmla="*/ 6317477 h 6858001"/>
              <a:gd name="connsiteX315" fmla="*/ 1057965 w 12191999"/>
              <a:gd name="connsiteY315" fmla="*/ 6315300 h 6858001"/>
              <a:gd name="connsiteX316" fmla="*/ 991290 w 12191999"/>
              <a:gd name="connsiteY316" fmla="*/ 6315300 h 6858001"/>
              <a:gd name="connsiteX317" fmla="*/ 981888 w 12191999"/>
              <a:gd name="connsiteY317" fmla="*/ 6316600 h 6858001"/>
              <a:gd name="connsiteX318" fmla="*/ 974965 w 12191999"/>
              <a:gd name="connsiteY318" fmla="*/ 6319774 h 6858001"/>
              <a:gd name="connsiteX319" fmla="*/ 969614 w 12191999"/>
              <a:gd name="connsiteY319" fmla="*/ 6325851 h 6858001"/>
              <a:gd name="connsiteX320" fmla="*/ 967649 w 12191999"/>
              <a:gd name="connsiteY320" fmla="*/ 6333801 h 6858001"/>
              <a:gd name="connsiteX321" fmla="*/ 970037 w 12191999"/>
              <a:gd name="connsiteY321" fmla="*/ 6342417 h 6858001"/>
              <a:gd name="connsiteX322" fmla="*/ 977051 w 12191999"/>
              <a:gd name="connsiteY322" fmla="*/ 6348524 h 6858001"/>
              <a:gd name="connsiteX323" fmla="*/ 993648 w 12191999"/>
              <a:gd name="connsiteY323" fmla="*/ 6353754 h 6858001"/>
              <a:gd name="connsiteX324" fmla="*/ 1004772 w 12191999"/>
              <a:gd name="connsiteY324" fmla="*/ 6357442 h 6858001"/>
              <a:gd name="connsiteX325" fmla="*/ 1007977 w 12191999"/>
              <a:gd name="connsiteY325" fmla="*/ 6363246 h 6858001"/>
              <a:gd name="connsiteX326" fmla="*/ 1004349 w 12191999"/>
              <a:gd name="connsiteY326" fmla="*/ 6370411 h 6858001"/>
              <a:gd name="connsiteX327" fmla="*/ 993224 w 12191999"/>
              <a:gd name="connsiteY327" fmla="*/ 6373464 h 6858001"/>
              <a:gd name="connsiteX328" fmla="*/ 981646 w 12191999"/>
              <a:gd name="connsiteY328" fmla="*/ 6370018 h 6858001"/>
              <a:gd name="connsiteX329" fmla="*/ 976598 w 12191999"/>
              <a:gd name="connsiteY329" fmla="*/ 6360102 h 6858001"/>
              <a:gd name="connsiteX330" fmla="*/ 965835 w 12191999"/>
              <a:gd name="connsiteY330" fmla="*/ 6361795 h 6858001"/>
              <a:gd name="connsiteX331" fmla="*/ 974209 w 12191999"/>
              <a:gd name="connsiteY331" fmla="*/ 6377213 h 6858001"/>
              <a:gd name="connsiteX332" fmla="*/ 993285 w 12191999"/>
              <a:gd name="connsiteY332" fmla="*/ 6382412 h 6858001"/>
              <a:gd name="connsiteX333" fmla="*/ 1006828 w 12191999"/>
              <a:gd name="connsiteY333" fmla="*/ 6379782 h 6858001"/>
              <a:gd name="connsiteX334" fmla="*/ 1015988 w 12191999"/>
              <a:gd name="connsiteY334" fmla="*/ 6372345 h 6858001"/>
              <a:gd name="connsiteX335" fmla="*/ 1019162 w 12191999"/>
              <a:gd name="connsiteY335" fmla="*/ 6362097 h 6858001"/>
              <a:gd name="connsiteX336" fmla="*/ 1016562 w 12191999"/>
              <a:gd name="connsiteY336" fmla="*/ 6352786 h 6858001"/>
              <a:gd name="connsiteX337" fmla="*/ 1009398 w 12191999"/>
              <a:gd name="connsiteY337" fmla="*/ 6347073 h 6858001"/>
              <a:gd name="connsiteX338" fmla="*/ 993285 w 12191999"/>
              <a:gd name="connsiteY338" fmla="*/ 6342024 h 6858001"/>
              <a:gd name="connsiteX339" fmla="*/ 983671 w 12191999"/>
              <a:gd name="connsiteY339" fmla="*/ 6339243 h 6858001"/>
              <a:gd name="connsiteX340" fmla="*/ 979500 w 12191999"/>
              <a:gd name="connsiteY340" fmla="*/ 6336341 h 6858001"/>
              <a:gd name="connsiteX341" fmla="*/ 978170 w 12191999"/>
              <a:gd name="connsiteY341" fmla="*/ 6332532 h 6858001"/>
              <a:gd name="connsiteX342" fmla="*/ 981374 w 12191999"/>
              <a:gd name="connsiteY342" fmla="*/ 6326727 h 6858001"/>
              <a:gd name="connsiteX343" fmla="*/ 992076 w 12191999"/>
              <a:gd name="connsiteY343" fmla="*/ 6324248 h 6858001"/>
              <a:gd name="connsiteX344" fmla="*/ 1001900 w 12191999"/>
              <a:gd name="connsiteY344" fmla="*/ 6327030 h 6858001"/>
              <a:gd name="connsiteX345" fmla="*/ 1006103 w 12191999"/>
              <a:gd name="connsiteY345" fmla="*/ 6334769 h 6858001"/>
              <a:gd name="connsiteX346" fmla="*/ 1016744 w 12191999"/>
              <a:gd name="connsiteY346" fmla="*/ 6333318 h 6858001"/>
              <a:gd name="connsiteX347" fmla="*/ 1012995 w 12191999"/>
              <a:gd name="connsiteY347" fmla="*/ 6323372 h 6858001"/>
              <a:gd name="connsiteX348" fmla="*/ 1004561 w 12191999"/>
              <a:gd name="connsiteY348" fmla="*/ 6317477 h 6858001"/>
              <a:gd name="connsiteX349" fmla="*/ 991290 w 12191999"/>
              <a:gd name="connsiteY349" fmla="*/ 6315300 h 6858001"/>
              <a:gd name="connsiteX350" fmla="*/ 929875 w 12191999"/>
              <a:gd name="connsiteY350" fmla="*/ 6315300 h 6858001"/>
              <a:gd name="connsiteX351" fmla="*/ 908229 w 12191999"/>
              <a:gd name="connsiteY351" fmla="*/ 6324248 h 6858001"/>
              <a:gd name="connsiteX352" fmla="*/ 899886 w 12191999"/>
              <a:gd name="connsiteY352" fmla="*/ 6349400 h 6858001"/>
              <a:gd name="connsiteX353" fmla="*/ 908139 w 12191999"/>
              <a:gd name="connsiteY353" fmla="*/ 6373736 h 6858001"/>
              <a:gd name="connsiteX354" fmla="*/ 930479 w 12191999"/>
              <a:gd name="connsiteY354" fmla="*/ 6382412 h 6858001"/>
              <a:gd name="connsiteX355" fmla="*/ 948860 w 12191999"/>
              <a:gd name="connsiteY355" fmla="*/ 6376971 h 6858001"/>
              <a:gd name="connsiteX356" fmla="*/ 958715 w 12191999"/>
              <a:gd name="connsiteY356" fmla="*/ 6361674 h 6858001"/>
              <a:gd name="connsiteX357" fmla="*/ 947469 w 12191999"/>
              <a:gd name="connsiteY357" fmla="*/ 6360283 h 6858001"/>
              <a:gd name="connsiteX358" fmla="*/ 940758 w 12191999"/>
              <a:gd name="connsiteY358" fmla="*/ 6370320 h 6858001"/>
              <a:gd name="connsiteX359" fmla="*/ 930540 w 12191999"/>
              <a:gd name="connsiteY359" fmla="*/ 6373464 h 6858001"/>
              <a:gd name="connsiteX360" fmla="*/ 917117 w 12191999"/>
              <a:gd name="connsiteY360" fmla="*/ 6367841 h 6858001"/>
              <a:gd name="connsiteX361" fmla="*/ 911132 w 12191999"/>
              <a:gd name="connsiteY361" fmla="*/ 6351637 h 6858001"/>
              <a:gd name="connsiteX362" fmla="*/ 959017 w 12191999"/>
              <a:gd name="connsiteY362" fmla="*/ 6351637 h 6858001"/>
              <a:gd name="connsiteX363" fmla="*/ 959078 w 12191999"/>
              <a:gd name="connsiteY363" fmla="*/ 6348735 h 6858001"/>
              <a:gd name="connsiteX364" fmla="*/ 950915 w 12191999"/>
              <a:gd name="connsiteY364" fmla="*/ 6324067 h 6858001"/>
              <a:gd name="connsiteX365" fmla="*/ 929875 w 12191999"/>
              <a:gd name="connsiteY365" fmla="*/ 6315300 h 6858001"/>
              <a:gd name="connsiteX366" fmla="*/ 867069 w 12191999"/>
              <a:gd name="connsiteY366" fmla="*/ 6315300 h 6858001"/>
              <a:gd name="connsiteX367" fmla="*/ 846633 w 12191999"/>
              <a:gd name="connsiteY367" fmla="*/ 6325881 h 6858001"/>
              <a:gd name="connsiteX368" fmla="*/ 846633 w 12191999"/>
              <a:gd name="connsiteY368" fmla="*/ 6316751 h 6858001"/>
              <a:gd name="connsiteX369" fmla="*/ 836839 w 12191999"/>
              <a:gd name="connsiteY369" fmla="*/ 6316751 h 6858001"/>
              <a:gd name="connsiteX370" fmla="*/ 836839 w 12191999"/>
              <a:gd name="connsiteY370" fmla="*/ 6380961 h 6858001"/>
              <a:gd name="connsiteX371" fmla="*/ 847722 w 12191999"/>
              <a:gd name="connsiteY371" fmla="*/ 6380961 h 6858001"/>
              <a:gd name="connsiteX372" fmla="*/ 847722 w 12191999"/>
              <a:gd name="connsiteY372" fmla="*/ 6345894 h 6858001"/>
              <a:gd name="connsiteX373" fmla="*/ 852770 w 12191999"/>
              <a:gd name="connsiteY373" fmla="*/ 6329146 h 6858001"/>
              <a:gd name="connsiteX374" fmla="*/ 864772 w 12191999"/>
              <a:gd name="connsiteY374" fmla="*/ 6324732 h 6858001"/>
              <a:gd name="connsiteX375" fmla="*/ 872360 w 12191999"/>
              <a:gd name="connsiteY375" fmla="*/ 6326697 h 6858001"/>
              <a:gd name="connsiteX376" fmla="*/ 876864 w 12191999"/>
              <a:gd name="connsiteY376" fmla="*/ 6331957 h 6858001"/>
              <a:gd name="connsiteX377" fmla="*/ 878134 w 12191999"/>
              <a:gd name="connsiteY377" fmla="*/ 6341903 h 6858001"/>
              <a:gd name="connsiteX378" fmla="*/ 878134 w 12191999"/>
              <a:gd name="connsiteY378" fmla="*/ 6380961 h 6858001"/>
              <a:gd name="connsiteX379" fmla="*/ 889017 w 12191999"/>
              <a:gd name="connsiteY379" fmla="*/ 6380961 h 6858001"/>
              <a:gd name="connsiteX380" fmla="*/ 889017 w 12191999"/>
              <a:gd name="connsiteY380" fmla="*/ 6341480 h 6858001"/>
              <a:gd name="connsiteX381" fmla="*/ 888412 w 12191999"/>
              <a:gd name="connsiteY381" fmla="*/ 6330899 h 6858001"/>
              <a:gd name="connsiteX382" fmla="*/ 885026 w 12191999"/>
              <a:gd name="connsiteY382" fmla="*/ 6322858 h 6858001"/>
              <a:gd name="connsiteX383" fmla="*/ 877741 w 12191999"/>
              <a:gd name="connsiteY383" fmla="*/ 6317386 h 6858001"/>
              <a:gd name="connsiteX384" fmla="*/ 867069 w 12191999"/>
              <a:gd name="connsiteY384" fmla="*/ 6315300 h 6858001"/>
              <a:gd name="connsiteX385" fmla="*/ 762690 w 12191999"/>
              <a:gd name="connsiteY385" fmla="*/ 6315300 h 6858001"/>
              <a:gd name="connsiteX386" fmla="*/ 753288 w 12191999"/>
              <a:gd name="connsiteY386" fmla="*/ 6316600 h 6858001"/>
              <a:gd name="connsiteX387" fmla="*/ 746365 w 12191999"/>
              <a:gd name="connsiteY387" fmla="*/ 6319774 h 6858001"/>
              <a:gd name="connsiteX388" fmla="*/ 741014 w 12191999"/>
              <a:gd name="connsiteY388" fmla="*/ 6325851 h 6858001"/>
              <a:gd name="connsiteX389" fmla="*/ 739049 w 12191999"/>
              <a:gd name="connsiteY389" fmla="*/ 6333801 h 6858001"/>
              <a:gd name="connsiteX390" fmla="*/ 741437 w 12191999"/>
              <a:gd name="connsiteY390" fmla="*/ 6342417 h 6858001"/>
              <a:gd name="connsiteX391" fmla="*/ 748451 w 12191999"/>
              <a:gd name="connsiteY391" fmla="*/ 6348524 h 6858001"/>
              <a:gd name="connsiteX392" fmla="*/ 765048 w 12191999"/>
              <a:gd name="connsiteY392" fmla="*/ 6353754 h 6858001"/>
              <a:gd name="connsiteX393" fmla="*/ 776172 w 12191999"/>
              <a:gd name="connsiteY393" fmla="*/ 6357442 h 6858001"/>
              <a:gd name="connsiteX394" fmla="*/ 779377 w 12191999"/>
              <a:gd name="connsiteY394" fmla="*/ 6363246 h 6858001"/>
              <a:gd name="connsiteX395" fmla="*/ 775749 w 12191999"/>
              <a:gd name="connsiteY395" fmla="*/ 6370411 h 6858001"/>
              <a:gd name="connsiteX396" fmla="*/ 764624 w 12191999"/>
              <a:gd name="connsiteY396" fmla="*/ 6373464 h 6858001"/>
              <a:gd name="connsiteX397" fmla="*/ 753046 w 12191999"/>
              <a:gd name="connsiteY397" fmla="*/ 6370018 h 6858001"/>
              <a:gd name="connsiteX398" fmla="*/ 747997 w 12191999"/>
              <a:gd name="connsiteY398" fmla="*/ 6360102 h 6858001"/>
              <a:gd name="connsiteX399" fmla="*/ 737235 w 12191999"/>
              <a:gd name="connsiteY399" fmla="*/ 6361795 h 6858001"/>
              <a:gd name="connsiteX400" fmla="*/ 745609 w 12191999"/>
              <a:gd name="connsiteY400" fmla="*/ 6377213 h 6858001"/>
              <a:gd name="connsiteX401" fmla="*/ 764685 w 12191999"/>
              <a:gd name="connsiteY401" fmla="*/ 6382412 h 6858001"/>
              <a:gd name="connsiteX402" fmla="*/ 778228 w 12191999"/>
              <a:gd name="connsiteY402" fmla="*/ 6379782 h 6858001"/>
              <a:gd name="connsiteX403" fmla="*/ 787388 w 12191999"/>
              <a:gd name="connsiteY403" fmla="*/ 6372345 h 6858001"/>
              <a:gd name="connsiteX404" fmla="*/ 790562 w 12191999"/>
              <a:gd name="connsiteY404" fmla="*/ 6362097 h 6858001"/>
              <a:gd name="connsiteX405" fmla="*/ 787962 w 12191999"/>
              <a:gd name="connsiteY405" fmla="*/ 6352786 h 6858001"/>
              <a:gd name="connsiteX406" fmla="*/ 780798 w 12191999"/>
              <a:gd name="connsiteY406" fmla="*/ 6347073 h 6858001"/>
              <a:gd name="connsiteX407" fmla="*/ 764685 w 12191999"/>
              <a:gd name="connsiteY407" fmla="*/ 6342024 h 6858001"/>
              <a:gd name="connsiteX408" fmla="*/ 755071 w 12191999"/>
              <a:gd name="connsiteY408" fmla="*/ 6339243 h 6858001"/>
              <a:gd name="connsiteX409" fmla="*/ 750900 w 12191999"/>
              <a:gd name="connsiteY409" fmla="*/ 6336341 h 6858001"/>
              <a:gd name="connsiteX410" fmla="*/ 749569 w 12191999"/>
              <a:gd name="connsiteY410" fmla="*/ 6332532 h 6858001"/>
              <a:gd name="connsiteX411" fmla="*/ 752774 w 12191999"/>
              <a:gd name="connsiteY411" fmla="*/ 6326727 h 6858001"/>
              <a:gd name="connsiteX412" fmla="*/ 763476 w 12191999"/>
              <a:gd name="connsiteY412" fmla="*/ 6324248 h 6858001"/>
              <a:gd name="connsiteX413" fmla="*/ 773301 w 12191999"/>
              <a:gd name="connsiteY413" fmla="*/ 6327030 h 6858001"/>
              <a:gd name="connsiteX414" fmla="*/ 777503 w 12191999"/>
              <a:gd name="connsiteY414" fmla="*/ 6334769 h 6858001"/>
              <a:gd name="connsiteX415" fmla="*/ 788144 w 12191999"/>
              <a:gd name="connsiteY415" fmla="*/ 6333318 h 6858001"/>
              <a:gd name="connsiteX416" fmla="*/ 784395 w 12191999"/>
              <a:gd name="connsiteY416" fmla="*/ 6323372 h 6858001"/>
              <a:gd name="connsiteX417" fmla="*/ 775961 w 12191999"/>
              <a:gd name="connsiteY417" fmla="*/ 6317477 h 6858001"/>
              <a:gd name="connsiteX418" fmla="*/ 762690 w 12191999"/>
              <a:gd name="connsiteY418" fmla="*/ 6315300 h 6858001"/>
              <a:gd name="connsiteX419" fmla="*/ 525681 w 12191999"/>
              <a:gd name="connsiteY419" fmla="*/ 6301636 h 6858001"/>
              <a:gd name="connsiteX420" fmla="*/ 531969 w 12191999"/>
              <a:gd name="connsiteY420" fmla="*/ 6320016 h 6858001"/>
              <a:gd name="connsiteX421" fmla="*/ 541219 w 12191999"/>
              <a:gd name="connsiteY421" fmla="*/ 6344563 h 6858001"/>
              <a:gd name="connsiteX422" fmla="*/ 511170 w 12191999"/>
              <a:gd name="connsiteY422" fmla="*/ 6344563 h 6858001"/>
              <a:gd name="connsiteX423" fmla="*/ 520904 w 12191999"/>
              <a:gd name="connsiteY423" fmla="*/ 6318565 h 6858001"/>
              <a:gd name="connsiteX424" fmla="*/ 525681 w 12191999"/>
              <a:gd name="connsiteY424" fmla="*/ 6301636 h 6858001"/>
              <a:gd name="connsiteX425" fmla="*/ 1847396 w 12191999"/>
              <a:gd name="connsiteY425" fmla="*/ 6292325 h 6858001"/>
              <a:gd name="connsiteX426" fmla="*/ 1847396 w 12191999"/>
              <a:gd name="connsiteY426" fmla="*/ 6380961 h 6858001"/>
              <a:gd name="connsiteX427" fmla="*/ 1902778 w 12191999"/>
              <a:gd name="connsiteY427" fmla="*/ 6380961 h 6858001"/>
              <a:gd name="connsiteX428" fmla="*/ 1902778 w 12191999"/>
              <a:gd name="connsiteY428" fmla="*/ 6370501 h 6858001"/>
              <a:gd name="connsiteX429" fmla="*/ 1859125 w 12191999"/>
              <a:gd name="connsiteY429" fmla="*/ 6370501 h 6858001"/>
              <a:gd name="connsiteX430" fmla="*/ 1859125 w 12191999"/>
              <a:gd name="connsiteY430" fmla="*/ 6292325 h 6858001"/>
              <a:gd name="connsiteX431" fmla="*/ 1676067 w 12191999"/>
              <a:gd name="connsiteY431" fmla="*/ 6292325 h 6858001"/>
              <a:gd name="connsiteX432" fmla="*/ 1676067 w 12191999"/>
              <a:gd name="connsiteY432" fmla="*/ 6380961 h 6858001"/>
              <a:gd name="connsiteX433" fmla="*/ 1687373 w 12191999"/>
              <a:gd name="connsiteY433" fmla="*/ 6380961 h 6858001"/>
              <a:gd name="connsiteX434" fmla="*/ 1687373 w 12191999"/>
              <a:gd name="connsiteY434" fmla="*/ 6305505 h 6858001"/>
              <a:gd name="connsiteX435" fmla="*/ 1713008 w 12191999"/>
              <a:gd name="connsiteY435" fmla="*/ 6380961 h 6858001"/>
              <a:gd name="connsiteX436" fmla="*/ 1723589 w 12191999"/>
              <a:gd name="connsiteY436" fmla="*/ 6380961 h 6858001"/>
              <a:gd name="connsiteX437" fmla="*/ 1749346 w 12191999"/>
              <a:gd name="connsiteY437" fmla="*/ 6306775 h 6858001"/>
              <a:gd name="connsiteX438" fmla="*/ 1749346 w 12191999"/>
              <a:gd name="connsiteY438" fmla="*/ 6380961 h 6858001"/>
              <a:gd name="connsiteX439" fmla="*/ 1760652 w 12191999"/>
              <a:gd name="connsiteY439" fmla="*/ 6380961 h 6858001"/>
              <a:gd name="connsiteX440" fmla="*/ 1760652 w 12191999"/>
              <a:gd name="connsiteY440" fmla="*/ 6292325 h 6858001"/>
              <a:gd name="connsiteX441" fmla="*/ 1744872 w 12191999"/>
              <a:gd name="connsiteY441" fmla="*/ 6292325 h 6858001"/>
              <a:gd name="connsiteX442" fmla="*/ 1723650 w 12191999"/>
              <a:gd name="connsiteY442" fmla="*/ 6353995 h 6858001"/>
              <a:gd name="connsiteX443" fmla="*/ 1718933 w 12191999"/>
              <a:gd name="connsiteY443" fmla="*/ 6368204 h 6858001"/>
              <a:gd name="connsiteX444" fmla="*/ 1714701 w 12191999"/>
              <a:gd name="connsiteY444" fmla="*/ 6355084 h 6858001"/>
              <a:gd name="connsiteX445" fmla="*/ 1693721 w 12191999"/>
              <a:gd name="connsiteY445" fmla="*/ 6292325 h 6858001"/>
              <a:gd name="connsiteX446" fmla="*/ 1560739 w 12191999"/>
              <a:gd name="connsiteY446" fmla="*/ 6292325 h 6858001"/>
              <a:gd name="connsiteX447" fmla="*/ 1560739 w 12191999"/>
              <a:gd name="connsiteY447" fmla="*/ 6380961 h 6858001"/>
              <a:gd name="connsiteX448" fmla="*/ 1571622 w 12191999"/>
              <a:gd name="connsiteY448" fmla="*/ 6380961 h 6858001"/>
              <a:gd name="connsiteX449" fmla="*/ 1571622 w 12191999"/>
              <a:gd name="connsiteY449" fmla="*/ 6345833 h 6858001"/>
              <a:gd name="connsiteX450" fmla="*/ 1573435 w 12191999"/>
              <a:gd name="connsiteY450" fmla="*/ 6333983 h 6858001"/>
              <a:gd name="connsiteX451" fmla="*/ 1579512 w 12191999"/>
              <a:gd name="connsiteY451" fmla="*/ 6327181 h 6858001"/>
              <a:gd name="connsiteX452" fmla="*/ 1588611 w 12191999"/>
              <a:gd name="connsiteY452" fmla="*/ 6324672 h 6858001"/>
              <a:gd name="connsiteX453" fmla="*/ 1598618 w 12191999"/>
              <a:gd name="connsiteY453" fmla="*/ 6328390 h 6858001"/>
              <a:gd name="connsiteX454" fmla="*/ 1602155 w 12191999"/>
              <a:gd name="connsiteY454" fmla="*/ 6340271 h 6858001"/>
              <a:gd name="connsiteX455" fmla="*/ 1602155 w 12191999"/>
              <a:gd name="connsiteY455" fmla="*/ 6380961 h 6858001"/>
              <a:gd name="connsiteX456" fmla="*/ 1613038 w 12191999"/>
              <a:gd name="connsiteY456" fmla="*/ 6380961 h 6858001"/>
              <a:gd name="connsiteX457" fmla="*/ 1613038 w 12191999"/>
              <a:gd name="connsiteY457" fmla="*/ 6340271 h 6858001"/>
              <a:gd name="connsiteX458" fmla="*/ 1610771 w 12191999"/>
              <a:gd name="connsiteY458" fmla="*/ 6325881 h 6858001"/>
              <a:gd name="connsiteX459" fmla="*/ 1603243 w 12191999"/>
              <a:gd name="connsiteY459" fmla="*/ 6318112 h 6858001"/>
              <a:gd name="connsiteX460" fmla="*/ 1590848 w 12191999"/>
              <a:gd name="connsiteY460" fmla="*/ 6315300 h 6858001"/>
              <a:gd name="connsiteX461" fmla="*/ 1571622 w 12191999"/>
              <a:gd name="connsiteY461" fmla="*/ 6324128 h 6858001"/>
              <a:gd name="connsiteX462" fmla="*/ 1571622 w 12191999"/>
              <a:gd name="connsiteY462" fmla="*/ 6292325 h 6858001"/>
              <a:gd name="connsiteX463" fmla="*/ 1285542 w 12191999"/>
              <a:gd name="connsiteY463" fmla="*/ 6292325 h 6858001"/>
              <a:gd name="connsiteX464" fmla="*/ 1285542 w 12191999"/>
              <a:gd name="connsiteY464" fmla="*/ 6380961 h 6858001"/>
              <a:gd name="connsiteX465" fmla="*/ 1296848 w 12191999"/>
              <a:gd name="connsiteY465" fmla="*/ 6380961 h 6858001"/>
              <a:gd name="connsiteX466" fmla="*/ 1296848 w 12191999"/>
              <a:gd name="connsiteY466" fmla="*/ 6305505 h 6858001"/>
              <a:gd name="connsiteX467" fmla="*/ 1322484 w 12191999"/>
              <a:gd name="connsiteY467" fmla="*/ 6380961 h 6858001"/>
              <a:gd name="connsiteX468" fmla="*/ 1333064 w 12191999"/>
              <a:gd name="connsiteY468" fmla="*/ 6380961 h 6858001"/>
              <a:gd name="connsiteX469" fmla="*/ 1358821 w 12191999"/>
              <a:gd name="connsiteY469" fmla="*/ 6306775 h 6858001"/>
              <a:gd name="connsiteX470" fmla="*/ 1358821 w 12191999"/>
              <a:gd name="connsiteY470" fmla="*/ 6380961 h 6858001"/>
              <a:gd name="connsiteX471" fmla="*/ 1370127 w 12191999"/>
              <a:gd name="connsiteY471" fmla="*/ 6380961 h 6858001"/>
              <a:gd name="connsiteX472" fmla="*/ 1370127 w 12191999"/>
              <a:gd name="connsiteY472" fmla="*/ 6292325 h 6858001"/>
              <a:gd name="connsiteX473" fmla="*/ 1354347 w 12191999"/>
              <a:gd name="connsiteY473" fmla="*/ 6292325 h 6858001"/>
              <a:gd name="connsiteX474" fmla="*/ 1333125 w 12191999"/>
              <a:gd name="connsiteY474" fmla="*/ 6353995 h 6858001"/>
              <a:gd name="connsiteX475" fmla="*/ 1328409 w 12191999"/>
              <a:gd name="connsiteY475" fmla="*/ 6368204 h 6858001"/>
              <a:gd name="connsiteX476" fmla="*/ 1324176 w 12191999"/>
              <a:gd name="connsiteY476" fmla="*/ 6355084 h 6858001"/>
              <a:gd name="connsiteX477" fmla="*/ 1303196 w 12191999"/>
              <a:gd name="connsiteY477" fmla="*/ 6292325 h 6858001"/>
              <a:gd name="connsiteX478" fmla="*/ 808324 w 12191999"/>
              <a:gd name="connsiteY478" fmla="*/ 6292325 h 6858001"/>
              <a:gd name="connsiteX479" fmla="*/ 808324 w 12191999"/>
              <a:gd name="connsiteY479" fmla="*/ 6304840 h 6858001"/>
              <a:gd name="connsiteX480" fmla="*/ 819207 w 12191999"/>
              <a:gd name="connsiteY480" fmla="*/ 6304840 h 6858001"/>
              <a:gd name="connsiteX481" fmla="*/ 819207 w 12191999"/>
              <a:gd name="connsiteY481" fmla="*/ 6292325 h 6858001"/>
              <a:gd name="connsiteX482" fmla="*/ 608178 w 12191999"/>
              <a:gd name="connsiteY482" fmla="*/ 6292325 h 6858001"/>
              <a:gd name="connsiteX483" fmla="*/ 608178 w 12191999"/>
              <a:gd name="connsiteY483" fmla="*/ 6380961 h 6858001"/>
              <a:gd name="connsiteX484" fmla="*/ 618275 w 12191999"/>
              <a:gd name="connsiteY484" fmla="*/ 6380961 h 6858001"/>
              <a:gd name="connsiteX485" fmla="*/ 618275 w 12191999"/>
              <a:gd name="connsiteY485" fmla="*/ 6372920 h 6858001"/>
              <a:gd name="connsiteX486" fmla="*/ 636111 w 12191999"/>
              <a:gd name="connsiteY486" fmla="*/ 6382412 h 6858001"/>
              <a:gd name="connsiteX487" fmla="*/ 655701 w 12191999"/>
              <a:gd name="connsiteY487" fmla="*/ 6373404 h 6858001"/>
              <a:gd name="connsiteX488" fmla="*/ 663863 w 12191999"/>
              <a:gd name="connsiteY488" fmla="*/ 6347889 h 6858001"/>
              <a:gd name="connsiteX489" fmla="*/ 661928 w 12191999"/>
              <a:gd name="connsiteY489" fmla="*/ 6334829 h 6858001"/>
              <a:gd name="connsiteX490" fmla="*/ 656577 w 12191999"/>
              <a:gd name="connsiteY490" fmla="*/ 6324400 h 6858001"/>
              <a:gd name="connsiteX491" fmla="*/ 647871 w 12191999"/>
              <a:gd name="connsiteY491" fmla="*/ 6317688 h 6858001"/>
              <a:gd name="connsiteX492" fmla="*/ 636655 w 12191999"/>
              <a:gd name="connsiteY492" fmla="*/ 6315300 h 6858001"/>
              <a:gd name="connsiteX493" fmla="*/ 619061 w 12191999"/>
              <a:gd name="connsiteY493" fmla="*/ 6323946 h 6858001"/>
              <a:gd name="connsiteX494" fmla="*/ 619061 w 12191999"/>
              <a:gd name="connsiteY494" fmla="*/ 6292325 h 6858001"/>
              <a:gd name="connsiteX495" fmla="*/ 519635 w 12191999"/>
              <a:gd name="connsiteY495" fmla="*/ 6292325 h 6858001"/>
              <a:gd name="connsiteX496" fmla="*/ 485595 w 12191999"/>
              <a:gd name="connsiteY496" fmla="*/ 6380961 h 6858001"/>
              <a:gd name="connsiteX497" fmla="*/ 498050 w 12191999"/>
              <a:gd name="connsiteY497" fmla="*/ 6380961 h 6858001"/>
              <a:gd name="connsiteX498" fmla="*/ 507784 w 12191999"/>
              <a:gd name="connsiteY498" fmla="*/ 6354116 h 6858001"/>
              <a:gd name="connsiteX499" fmla="*/ 544847 w 12191999"/>
              <a:gd name="connsiteY499" fmla="*/ 6354116 h 6858001"/>
              <a:gd name="connsiteX500" fmla="*/ 555186 w 12191999"/>
              <a:gd name="connsiteY500" fmla="*/ 6380961 h 6858001"/>
              <a:gd name="connsiteX501" fmla="*/ 568548 w 12191999"/>
              <a:gd name="connsiteY501" fmla="*/ 6380961 h 6858001"/>
              <a:gd name="connsiteX502" fmla="*/ 532271 w 12191999"/>
              <a:gd name="connsiteY502" fmla="*/ 6292325 h 6858001"/>
              <a:gd name="connsiteX503" fmla="*/ 1228689 w 12191999"/>
              <a:gd name="connsiteY503" fmla="*/ 6290813 h 6858001"/>
              <a:gd name="connsiteX504" fmla="*/ 1217594 w 12191999"/>
              <a:gd name="connsiteY504" fmla="*/ 6293443 h 6858001"/>
              <a:gd name="connsiteX505" fmla="*/ 1212062 w 12191999"/>
              <a:gd name="connsiteY505" fmla="*/ 6300306 h 6858001"/>
              <a:gd name="connsiteX506" fmla="*/ 1210914 w 12191999"/>
              <a:gd name="connsiteY506" fmla="*/ 6309919 h 6858001"/>
              <a:gd name="connsiteX507" fmla="*/ 1210914 w 12191999"/>
              <a:gd name="connsiteY507" fmla="*/ 6316751 h 6858001"/>
              <a:gd name="connsiteX508" fmla="*/ 1201300 w 12191999"/>
              <a:gd name="connsiteY508" fmla="*/ 6316751 h 6858001"/>
              <a:gd name="connsiteX509" fmla="*/ 1201300 w 12191999"/>
              <a:gd name="connsiteY509" fmla="*/ 6325216 h 6858001"/>
              <a:gd name="connsiteX510" fmla="*/ 1210914 w 12191999"/>
              <a:gd name="connsiteY510" fmla="*/ 6325216 h 6858001"/>
              <a:gd name="connsiteX511" fmla="*/ 1210914 w 12191999"/>
              <a:gd name="connsiteY511" fmla="*/ 6380961 h 6858001"/>
              <a:gd name="connsiteX512" fmla="*/ 1221736 w 12191999"/>
              <a:gd name="connsiteY512" fmla="*/ 6380961 h 6858001"/>
              <a:gd name="connsiteX513" fmla="*/ 1221736 w 12191999"/>
              <a:gd name="connsiteY513" fmla="*/ 6325216 h 6858001"/>
              <a:gd name="connsiteX514" fmla="*/ 1234252 w 12191999"/>
              <a:gd name="connsiteY514" fmla="*/ 6325216 h 6858001"/>
              <a:gd name="connsiteX515" fmla="*/ 1234252 w 12191999"/>
              <a:gd name="connsiteY515" fmla="*/ 6316751 h 6858001"/>
              <a:gd name="connsiteX516" fmla="*/ 1221736 w 12191999"/>
              <a:gd name="connsiteY516" fmla="*/ 6316751 h 6858001"/>
              <a:gd name="connsiteX517" fmla="*/ 1221736 w 12191999"/>
              <a:gd name="connsiteY517" fmla="*/ 6310826 h 6858001"/>
              <a:gd name="connsiteX518" fmla="*/ 1223792 w 12191999"/>
              <a:gd name="connsiteY518" fmla="*/ 6302906 h 6858001"/>
              <a:gd name="connsiteX519" fmla="*/ 1230805 w 12191999"/>
              <a:gd name="connsiteY519" fmla="*/ 6300789 h 6858001"/>
              <a:gd name="connsiteX520" fmla="*/ 1237214 w 12191999"/>
              <a:gd name="connsiteY520" fmla="*/ 6301394 h 6858001"/>
              <a:gd name="connsiteX521" fmla="*/ 1238847 w 12191999"/>
              <a:gd name="connsiteY521" fmla="*/ 6291902 h 6858001"/>
              <a:gd name="connsiteX522" fmla="*/ 1228689 w 12191999"/>
              <a:gd name="connsiteY522" fmla="*/ 6290813 h 6858001"/>
              <a:gd name="connsiteX523" fmla="*/ 7175501 w 12191999"/>
              <a:gd name="connsiteY523" fmla="*/ 1 h 6858001"/>
              <a:gd name="connsiteX524" fmla="*/ 12191999 w 12191999"/>
              <a:gd name="connsiteY524" fmla="*/ 1 h 6858001"/>
              <a:gd name="connsiteX525" fmla="*/ 12191999 w 12191999"/>
              <a:gd name="connsiteY525" fmla="*/ 6858001 h 6858001"/>
              <a:gd name="connsiteX526" fmla="*/ 1 w 12191999"/>
              <a:gd name="connsiteY526" fmla="*/ 6858001 h 6858001"/>
              <a:gd name="connsiteX527" fmla="*/ 1 w 12191999"/>
              <a:gd name="connsiteY527" fmla="*/ 5752619 h 6858001"/>
              <a:gd name="connsiteX528" fmla="*/ 7175501 w 12191999"/>
              <a:gd name="connsiteY528" fmla="*/ 5752619 h 6858001"/>
              <a:gd name="connsiteX529" fmla="*/ 0 w 12191999"/>
              <a:gd name="connsiteY529" fmla="*/ 0 h 6858001"/>
              <a:gd name="connsiteX530" fmla="*/ 7175501 w 12191999"/>
              <a:gd name="connsiteY530" fmla="*/ 0 h 6858001"/>
              <a:gd name="connsiteX531" fmla="*/ 7175501 w 12191999"/>
              <a:gd name="connsiteY531" fmla="*/ 1 h 6858001"/>
              <a:gd name="connsiteX532" fmla="*/ 1 w 12191999"/>
              <a:gd name="connsiteY532" fmla="*/ 1 h 6858001"/>
              <a:gd name="connsiteX533" fmla="*/ 1 w 12191999"/>
              <a:gd name="connsiteY533" fmla="*/ 5752619 h 6858001"/>
              <a:gd name="connsiteX534" fmla="*/ 0 w 12191999"/>
              <a:gd name="connsiteY534" fmla="*/ 575261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Lst>
            <a:rect l="l" t="t" r="r" b="b"/>
            <a:pathLst>
              <a:path w="12191999" h="6858001">
                <a:moveTo>
                  <a:pt x="2154182" y="6348735"/>
                </a:moveTo>
                <a:lnTo>
                  <a:pt x="2154182" y="6352726"/>
                </a:lnTo>
                <a:cubicBezTo>
                  <a:pt x="2154182" y="6357522"/>
                  <a:pt x="2153597" y="6361150"/>
                  <a:pt x="2152428" y="6363609"/>
                </a:cubicBezTo>
                <a:cubicBezTo>
                  <a:pt x="2150896" y="6366793"/>
                  <a:pt x="2148498" y="6369302"/>
                  <a:pt x="2145233" y="6371136"/>
                </a:cubicBezTo>
                <a:cubicBezTo>
                  <a:pt x="2141968" y="6372970"/>
                  <a:pt x="2138240" y="6373887"/>
                  <a:pt x="2134048" y="6373887"/>
                </a:cubicBezTo>
                <a:cubicBezTo>
                  <a:pt x="2129816" y="6373887"/>
                  <a:pt x="2126601" y="6372920"/>
                  <a:pt x="2124404" y="6370985"/>
                </a:cubicBezTo>
                <a:cubicBezTo>
                  <a:pt x="2122207" y="6369050"/>
                  <a:pt x="2121109" y="6366632"/>
                  <a:pt x="2121109" y="6363730"/>
                </a:cubicBezTo>
                <a:cubicBezTo>
                  <a:pt x="2121109" y="6361835"/>
                  <a:pt x="2121613" y="6360112"/>
                  <a:pt x="2122621" y="6358560"/>
                </a:cubicBezTo>
                <a:cubicBezTo>
                  <a:pt x="2123628" y="6357008"/>
                  <a:pt x="2125059" y="6355829"/>
                  <a:pt x="2126913" y="6355023"/>
                </a:cubicBezTo>
                <a:cubicBezTo>
                  <a:pt x="2128768" y="6354217"/>
                  <a:pt x="2131932" y="6353492"/>
                  <a:pt x="2136406" y="6352847"/>
                </a:cubicBezTo>
                <a:cubicBezTo>
                  <a:pt x="2144306" y="6351718"/>
                  <a:pt x="2150231" y="6350348"/>
                  <a:pt x="2154182" y="6348735"/>
                </a:cubicBezTo>
                <a:close/>
                <a:moveTo>
                  <a:pt x="1430281" y="6348735"/>
                </a:moveTo>
                <a:lnTo>
                  <a:pt x="1430281" y="6352726"/>
                </a:lnTo>
                <a:cubicBezTo>
                  <a:pt x="1430281" y="6357522"/>
                  <a:pt x="1429697" y="6361150"/>
                  <a:pt x="1428528" y="6363609"/>
                </a:cubicBezTo>
                <a:cubicBezTo>
                  <a:pt x="1426997" y="6366793"/>
                  <a:pt x="1424598" y="6369302"/>
                  <a:pt x="1421333" y="6371136"/>
                </a:cubicBezTo>
                <a:cubicBezTo>
                  <a:pt x="1418068" y="6372970"/>
                  <a:pt x="1414340" y="6373887"/>
                  <a:pt x="1410148" y="6373887"/>
                </a:cubicBezTo>
                <a:cubicBezTo>
                  <a:pt x="1405916" y="6373887"/>
                  <a:pt x="1402701" y="6372920"/>
                  <a:pt x="1400504" y="6370985"/>
                </a:cubicBezTo>
                <a:cubicBezTo>
                  <a:pt x="1398308" y="6369050"/>
                  <a:pt x="1397209" y="6366632"/>
                  <a:pt x="1397209" y="6363730"/>
                </a:cubicBezTo>
                <a:cubicBezTo>
                  <a:pt x="1397209" y="6361835"/>
                  <a:pt x="1397713" y="6360112"/>
                  <a:pt x="1398721" y="6358560"/>
                </a:cubicBezTo>
                <a:cubicBezTo>
                  <a:pt x="1399728" y="6357008"/>
                  <a:pt x="1401159" y="6355829"/>
                  <a:pt x="1403013" y="6355023"/>
                </a:cubicBezTo>
                <a:cubicBezTo>
                  <a:pt x="1404867" y="6354217"/>
                  <a:pt x="1408032" y="6353492"/>
                  <a:pt x="1412506" y="6352847"/>
                </a:cubicBezTo>
                <a:cubicBezTo>
                  <a:pt x="1420406" y="6351718"/>
                  <a:pt x="1426331" y="6350348"/>
                  <a:pt x="1430281" y="6348735"/>
                </a:cubicBezTo>
                <a:close/>
                <a:moveTo>
                  <a:pt x="1167698" y="6324309"/>
                </a:moveTo>
                <a:cubicBezTo>
                  <a:pt x="1173058" y="6324309"/>
                  <a:pt x="1177543" y="6326355"/>
                  <a:pt x="1181150" y="6330446"/>
                </a:cubicBezTo>
                <a:cubicBezTo>
                  <a:pt x="1184758" y="6334537"/>
                  <a:pt x="1186561" y="6340553"/>
                  <a:pt x="1186561" y="6348493"/>
                </a:cubicBezTo>
                <a:cubicBezTo>
                  <a:pt x="1186561" y="6356918"/>
                  <a:pt x="1184768" y="6363186"/>
                  <a:pt x="1181180" y="6367297"/>
                </a:cubicBezTo>
                <a:cubicBezTo>
                  <a:pt x="1177593" y="6371408"/>
                  <a:pt x="1173099" y="6373464"/>
                  <a:pt x="1167698" y="6373464"/>
                </a:cubicBezTo>
                <a:cubicBezTo>
                  <a:pt x="1162256" y="6373464"/>
                  <a:pt x="1157741" y="6371418"/>
                  <a:pt x="1154154" y="6367327"/>
                </a:cubicBezTo>
                <a:cubicBezTo>
                  <a:pt x="1150567" y="6363236"/>
                  <a:pt x="1148773" y="6357079"/>
                  <a:pt x="1148773" y="6348856"/>
                </a:cubicBezTo>
                <a:cubicBezTo>
                  <a:pt x="1148773" y="6340633"/>
                  <a:pt x="1150567" y="6334487"/>
                  <a:pt x="1154154" y="6330415"/>
                </a:cubicBezTo>
                <a:cubicBezTo>
                  <a:pt x="1157741" y="6326344"/>
                  <a:pt x="1162256" y="6324309"/>
                  <a:pt x="1167698" y="6324309"/>
                </a:cubicBezTo>
                <a:close/>
                <a:moveTo>
                  <a:pt x="1939646" y="6324248"/>
                </a:moveTo>
                <a:cubicBezTo>
                  <a:pt x="1945168" y="6324248"/>
                  <a:pt x="1949662" y="6326344"/>
                  <a:pt x="1953129" y="6330536"/>
                </a:cubicBezTo>
                <a:cubicBezTo>
                  <a:pt x="1955386" y="6333237"/>
                  <a:pt x="1956756" y="6337288"/>
                  <a:pt x="1957240" y="6342689"/>
                </a:cubicBezTo>
                <a:lnTo>
                  <a:pt x="1921387" y="6342689"/>
                </a:lnTo>
                <a:cubicBezTo>
                  <a:pt x="1921749" y="6337086"/>
                  <a:pt x="1923634" y="6332612"/>
                  <a:pt x="1927040" y="6329267"/>
                </a:cubicBezTo>
                <a:cubicBezTo>
                  <a:pt x="1930445" y="6325921"/>
                  <a:pt x="1934648" y="6324248"/>
                  <a:pt x="1939646" y="6324248"/>
                </a:cubicBezTo>
                <a:close/>
                <a:moveTo>
                  <a:pt x="929996" y="6324248"/>
                </a:moveTo>
                <a:cubicBezTo>
                  <a:pt x="935518" y="6324248"/>
                  <a:pt x="940012" y="6326344"/>
                  <a:pt x="943479" y="6330536"/>
                </a:cubicBezTo>
                <a:cubicBezTo>
                  <a:pt x="945736" y="6333237"/>
                  <a:pt x="947106" y="6337288"/>
                  <a:pt x="947590" y="6342689"/>
                </a:cubicBezTo>
                <a:lnTo>
                  <a:pt x="911736" y="6342689"/>
                </a:lnTo>
                <a:cubicBezTo>
                  <a:pt x="912099" y="6337086"/>
                  <a:pt x="913983" y="6332612"/>
                  <a:pt x="917389" y="6329267"/>
                </a:cubicBezTo>
                <a:cubicBezTo>
                  <a:pt x="920795" y="6325921"/>
                  <a:pt x="924997" y="6324248"/>
                  <a:pt x="929996" y="6324248"/>
                </a:cubicBezTo>
                <a:close/>
                <a:moveTo>
                  <a:pt x="635688" y="6324248"/>
                </a:moveTo>
                <a:cubicBezTo>
                  <a:pt x="640404" y="6324248"/>
                  <a:pt x="644425" y="6326244"/>
                  <a:pt x="647750" y="6330234"/>
                </a:cubicBezTo>
                <a:cubicBezTo>
                  <a:pt x="651075" y="6334225"/>
                  <a:pt x="652738" y="6340412"/>
                  <a:pt x="652738" y="6348796"/>
                </a:cubicBezTo>
                <a:cubicBezTo>
                  <a:pt x="652738" y="6356978"/>
                  <a:pt x="651005" y="6363135"/>
                  <a:pt x="647538" y="6367267"/>
                </a:cubicBezTo>
                <a:cubicBezTo>
                  <a:pt x="644072" y="6371398"/>
                  <a:pt x="639961" y="6373464"/>
                  <a:pt x="635204" y="6373464"/>
                </a:cubicBezTo>
                <a:cubicBezTo>
                  <a:pt x="629360" y="6373464"/>
                  <a:pt x="624724" y="6370663"/>
                  <a:pt x="621298" y="6365060"/>
                </a:cubicBezTo>
                <a:cubicBezTo>
                  <a:pt x="619202" y="6361634"/>
                  <a:pt x="618154" y="6356071"/>
                  <a:pt x="618154" y="6348373"/>
                </a:cubicBezTo>
                <a:cubicBezTo>
                  <a:pt x="618154" y="6340553"/>
                  <a:pt x="619887" y="6334577"/>
                  <a:pt x="623354" y="6330446"/>
                </a:cubicBezTo>
                <a:cubicBezTo>
                  <a:pt x="626820" y="6326314"/>
                  <a:pt x="630932" y="6324248"/>
                  <a:pt x="635688" y="6324248"/>
                </a:cubicBezTo>
                <a:close/>
                <a:moveTo>
                  <a:pt x="808324" y="6316751"/>
                </a:moveTo>
                <a:lnTo>
                  <a:pt x="808324" y="6380961"/>
                </a:lnTo>
                <a:lnTo>
                  <a:pt x="819207" y="6380961"/>
                </a:lnTo>
                <a:lnTo>
                  <a:pt x="819207" y="6316751"/>
                </a:lnTo>
                <a:close/>
                <a:moveTo>
                  <a:pt x="674672" y="6316751"/>
                </a:moveTo>
                <a:lnTo>
                  <a:pt x="674672" y="6356535"/>
                </a:lnTo>
                <a:cubicBezTo>
                  <a:pt x="674672" y="6361170"/>
                  <a:pt x="674893" y="6364556"/>
                  <a:pt x="675337" y="6366692"/>
                </a:cubicBezTo>
                <a:cubicBezTo>
                  <a:pt x="675982" y="6369877"/>
                  <a:pt x="677100" y="6372567"/>
                  <a:pt x="678692" y="6374764"/>
                </a:cubicBezTo>
                <a:cubicBezTo>
                  <a:pt x="680284" y="6376961"/>
                  <a:pt x="682723" y="6378785"/>
                  <a:pt x="686008" y="6380236"/>
                </a:cubicBezTo>
                <a:cubicBezTo>
                  <a:pt x="689293" y="6381687"/>
                  <a:pt x="692830" y="6382412"/>
                  <a:pt x="696619" y="6382412"/>
                </a:cubicBezTo>
                <a:cubicBezTo>
                  <a:pt x="705205" y="6382412"/>
                  <a:pt x="711997" y="6378785"/>
                  <a:pt x="716995" y="6371529"/>
                </a:cubicBezTo>
                <a:lnTo>
                  <a:pt x="716995" y="6380961"/>
                </a:lnTo>
                <a:lnTo>
                  <a:pt x="726729" y="6380961"/>
                </a:lnTo>
                <a:lnTo>
                  <a:pt x="726729" y="6316751"/>
                </a:lnTo>
                <a:lnTo>
                  <a:pt x="715846" y="6316751"/>
                </a:lnTo>
                <a:lnTo>
                  <a:pt x="715846" y="6351154"/>
                </a:lnTo>
                <a:cubicBezTo>
                  <a:pt x="715846" y="6356636"/>
                  <a:pt x="715251" y="6360818"/>
                  <a:pt x="714062" y="6363700"/>
                </a:cubicBezTo>
                <a:cubicBezTo>
                  <a:pt x="712873" y="6366582"/>
                  <a:pt x="710848" y="6368859"/>
                  <a:pt x="707986" y="6370532"/>
                </a:cubicBezTo>
                <a:cubicBezTo>
                  <a:pt x="705124" y="6372204"/>
                  <a:pt x="702061" y="6373041"/>
                  <a:pt x="698796" y="6373041"/>
                </a:cubicBezTo>
                <a:cubicBezTo>
                  <a:pt x="695531" y="6373041"/>
                  <a:pt x="692790" y="6372225"/>
                  <a:pt x="690573" y="6370592"/>
                </a:cubicBezTo>
                <a:cubicBezTo>
                  <a:pt x="688356" y="6368960"/>
                  <a:pt x="686905" y="6366713"/>
                  <a:pt x="686220" y="6363851"/>
                </a:cubicBezTo>
                <a:cubicBezTo>
                  <a:pt x="685776" y="6361876"/>
                  <a:pt x="685555" y="6358046"/>
                  <a:pt x="685555" y="6352363"/>
                </a:cubicBezTo>
                <a:lnTo>
                  <a:pt x="685555" y="6316751"/>
                </a:lnTo>
                <a:close/>
                <a:moveTo>
                  <a:pt x="2210094" y="6315300"/>
                </a:moveTo>
                <a:cubicBezTo>
                  <a:pt x="2201186" y="6315300"/>
                  <a:pt x="2194374" y="6318827"/>
                  <a:pt x="2189659" y="6325881"/>
                </a:cubicBezTo>
                <a:lnTo>
                  <a:pt x="2189659" y="6316751"/>
                </a:lnTo>
                <a:lnTo>
                  <a:pt x="2179864" y="6316751"/>
                </a:lnTo>
                <a:lnTo>
                  <a:pt x="2179864" y="6380961"/>
                </a:lnTo>
                <a:lnTo>
                  <a:pt x="2190747" y="6380961"/>
                </a:lnTo>
                <a:lnTo>
                  <a:pt x="2190747" y="6345894"/>
                </a:lnTo>
                <a:cubicBezTo>
                  <a:pt x="2190747" y="6337671"/>
                  <a:pt x="2192430" y="6332088"/>
                  <a:pt x="2195795" y="6329146"/>
                </a:cubicBezTo>
                <a:cubicBezTo>
                  <a:pt x="2199161" y="6326203"/>
                  <a:pt x="2203161" y="6324732"/>
                  <a:pt x="2207797" y="6324732"/>
                </a:cubicBezTo>
                <a:cubicBezTo>
                  <a:pt x="2210699" y="6324732"/>
                  <a:pt x="2213228" y="6325387"/>
                  <a:pt x="2215385" y="6326697"/>
                </a:cubicBezTo>
                <a:cubicBezTo>
                  <a:pt x="2217541" y="6328007"/>
                  <a:pt x="2219043" y="6329761"/>
                  <a:pt x="2219889" y="6331957"/>
                </a:cubicBezTo>
                <a:cubicBezTo>
                  <a:pt x="2220735" y="6334154"/>
                  <a:pt x="2221159" y="6337469"/>
                  <a:pt x="2221159" y="6341903"/>
                </a:cubicBezTo>
                <a:lnTo>
                  <a:pt x="2221159" y="6380961"/>
                </a:lnTo>
                <a:lnTo>
                  <a:pt x="2232042" y="6380961"/>
                </a:lnTo>
                <a:lnTo>
                  <a:pt x="2232042" y="6341480"/>
                </a:lnTo>
                <a:cubicBezTo>
                  <a:pt x="2232042" y="6336441"/>
                  <a:pt x="2231840" y="6332915"/>
                  <a:pt x="2231437" y="6330899"/>
                </a:cubicBezTo>
                <a:cubicBezTo>
                  <a:pt x="2230792" y="6327796"/>
                  <a:pt x="2229664" y="6325115"/>
                  <a:pt x="2228052" y="6322858"/>
                </a:cubicBezTo>
                <a:cubicBezTo>
                  <a:pt x="2226439" y="6320601"/>
                  <a:pt x="2224011" y="6318777"/>
                  <a:pt x="2220766" y="6317386"/>
                </a:cubicBezTo>
                <a:cubicBezTo>
                  <a:pt x="2217521" y="6315995"/>
                  <a:pt x="2213964" y="6315300"/>
                  <a:pt x="2210094" y="6315300"/>
                </a:cubicBezTo>
                <a:close/>
                <a:moveTo>
                  <a:pt x="2140336" y="6315300"/>
                </a:moveTo>
                <a:cubicBezTo>
                  <a:pt x="2134814" y="6315300"/>
                  <a:pt x="2129957" y="6316056"/>
                  <a:pt x="2125765" y="6317567"/>
                </a:cubicBezTo>
                <a:cubicBezTo>
                  <a:pt x="2121573" y="6319079"/>
                  <a:pt x="2118368" y="6321235"/>
                  <a:pt x="2116151" y="6324037"/>
                </a:cubicBezTo>
                <a:cubicBezTo>
                  <a:pt x="2113934" y="6326838"/>
                  <a:pt x="2112342" y="6330516"/>
                  <a:pt x="2111375" y="6335071"/>
                </a:cubicBezTo>
                <a:lnTo>
                  <a:pt x="2122016" y="6336522"/>
                </a:lnTo>
                <a:cubicBezTo>
                  <a:pt x="2123185" y="6331967"/>
                  <a:pt x="2124989" y="6328793"/>
                  <a:pt x="2127427" y="6326999"/>
                </a:cubicBezTo>
                <a:cubicBezTo>
                  <a:pt x="2129866" y="6325206"/>
                  <a:pt x="2133645" y="6324309"/>
                  <a:pt x="2138764" y="6324309"/>
                </a:cubicBezTo>
                <a:cubicBezTo>
                  <a:pt x="2144246" y="6324309"/>
                  <a:pt x="2148377" y="6325538"/>
                  <a:pt x="2151159" y="6327997"/>
                </a:cubicBezTo>
                <a:cubicBezTo>
                  <a:pt x="2153214" y="6329811"/>
                  <a:pt x="2154242" y="6332935"/>
                  <a:pt x="2154242" y="6337369"/>
                </a:cubicBezTo>
                <a:cubicBezTo>
                  <a:pt x="2154242" y="6337772"/>
                  <a:pt x="2154222" y="6338719"/>
                  <a:pt x="2154182" y="6340210"/>
                </a:cubicBezTo>
                <a:cubicBezTo>
                  <a:pt x="2150030" y="6341661"/>
                  <a:pt x="2143560" y="6342911"/>
                  <a:pt x="2134773" y="6343959"/>
                </a:cubicBezTo>
                <a:cubicBezTo>
                  <a:pt x="2130460" y="6344483"/>
                  <a:pt x="2127236" y="6345027"/>
                  <a:pt x="2125100" y="6345591"/>
                </a:cubicBezTo>
                <a:cubicBezTo>
                  <a:pt x="2122197" y="6346397"/>
                  <a:pt x="2119587" y="6347587"/>
                  <a:pt x="2117270" y="6349159"/>
                </a:cubicBezTo>
                <a:cubicBezTo>
                  <a:pt x="2114952" y="6350731"/>
                  <a:pt x="2113078" y="6352816"/>
                  <a:pt x="2111647" y="6355416"/>
                </a:cubicBezTo>
                <a:cubicBezTo>
                  <a:pt x="2110216" y="6358016"/>
                  <a:pt x="2109500" y="6360888"/>
                  <a:pt x="2109500" y="6364032"/>
                </a:cubicBezTo>
                <a:cubicBezTo>
                  <a:pt x="2109500" y="6369393"/>
                  <a:pt x="2111395" y="6373797"/>
                  <a:pt x="2115184" y="6377243"/>
                </a:cubicBezTo>
                <a:cubicBezTo>
                  <a:pt x="2118973" y="6380689"/>
                  <a:pt x="2124394" y="6382412"/>
                  <a:pt x="2131448" y="6382412"/>
                </a:cubicBezTo>
                <a:cubicBezTo>
                  <a:pt x="2135721" y="6382412"/>
                  <a:pt x="2139721" y="6381707"/>
                  <a:pt x="2143450" y="6380296"/>
                </a:cubicBezTo>
                <a:cubicBezTo>
                  <a:pt x="2147178" y="6378885"/>
                  <a:pt x="2151058" y="6376467"/>
                  <a:pt x="2155089" y="6373041"/>
                </a:cubicBezTo>
                <a:cubicBezTo>
                  <a:pt x="2155411" y="6376064"/>
                  <a:pt x="2156136" y="6378704"/>
                  <a:pt x="2157265" y="6380961"/>
                </a:cubicBezTo>
                <a:lnTo>
                  <a:pt x="2168632" y="6380961"/>
                </a:lnTo>
                <a:cubicBezTo>
                  <a:pt x="2167261" y="6378502"/>
                  <a:pt x="2166344" y="6375933"/>
                  <a:pt x="2165881" y="6373252"/>
                </a:cubicBezTo>
                <a:cubicBezTo>
                  <a:pt x="2165417" y="6370572"/>
                  <a:pt x="2165185" y="6364173"/>
                  <a:pt x="2165185" y="6354056"/>
                </a:cubicBezTo>
                <a:lnTo>
                  <a:pt x="2165185" y="6339545"/>
                </a:lnTo>
                <a:cubicBezTo>
                  <a:pt x="2165185" y="6334708"/>
                  <a:pt x="2165004" y="6331363"/>
                  <a:pt x="2164641" y="6329509"/>
                </a:cubicBezTo>
                <a:cubicBezTo>
                  <a:pt x="2163996" y="6326526"/>
                  <a:pt x="2162868" y="6324057"/>
                  <a:pt x="2161255" y="6322102"/>
                </a:cubicBezTo>
                <a:cubicBezTo>
                  <a:pt x="2159643" y="6320147"/>
                  <a:pt x="2157124" y="6318525"/>
                  <a:pt x="2153698" y="6317235"/>
                </a:cubicBezTo>
                <a:cubicBezTo>
                  <a:pt x="2150272" y="6315945"/>
                  <a:pt x="2145818" y="6315300"/>
                  <a:pt x="2140336" y="6315300"/>
                </a:cubicBezTo>
                <a:close/>
                <a:moveTo>
                  <a:pt x="2076744" y="6315300"/>
                </a:moveTo>
                <a:cubicBezTo>
                  <a:pt x="2067836" y="6315300"/>
                  <a:pt x="2061024" y="6318827"/>
                  <a:pt x="2056309" y="6325881"/>
                </a:cubicBezTo>
                <a:lnTo>
                  <a:pt x="2056309" y="6316751"/>
                </a:lnTo>
                <a:lnTo>
                  <a:pt x="2046514" y="6316751"/>
                </a:lnTo>
                <a:lnTo>
                  <a:pt x="2046514" y="6380961"/>
                </a:lnTo>
                <a:lnTo>
                  <a:pt x="2057397" y="6380961"/>
                </a:lnTo>
                <a:lnTo>
                  <a:pt x="2057397" y="6345894"/>
                </a:lnTo>
                <a:cubicBezTo>
                  <a:pt x="2057397" y="6337671"/>
                  <a:pt x="2059079" y="6332088"/>
                  <a:pt x="2062445" y="6329146"/>
                </a:cubicBezTo>
                <a:cubicBezTo>
                  <a:pt x="2065811" y="6326203"/>
                  <a:pt x="2069811" y="6324732"/>
                  <a:pt x="2074447" y="6324732"/>
                </a:cubicBezTo>
                <a:cubicBezTo>
                  <a:pt x="2077349" y="6324732"/>
                  <a:pt x="2079878" y="6325387"/>
                  <a:pt x="2082035" y="6326697"/>
                </a:cubicBezTo>
                <a:cubicBezTo>
                  <a:pt x="2084191" y="6328007"/>
                  <a:pt x="2085692" y="6329761"/>
                  <a:pt x="2086539" y="6331957"/>
                </a:cubicBezTo>
                <a:cubicBezTo>
                  <a:pt x="2087385" y="6334154"/>
                  <a:pt x="2087809" y="6337469"/>
                  <a:pt x="2087809" y="6341903"/>
                </a:cubicBezTo>
                <a:lnTo>
                  <a:pt x="2087809" y="6380961"/>
                </a:lnTo>
                <a:lnTo>
                  <a:pt x="2098692" y="6380961"/>
                </a:lnTo>
                <a:lnTo>
                  <a:pt x="2098692" y="6341480"/>
                </a:lnTo>
                <a:cubicBezTo>
                  <a:pt x="2098692" y="6336441"/>
                  <a:pt x="2098490" y="6332915"/>
                  <a:pt x="2098087" y="6330899"/>
                </a:cubicBezTo>
                <a:cubicBezTo>
                  <a:pt x="2097442" y="6327796"/>
                  <a:pt x="2096314" y="6325115"/>
                  <a:pt x="2094702" y="6322858"/>
                </a:cubicBezTo>
                <a:cubicBezTo>
                  <a:pt x="2093089" y="6320601"/>
                  <a:pt x="2090661" y="6318777"/>
                  <a:pt x="2087416" y="6317386"/>
                </a:cubicBezTo>
                <a:cubicBezTo>
                  <a:pt x="2084171" y="6315995"/>
                  <a:pt x="2080614" y="6315300"/>
                  <a:pt x="2076744" y="6315300"/>
                </a:cubicBezTo>
                <a:close/>
                <a:moveTo>
                  <a:pt x="2010069" y="6315300"/>
                </a:moveTo>
                <a:cubicBezTo>
                  <a:pt x="2001161" y="6315300"/>
                  <a:pt x="1994349" y="6318827"/>
                  <a:pt x="1989633" y="6325881"/>
                </a:cubicBezTo>
                <a:lnTo>
                  <a:pt x="1989633" y="6316751"/>
                </a:lnTo>
                <a:lnTo>
                  <a:pt x="1979839" y="6316751"/>
                </a:lnTo>
                <a:lnTo>
                  <a:pt x="1979839" y="6380961"/>
                </a:lnTo>
                <a:lnTo>
                  <a:pt x="1990722" y="6380961"/>
                </a:lnTo>
                <a:lnTo>
                  <a:pt x="1990722" y="6345894"/>
                </a:lnTo>
                <a:cubicBezTo>
                  <a:pt x="1990722" y="6337671"/>
                  <a:pt x="1992405" y="6332088"/>
                  <a:pt x="1995770" y="6329146"/>
                </a:cubicBezTo>
                <a:cubicBezTo>
                  <a:pt x="1999136" y="6326203"/>
                  <a:pt x="2003136" y="6324732"/>
                  <a:pt x="2007772" y="6324732"/>
                </a:cubicBezTo>
                <a:cubicBezTo>
                  <a:pt x="2010674" y="6324732"/>
                  <a:pt x="2013203" y="6325387"/>
                  <a:pt x="2015360" y="6326697"/>
                </a:cubicBezTo>
                <a:cubicBezTo>
                  <a:pt x="2017516" y="6328007"/>
                  <a:pt x="2019018" y="6329761"/>
                  <a:pt x="2019864" y="6331957"/>
                </a:cubicBezTo>
                <a:cubicBezTo>
                  <a:pt x="2020710" y="6334154"/>
                  <a:pt x="2021134" y="6337469"/>
                  <a:pt x="2021134" y="6341903"/>
                </a:cubicBezTo>
                <a:lnTo>
                  <a:pt x="2021134" y="6380961"/>
                </a:lnTo>
                <a:lnTo>
                  <a:pt x="2032017" y="6380961"/>
                </a:lnTo>
                <a:lnTo>
                  <a:pt x="2032017" y="6341480"/>
                </a:lnTo>
                <a:cubicBezTo>
                  <a:pt x="2032017" y="6336441"/>
                  <a:pt x="2031815" y="6332915"/>
                  <a:pt x="2031412" y="6330899"/>
                </a:cubicBezTo>
                <a:cubicBezTo>
                  <a:pt x="2030767" y="6327796"/>
                  <a:pt x="2029639" y="6325115"/>
                  <a:pt x="2028026" y="6322858"/>
                </a:cubicBezTo>
                <a:cubicBezTo>
                  <a:pt x="2026414" y="6320601"/>
                  <a:pt x="2023985" y="6318777"/>
                  <a:pt x="2020741" y="6317386"/>
                </a:cubicBezTo>
                <a:cubicBezTo>
                  <a:pt x="2017496" y="6315995"/>
                  <a:pt x="2013939" y="6315300"/>
                  <a:pt x="2010069" y="6315300"/>
                </a:cubicBezTo>
                <a:close/>
                <a:moveTo>
                  <a:pt x="1939525" y="6315300"/>
                </a:moveTo>
                <a:cubicBezTo>
                  <a:pt x="1930657" y="6315300"/>
                  <a:pt x="1923442" y="6318283"/>
                  <a:pt x="1917880" y="6324248"/>
                </a:cubicBezTo>
                <a:cubicBezTo>
                  <a:pt x="1912317" y="6330214"/>
                  <a:pt x="1909536" y="6338598"/>
                  <a:pt x="1909536" y="6349400"/>
                </a:cubicBezTo>
                <a:cubicBezTo>
                  <a:pt x="1909536" y="6359840"/>
                  <a:pt x="1912287" y="6367952"/>
                  <a:pt x="1917789" y="6373736"/>
                </a:cubicBezTo>
                <a:cubicBezTo>
                  <a:pt x="1923291" y="6379520"/>
                  <a:pt x="1930738" y="6382412"/>
                  <a:pt x="1940129" y="6382412"/>
                </a:cubicBezTo>
                <a:cubicBezTo>
                  <a:pt x="1947586" y="6382412"/>
                  <a:pt x="1953713" y="6380598"/>
                  <a:pt x="1958510" y="6376971"/>
                </a:cubicBezTo>
                <a:cubicBezTo>
                  <a:pt x="1963306" y="6373343"/>
                  <a:pt x="1966591" y="6368244"/>
                  <a:pt x="1968365" y="6361674"/>
                </a:cubicBezTo>
                <a:lnTo>
                  <a:pt x="1957119" y="6360283"/>
                </a:lnTo>
                <a:cubicBezTo>
                  <a:pt x="1955466" y="6364879"/>
                  <a:pt x="1953229" y="6368224"/>
                  <a:pt x="1950408" y="6370320"/>
                </a:cubicBezTo>
                <a:cubicBezTo>
                  <a:pt x="1947586" y="6372416"/>
                  <a:pt x="1944180" y="6373464"/>
                  <a:pt x="1940190" y="6373464"/>
                </a:cubicBezTo>
                <a:cubicBezTo>
                  <a:pt x="1934829" y="6373464"/>
                  <a:pt x="1930355" y="6371590"/>
                  <a:pt x="1926767" y="6367841"/>
                </a:cubicBezTo>
                <a:cubicBezTo>
                  <a:pt x="1923180" y="6364093"/>
                  <a:pt x="1921185" y="6358691"/>
                  <a:pt x="1920782" y="6351637"/>
                </a:cubicBezTo>
                <a:lnTo>
                  <a:pt x="1968667" y="6351637"/>
                </a:lnTo>
                <a:cubicBezTo>
                  <a:pt x="1968707" y="6350348"/>
                  <a:pt x="1968728" y="6349380"/>
                  <a:pt x="1968728" y="6348735"/>
                </a:cubicBezTo>
                <a:cubicBezTo>
                  <a:pt x="1968728" y="6338134"/>
                  <a:pt x="1966007" y="6329912"/>
                  <a:pt x="1960565" y="6324067"/>
                </a:cubicBezTo>
                <a:cubicBezTo>
                  <a:pt x="1955124" y="6318222"/>
                  <a:pt x="1948110" y="6315300"/>
                  <a:pt x="1939525" y="6315300"/>
                </a:cubicBezTo>
                <a:close/>
                <a:moveTo>
                  <a:pt x="1805752" y="6315300"/>
                </a:moveTo>
                <a:cubicBezTo>
                  <a:pt x="1800230" y="6315300"/>
                  <a:pt x="1795120" y="6316600"/>
                  <a:pt x="1790425" y="6319200"/>
                </a:cubicBezTo>
                <a:cubicBezTo>
                  <a:pt x="1785729" y="6321800"/>
                  <a:pt x="1782232" y="6325700"/>
                  <a:pt x="1779935" y="6330899"/>
                </a:cubicBezTo>
                <a:cubicBezTo>
                  <a:pt x="1777637" y="6336099"/>
                  <a:pt x="1776488" y="6342165"/>
                  <a:pt x="1776488" y="6349098"/>
                </a:cubicBezTo>
                <a:cubicBezTo>
                  <a:pt x="1776488" y="6359820"/>
                  <a:pt x="1779159" y="6368053"/>
                  <a:pt x="1784499" y="6373797"/>
                </a:cubicBezTo>
                <a:cubicBezTo>
                  <a:pt x="1789840" y="6379540"/>
                  <a:pt x="1796904" y="6382412"/>
                  <a:pt x="1805691" y="6382412"/>
                </a:cubicBezTo>
                <a:cubicBezTo>
                  <a:pt x="1812705" y="6382412"/>
                  <a:pt x="1818620" y="6380326"/>
                  <a:pt x="1823437" y="6376155"/>
                </a:cubicBezTo>
                <a:cubicBezTo>
                  <a:pt x="1828253" y="6371983"/>
                  <a:pt x="1831246" y="6366209"/>
                  <a:pt x="1832415" y="6358832"/>
                </a:cubicBezTo>
                <a:lnTo>
                  <a:pt x="1821714" y="6357442"/>
                </a:lnTo>
                <a:cubicBezTo>
                  <a:pt x="1820948" y="6362883"/>
                  <a:pt x="1819134" y="6366914"/>
                  <a:pt x="1816272" y="6369534"/>
                </a:cubicBezTo>
                <a:cubicBezTo>
                  <a:pt x="1813410" y="6372154"/>
                  <a:pt x="1809843" y="6373464"/>
                  <a:pt x="1805570" y="6373464"/>
                </a:cubicBezTo>
                <a:cubicBezTo>
                  <a:pt x="1800250" y="6373464"/>
                  <a:pt x="1795937" y="6371509"/>
                  <a:pt x="1792632" y="6367599"/>
                </a:cubicBezTo>
                <a:cubicBezTo>
                  <a:pt x="1789326" y="6363689"/>
                  <a:pt x="1787674" y="6357422"/>
                  <a:pt x="1787674" y="6348796"/>
                </a:cubicBezTo>
                <a:cubicBezTo>
                  <a:pt x="1787674" y="6340291"/>
                  <a:pt x="1789387" y="6334073"/>
                  <a:pt x="1792813" y="6330143"/>
                </a:cubicBezTo>
                <a:cubicBezTo>
                  <a:pt x="1796239" y="6326213"/>
                  <a:pt x="1800693" y="6324248"/>
                  <a:pt x="1806175" y="6324248"/>
                </a:cubicBezTo>
                <a:cubicBezTo>
                  <a:pt x="1809803" y="6324248"/>
                  <a:pt x="1812896" y="6325337"/>
                  <a:pt x="1815456" y="6327513"/>
                </a:cubicBezTo>
                <a:cubicBezTo>
                  <a:pt x="1818015" y="6329690"/>
                  <a:pt x="1819799" y="6332935"/>
                  <a:pt x="1820806" y="6337248"/>
                </a:cubicBezTo>
                <a:lnTo>
                  <a:pt x="1831387" y="6335615"/>
                </a:lnTo>
                <a:cubicBezTo>
                  <a:pt x="1830138" y="6329126"/>
                  <a:pt x="1827296" y="6324117"/>
                  <a:pt x="1822862" y="6320591"/>
                </a:cubicBezTo>
                <a:cubicBezTo>
                  <a:pt x="1818428" y="6317064"/>
                  <a:pt x="1812725" y="6315300"/>
                  <a:pt x="1805752" y="6315300"/>
                </a:cubicBezTo>
                <a:close/>
                <a:moveTo>
                  <a:pt x="1515165" y="6315300"/>
                </a:moveTo>
                <a:cubicBezTo>
                  <a:pt x="1511819" y="6315300"/>
                  <a:pt x="1508685" y="6315733"/>
                  <a:pt x="1505763" y="6316600"/>
                </a:cubicBezTo>
                <a:cubicBezTo>
                  <a:pt x="1502840" y="6317467"/>
                  <a:pt x="1500533" y="6318525"/>
                  <a:pt x="1498840" y="6319774"/>
                </a:cubicBezTo>
                <a:cubicBezTo>
                  <a:pt x="1496583" y="6321387"/>
                  <a:pt x="1494799" y="6323412"/>
                  <a:pt x="1493489" y="6325851"/>
                </a:cubicBezTo>
                <a:cubicBezTo>
                  <a:pt x="1492179" y="6328289"/>
                  <a:pt x="1491524" y="6330939"/>
                  <a:pt x="1491524" y="6333801"/>
                </a:cubicBezTo>
                <a:cubicBezTo>
                  <a:pt x="1491524" y="6336945"/>
                  <a:pt x="1492320" y="6339817"/>
                  <a:pt x="1493913" y="6342417"/>
                </a:cubicBezTo>
                <a:cubicBezTo>
                  <a:pt x="1495505" y="6345017"/>
                  <a:pt x="1497843" y="6347052"/>
                  <a:pt x="1500926" y="6348524"/>
                </a:cubicBezTo>
                <a:cubicBezTo>
                  <a:pt x="1504009" y="6349995"/>
                  <a:pt x="1509542" y="6351738"/>
                  <a:pt x="1517523" y="6353754"/>
                </a:cubicBezTo>
                <a:cubicBezTo>
                  <a:pt x="1523448" y="6355245"/>
                  <a:pt x="1527156" y="6356474"/>
                  <a:pt x="1528648" y="6357442"/>
                </a:cubicBezTo>
                <a:cubicBezTo>
                  <a:pt x="1530784" y="6358853"/>
                  <a:pt x="1531852" y="6360787"/>
                  <a:pt x="1531852" y="6363246"/>
                </a:cubicBezTo>
                <a:cubicBezTo>
                  <a:pt x="1531852" y="6365987"/>
                  <a:pt x="1530643" y="6368375"/>
                  <a:pt x="1528224" y="6370411"/>
                </a:cubicBezTo>
                <a:cubicBezTo>
                  <a:pt x="1525806" y="6372446"/>
                  <a:pt x="1522097" y="6373464"/>
                  <a:pt x="1517100" y="6373464"/>
                </a:cubicBezTo>
                <a:cubicBezTo>
                  <a:pt x="1512141" y="6373464"/>
                  <a:pt x="1508282" y="6372315"/>
                  <a:pt x="1505521" y="6370018"/>
                </a:cubicBezTo>
                <a:cubicBezTo>
                  <a:pt x="1502760" y="6367720"/>
                  <a:pt x="1501077" y="6364415"/>
                  <a:pt x="1500472" y="6360102"/>
                </a:cubicBezTo>
                <a:lnTo>
                  <a:pt x="1489710" y="6361795"/>
                </a:lnTo>
                <a:cubicBezTo>
                  <a:pt x="1490920" y="6368607"/>
                  <a:pt x="1493711" y="6373746"/>
                  <a:pt x="1498084" y="6377213"/>
                </a:cubicBezTo>
                <a:cubicBezTo>
                  <a:pt x="1502458" y="6380679"/>
                  <a:pt x="1508816" y="6382412"/>
                  <a:pt x="1517160" y="6382412"/>
                </a:cubicBezTo>
                <a:cubicBezTo>
                  <a:pt x="1522198" y="6382412"/>
                  <a:pt x="1526713" y="6381536"/>
                  <a:pt x="1530703" y="6379782"/>
                </a:cubicBezTo>
                <a:cubicBezTo>
                  <a:pt x="1534694" y="6378029"/>
                  <a:pt x="1537747" y="6375550"/>
                  <a:pt x="1539863" y="6372345"/>
                </a:cubicBezTo>
                <a:cubicBezTo>
                  <a:pt x="1541979" y="6369141"/>
                  <a:pt x="1543037" y="6365725"/>
                  <a:pt x="1543037" y="6362097"/>
                </a:cubicBezTo>
                <a:cubicBezTo>
                  <a:pt x="1543037" y="6358389"/>
                  <a:pt x="1542171" y="6355285"/>
                  <a:pt x="1540437" y="6352786"/>
                </a:cubicBezTo>
                <a:cubicBezTo>
                  <a:pt x="1538704" y="6350287"/>
                  <a:pt x="1536316" y="6348383"/>
                  <a:pt x="1533273" y="6347073"/>
                </a:cubicBezTo>
                <a:cubicBezTo>
                  <a:pt x="1530230" y="6345763"/>
                  <a:pt x="1524859" y="6344080"/>
                  <a:pt x="1517160" y="6342024"/>
                </a:cubicBezTo>
                <a:cubicBezTo>
                  <a:pt x="1511839" y="6340573"/>
                  <a:pt x="1508635" y="6339646"/>
                  <a:pt x="1507547" y="6339243"/>
                </a:cubicBezTo>
                <a:cubicBezTo>
                  <a:pt x="1505652" y="6338477"/>
                  <a:pt x="1504261" y="6337510"/>
                  <a:pt x="1503375" y="6336341"/>
                </a:cubicBezTo>
                <a:cubicBezTo>
                  <a:pt x="1502488" y="6335212"/>
                  <a:pt x="1502044" y="6333942"/>
                  <a:pt x="1502044" y="6332532"/>
                </a:cubicBezTo>
                <a:cubicBezTo>
                  <a:pt x="1502044" y="6330315"/>
                  <a:pt x="1503113" y="6328380"/>
                  <a:pt x="1505249" y="6326727"/>
                </a:cubicBezTo>
                <a:cubicBezTo>
                  <a:pt x="1507385" y="6325075"/>
                  <a:pt x="1510953" y="6324248"/>
                  <a:pt x="1515951" y="6324248"/>
                </a:cubicBezTo>
                <a:cubicBezTo>
                  <a:pt x="1520183" y="6324248"/>
                  <a:pt x="1523458" y="6325176"/>
                  <a:pt x="1525776" y="6327030"/>
                </a:cubicBezTo>
                <a:cubicBezTo>
                  <a:pt x="1528093" y="6328884"/>
                  <a:pt x="1529494" y="6331463"/>
                  <a:pt x="1529978" y="6334769"/>
                </a:cubicBezTo>
                <a:lnTo>
                  <a:pt x="1540619" y="6333318"/>
                </a:lnTo>
                <a:cubicBezTo>
                  <a:pt x="1539934" y="6329166"/>
                  <a:pt x="1538684" y="6325851"/>
                  <a:pt x="1536870" y="6323372"/>
                </a:cubicBezTo>
                <a:cubicBezTo>
                  <a:pt x="1535056" y="6320893"/>
                  <a:pt x="1532245" y="6318928"/>
                  <a:pt x="1528436" y="6317477"/>
                </a:cubicBezTo>
                <a:cubicBezTo>
                  <a:pt x="1524627" y="6316026"/>
                  <a:pt x="1520203" y="6315300"/>
                  <a:pt x="1515165" y="6315300"/>
                </a:cubicBezTo>
                <a:close/>
                <a:moveTo>
                  <a:pt x="1479544" y="6315300"/>
                </a:moveTo>
                <a:cubicBezTo>
                  <a:pt x="1477004" y="6315300"/>
                  <a:pt x="1474676" y="6316026"/>
                  <a:pt x="1472560" y="6317477"/>
                </a:cubicBezTo>
                <a:cubicBezTo>
                  <a:pt x="1470444" y="6318928"/>
                  <a:pt x="1468136" y="6321931"/>
                  <a:pt x="1465638" y="6326486"/>
                </a:cubicBezTo>
                <a:lnTo>
                  <a:pt x="1465638" y="6316751"/>
                </a:lnTo>
                <a:lnTo>
                  <a:pt x="1455843" y="6316751"/>
                </a:lnTo>
                <a:lnTo>
                  <a:pt x="1455843" y="6380961"/>
                </a:lnTo>
                <a:lnTo>
                  <a:pt x="1466726" y="6380961"/>
                </a:lnTo>
                <a:lnTo>
                  <a:pt x="1466726" y="6347345"/>
                </a:lnTo>
                <a:cubicBezTo>
                  <a:pt x="1466726" y="6342750"/>
                  <a:pt x="1467330" y="6338517"/>
                  <a:pt x="1468540" y="6334648"/>
                </a:cubicBezTo>
                <a:cubicBezTo>
                  <a:pt x="1469346" y="6332108"/>
                  <a:pt x="1470696" y="6330123"/>
                  <a:pt x="1472590" y="6328692"/>
                </a:cubicBezTo>
                <a:cubicBezTo>
                  <a:pt x="1474485" y="6327261"/>
                  <a:pt x="1476621" y="6326546"/>
                  <a:pt x="1479000" y="6326546"/>
                </a:cubicBezTo>
                <a:cubicBezTo>
                  <a:pt x="1481660" y="6326546"/>
                  <a:pt x="1484320" y="6327332"/>
                  <a:pt x="1486980" y="6328904"/>
                </a:cubicBezTo>
                <a:lnTo>
                  <a:pt x="1490729" y="6318807"/>
                </a:lnTo>
                <a:cubicBezTo>
                  <a:pt x="1486940" y="6316469"/>
                  <a:pt x="1483212" y="6315300"/>
                  <a:pt x="1479544" y="6315300"/>
                </a:cubicBezTo>
                <a:close/>
                <a:moveTo>
                  <a:pt x="1416436" y="6315300"/>
                </a:moveTo>
                <a:cubicBezTo>
                  <a:pt x="1410914" y="6315300"/>
                  <a:pt x="1406057" y="6316056"/>
                  <a:pt x="1401865" y="6317567"/>
                </a:cubicBezTo>
                <a:cubicBezTo>
                  <a:pt x="1397673" y="6319079"/>
                  <a:pt x="1394468" y="6321235"/>
                  <a:pt x="1392251" y="6324037"/>
                </a:cubicBezTo>
                <a:cubicBezTo>
                  <a:pt x="1390034" y="6326838"/>
                  <a:pt x="1388442" y="6330516"/>
                  <a:pt x="1387475" y="6335071"/>
                </a:cubicBezTo>
                <a:lnTo>
                  <a:pt x="1398116" y="6336522"/>
                </a:lnTo>
                <a:cubicBezTo>
                  <a:pt x="1399285" y="6331967"/>
                  <a:pt x="1401089" y="6328793"/>
                  <a:pt x="1403527" y="6326999"/>
                </a:cubicBezTo>
                <a:cubicBezTo>
                  <a:pt x="1405966" y="6325206"/>
                  <a:pt x="1409745" y="6324309"/>
                  <a:pt x="1414864" y="6324309"/>
                </a:cubicBezTo>
                <a:cubicBezTo>
                  <a:pt x="1420345" y="6324309"/>
                  <a:pt x="1424477" y="6325538"/>
                  <a:pt x="1427258" y="6327997"/>
                </a:cubicBezTo>
                <a:cubicBezTo>
                  <a:pt x="1429314" y="6329811"/>
                  <a:pt x="1430342" y="6332935"/>
                  <a:pt x="1430342" y="6337369"/>
                </a:cubicBezTo>
                <a:cubicBezTo>
                  <a:pt x="1430342" y="6337772"/>
                  <a:pt x="1430322" y="6338719"/>
                  <a:pt x="1430281" y="6340210"/>
                </a:cubicBezTo>
                <a:cubicBezTo>
                  <a:pt x="1426130" y="6341661"/>
                  <a:pt x="1419660" y="6342911"/>
                  <a:pt x="1410873" y="6343959"/>
                </a:cubicBezTo>
                <a:cubicBezTo>
                  <a:pt x="1406561" y="6344483"/>
                  <a:pt x="1403336" y="6345027"/>
                  <a:pt x="1401199" y="6345591"/>
                </a:cubicBezTo>
                <a:cubicBezTo>
                  <a:pt x="1398297" y="6346397"/>
                  <a:pt x="1395687" y="6347587"/>
                  <a:pt x="1393370" y="6349159"/>
                </a:cubicBezTo>
                <a:cubicBezTo>
                  <a:pt x="1391052" y="6350731"/>
                  <a:pt x="1389178" y="6352816"/>
                  <a:pt x="1387747" y="6355416"/>
                </a:cubicBezTo>
                <a:cubicBezTo>
                  <a:pt x="1386316" y="6358016"/>
                  <a:pt x="1385600" y="6360888"/>
                  <a:pt x="1385600" y="6364032"/>
                </a:cubicBezTo>
                <a:cubicBezTo>
                  <a:pt x="1385600" y="6369393"/>
                  <a:pt x="1387495" y="6373797"/>
                  <a:pt x="1391284" y="6377243"/>
                </a:cubicBezTo>
                <a:cubicBezTo>
                  <a:pt x="1395073" y="6380689"/>
                  <a:pt x="1400494" y="6382412"/>
                  <a:pt x="1407548" y="6382412"/>
                </a:cubicBezTo>
                <a:cubicBezTo>
                  <a:pt x="1411821" y="6382412"/>
                  <a:pt x="1415821" y="6381707"/>
                  <a:pt x="1419550" y="6380296"/>
                </a:cubicBezTo>
                <a:cubicBezTo>
                  <a:pt x="1423278" y="6378885"/>
                  <a:pt x="1427158" y="6376467"/>
                  <a:pt x="1431188" y="6373041"/>
                </a:cubicBezTo>
                <a:cubicBezTo>
                  <a:pt x="1431511" y="6376064"/>
                  <a:pt x="1432236" y="6378704"/>
                  <a:pt x="1433365" y="6380961"/>
                </a:cubicBezTo>
                <a:lnTo>
                  <a:pt x="1444732" y="6380961"/>
                </a:lnTo>
                <a:cubicBezTo>
                  <a:pt x="1443361" y="6378502"/>
                  <a:pt x="1442444" y="6375933"/>
                  <a:pt x="1441981" y="6373252"/>
                </a:cubicBezTo>
                <a:cubicBezTo>
                  <a:pt x="1441517" y="6370572"/>
                  <a:pt x="1441285" y="6364173"/>
                  <a:pt x="1441285" y="6354056"/>
                </a:cubicBezTo>
                <a:lnTo>
                  <a:pt x="1441285" y="6339545"/>
                </a:lnTo>
                <a:cubicBezTo>
                  <a:pt x="1441285" y="6334708"/>
                  <a:pt x="1441104" y="6331363"/>
                  <a:pt x="1440741" y="6329509"/>
                </a:cubicBezTo>
                <a:cubicBezTo>
                  <a:pt x="1440096" y="6326526"/>
                  <a:pt x="1438968" y="6324057"/>
                  <a:pt x="1437355" y="6322102"/>
                </a:cubicBezTo>
                <a:cubicBezTo>
                  <a:pt x="1435743" y="6320147"/>
                  <a:pt x="1433224" y="6318525"/>
                  <a:pt x="1429798" y="6317235"/>
                </a:cubicBezTo>
                <a:cubicBezTo>
                  <a:pt x="1426372" y="6315945"/>
                  <a:pt x="1421917" y="6315300"/>
                  <a:pt x="1416436" y="6315300"/>
                </a:cubicBezTo>
                <a:close/>
                <a:moveTo>
                  <a:pt x="1167698" y="6315300"/>
                </a:moveTo>
                <a:cubicBezTo>
                  <a:pt x="1159757" y="6315300"/>
                  <a:pt x="1153026" y="6317678"/>
                  <a:pt x="1147503" y="6322435"/>
                </a:cubicBezTo>
                <a:cubicBezTo>
                  <a:pt x="1140893" y="6328158"/>
                  <a:pt x="1137588" y="6336965"/>
                  <a:pt x="1137588" y="6348856"/>
                </a:cubicBezTo>
                <a:cubicBezTo>
                  <a:pt x="1137588" y="6359699"/>
                  <a:pt x="1140359" y="6368002"/>
                  <a:pt x="1145901" y="6373766"/>
                </a:cubicBezTo>
                <a:cubicBezTo>
                  <a:pt x="1151443" y="6379530"/>
                  <a:pt x="1158709" y="6382412"/>
                  <a:pt x="1167698" y="6382412"/>
                </a:cubicBezTo>
                <a:cubicBezTo>
                  <a:pt x="1173300" y="6382412"/>
                  <a:pt x="1178470" y="6381102"/>
                  <a:pt x="1183206" y="6378482"/>
                </a:cubicBezTo>
                <a:cubicBezTo>
                  <a:pt x="1187942" y="6375862"/>
                  <a:pt x="1191550" y="6372184"/>
                  <a:pt x="1194028" y="6367448"/>
                </a:cubicBezTo>
                <a:cubicBezTo>
                  <a:pt x="1196507" y="6362712"/>
                  <a:pt x="1197747" y="6356212"/>
                  <a:pt x="1197747" y="6347949"/>
                </a:cubicBezTo>
                <a:cubicBezTo>
                  <a:pt x="1197747" y="6337751"/>
                  <a:pt x="1194945" y="6329761"/>
                  <a:pt x="1189343" y="6323976"/>
                </a:cubicBezTo>
                <a:cubicBezTo>
                  <a:pt x="1183740" y="6318192"/>
                  <a:pt x="1176525" y="6315300"/>
                  <a:pt x="1167698" y="6315300"/>
                </a:cubicBezTo>
                <a:close/>
                <a:moveTo>
                  <a:pt x="1057965" y="6315300"/>
                </a:moveTo>
                <a:cubicBezTo>
                  <a:pt x="1054619" y="6315300"/>
                  <a:pt x="1051485" y="6315733"/>
                  <a:pt x="1048563" y="6316600"/>
                </a:cubicBezTo>
                <a:cubicBezTo>
                  <a:pt x="1045641" y="6317467"/>
                  <a:pt x="1043333" y="6318525"/>
                  <a:pt x="1041640" y="6319774"/>
                </a:cubicBezTo>
                <a:cubicBezTo>
                  <a:pt x="1039383" y="6321387"/>
                  <a:pt x="1037599" y="6323412"/>
                  <a:pt x="1036289" y="6325851"/>
                </a:cubicBezTo>
                <a:cubicBezTo>
                  <a:pt x="1034979" y="6328289"/>
                  <a:pt x="1034324" y="6330939"/>
                  <a:pt x="1034324" y="6333801"/>
                </a:cubicBezTo>
                <a:cubicBezTo>
                  <a:pt x="1034324" y="6336945"/>
                  <a:pt x="1035120" y="6339817"/>
                  <a:pt x="1036712" y="6342417"/>
                </a:cubicBezTo>
                <a:cubicBezTo>
                  <a:pt x="1038304" y="6345017"/>
                  <a:pt x="1040642" y="6347052"/>
                  <a:pt x="1043726" y="6348524"/>
                </a:cubicBezTo>
                <a:cubicBezTo>
                  <a:pt x="1046809" y="6349995"/>
                  <a:pt x="1052342" y="6351738"/>
                  <a:pt x="1060323" y="6353754"/>
                </a:cubicBezTo>
                <a:cubicBezTo>
                  <a:pt x="1066248" y="6355245"/>
                  <a:pt x="1069956" y="6356474"/>
                  <a:pt x="1071447" y="6357442"/>
                </a:cubicBezTo>
                <a:cubicBezTo>
                  <a:pt x="1073584" y="6358853"/>
                  <a:pt x="1074652" y="6360787"/>
                  <a:pt x="1074652" y="6363246"/>
                </a:cubicBezTo>
                <a:cubicBezTo>
                  <a:pt x="1074652" y="6365987"/>
                  <a:pt x="1073443" y="6368375"/>
                  <a:pt x="1071024" y="6370411"/>
                </a:cubicBezTo>
                <a:cubicBezTo>
                  <a:pt x="1068606" y="6372446"/>
                  <a:pt x="1064898" y="6373464"/>
                  <a:pt x="1059899" y="6373464"/>
                </a:cubicBezTo>
                <a:cubicBezTo>
                  <a:pt x="1054942" y="6373464"/>
                  <a:pt x="1051082" y="6372315"/>
                  <a:pt x="1048321" y="6370018"/>
                </a:cubicBezTo>
                <a:cubicBezTo>
                  <a:pt x="1045560" y="6367720"/>
                  <a:pt x="1043877" y="6364415"/>
                  <a:pt x="1043272" y="6360102"/>
                </a:cubicBezTo>
                <a:lnTo>
                  <a:pt x="1032510" y="6361795"/>
                </a:lnTo>
                <a:cubicBezTo>
                  <a:pt x="1033720" y="6368607"/>
                  <a:pt x="1036511" y="6373746"/>
                  <a:pt x="1040884" y="6377213"/>
                </a:cubicBezTo>
                <a:cubicBezTo>
                  <a:pt x="1045258" y="6380679"/>
                  <a:pt x="1051616" y="6382412"/>
                  <a:pt x="1059960" y="6382412"/>
                </a:cubicBezTo>
                <a:cubicBezTo>
                  <a:pt x="1064998" y="6382412"/>
                  <a:pt x="1069513" y="6381536"/>
                  <a:pt x="1073503" y="6379782"/>
                </a:cubicBezTo>
                <a:cubicBezTo>
                  <a:pt x="1077494" y="6378029"/>
                  <a:pt x="1080547" y="6375550"/>
                  <a:pt x="1082663" y="6372345"/>
                </a:cubicBezTo>
                <a:cubicBezTo>
                  <a:pt x="1084779" y="6369141"/>
                  <a:pt x="1085837" y="6365725"/>
                  <a:pt x="1085837" y="6362097"/>
                </a:cubicBezTo>
                <a:cubicBezTo>
                  <a:pt x="1085837" y="6358389"/>
                  <a:pt x="1084971" y="6355285"/>
                  <a:pt x="1083237" y="6352786"/>
                </a:cubicBezTo>
                <a:cubicBezTo>
                  <a:pt x="1081504" y="6350287"/>
                  <a:pt x="1079116" y="6348383"/>
                  <a:pt x="1076073" y="6347073"/>
                </a:cubicBezTo>
                <a:cubicBezTo>
                  <a:pt x="1073030" y="6345763"/>
                  <a:pt x="1067659" y="6344080"/>
                  <a:pt x="1059960" y="6342024"/>
                </a:cubicBezTo>
                <a:cubicBezTo>
                  <a:pt x="1054639" y="6340573"/>
                  <a:pt x="1051435" y="6339646"/>
                  <a:pt x="1050346" y="6339243"/>
                </a:cubicBezTo>
                <a:cubicBezTo>
                  <a:pt x="1048452" y="6338477"/>
                  <a:pt x="1047061" y="6337510"/>
                  <a:pt x="1046175" y="6336341"/>
                </a:cubicBezTo>
                <a:cubicBezTo>
                  <a:pt x="1045288" y="6335212"/>
                  <a:pt x="1044844" y="6333942"/>
                  <a:pt x="1044844" y="6332532"/>
                </a:cubicBezTo>
                <a:cubicBezTo>
                  <a:pt x="1044844" y="6330315"/>
                  <a:pt x="1045913" y="6328380"/>
                  <a:pt x="1048049" y="6326727"/>
                </a:cubicBezTo>
                <a:cubicBezTo>
                  <a:pt x="1050185" y="6325075"/>
                  <a:pt x="1053753" y="6324248"/>
                  <a:pt x="1058751" y="6324248"/>
                </a:cubicBezTo>
                <a:cubicBezTo>
                  <a:pt x="1062983" y="6324248"/>
                  <a:pt x="1066258" y="6325176"/>
                  <a:pt x="1068576" y="6327030"/>
                </a:cubicBezTo>
                <a:cubicBezTo>
                  <a:pt x="1070893" y="6328884"/>
                  <a:pt x="1072294" y="6331463"/>
                  <a:pt x="1072778" y="6334769"/>
                </a:cubicBezTo>
                <a:lnTo>
                  <a:pt x="1083419" y="6333318"/>
                </a:lnTo>
                <a:cubicBezTo>
                  <a:pt x="1082734" y="6329166"/>
                  <a:pt x="1081484" y="6325851"/>
                  <a:pt x="1079670" y="6323372"/>
                </a:cubicBezTo>
                <a:cubicBezTo>
                  <a:pt x="1077856" y="6320893"/>
                  <a:pt x="1075045" y="6318928"/>
                  <a:pt x="1071236" y="6317477"/>
                </a:cubicBezTo>
                <a:cubicBezTo>
                  <a:pt x="1067427" y="6316026"/>
                  <a:pt x="1063003" y="6315300"/>
                  <a:pt x="1057965" y="6315300"/>
                </a:cubicBezTo>
                <a:close/>
                <a:moveTo>
                  <a:pt x="991290" y="6315300"/>
                </a:moveTo>
                <a:cubicBezTo>
                  <a:pt x="987944" y="6315300"/>
                  <a:pt x="984810" y="6315733"/>
                  <a:pt x="981888" y="6316600"/>
                </a:cubicBezTo>
                <a:cubicBezTo>
                  <a:pt x="978965" y="6317467"/>
                  <a:pt x="976658" y="6318525"/>
                  <a:pt x="974965" y="6319774"/>
                </a:cubicBezTo>
                <a:cubicBezTo>
                  <a:pt x="972708" y="6321387"/>
                  <a:pt x="970924" y="6323412"/>
                  <a:pt x="969614" y="6325851"/>
                </a:cubicBezTo>
                <a:cubicBezTo>
                  <a:pt x="968304" y="6328289"/>
                  <a:pt x="967649" y="6330939"/>
                  <a:pt x="967649" y="6333801"/>
                </a:cubicBezTo>
                <a:cubicBezTo>
                  <a:pt x="967649" y="6336945"/>
                  <a:pt x="968445" y="6339817"/>
                  <a:pt x="970037" y="6342417"/>
                </a:cubicBezTo>
                <a:cubicBezTo>
                  <a:pt x="971630" y="6345017"/>
                  <a:pt x="973967" y="6347052"/>
                  <a:pt x="977051" y="6348524"/>
                </a:cubicBezTo>
                <a:cubicBezTo>
                  <a:pt x="980134" y="6349995"/>
                  <a:pt x="985667" y="6351738"/>
                  <a:pt x="993648" y="6353754"/>
                </a:cubicBezTo>
                <a:cubicBezTo>
                  <a:pt x="999573" y="6355245"/>
                  <a:pt x="1003281" y="6356474"/>
                  <a:pt x="1004772" y="6357442"/>
                </a:cubicBezTo>
                <a:cubicBezTo>
                  <a:pt x="1006909" y="6358853"/>
                  <a:pt x="1007977" y="6360787"/>
                  <a:pt x="1007977" y="6363246"/>
                </a:cubicBezTo>
                <a:cubicBezTo>
                  <a:pt x="1007977" y="6365987"/>
                  <a:pt x="1006768" y="6368375"/>
                  <a:pt x="1004349" y="6370411"/>
                </a:cubicBezTo>
                <a:cubicBezTo>
                  <a:pt x="1001931" y="6372446"/>
                  <a:pt x="998222" y="6373464"/>
                  <a:pt x="993224" y="6373464"/>
                </a:cubicBezTo>
                <a:cubicBezTo>
                  <a:pt x="988266" y="6373464"/>
                  <a:pt x="984407" y="6372315"/>
                  <a:pt x="981646" y="6370018"/>
                </a:cubicBezTo>
                <a:cubicBezTo>
                  <a:pt x="978885" y="6367720"/>
                  <a:pt x="977202" y="6364415"/>
                  <a:pt x="976598" y="6360102"/>
                </a:cubicBezTo>
                <a:lnTo>
                  <a:pt x="965835" y="6361795"/>
                </a:lnTo>
                <a:cubicBezTo>
                  <a:pt x="967044" y="6368607"/>
                  <a:pt x="969836" y="6373746"/>
                  <a:pt x="974209" y="6377213"/>
                </a:cubicBezTo>
                <a:cubicBezTo>
                  <a:pt x="978583" y="6380679"/>
                  <a:pt x="984941" y="6382412"/>
                  <a:pt x="993285" y="6382412"/>
                </a:cubicBezTo>
                <a:cubicBezTo>
                  <a:pt x="998323" y="6382412"/>
                  <a:pt x="1002838" y="6381536"/>
                  <a:pt x="1006828" y="6379782"/>
                </a:cubicBezTo>
                <a:cubicBezTo>
                  <a:pt x="1010819" y="6378029"/>
                  <a:pt x="1013872" y="6375550"/>
                  <a:pt x="1015988" y="6372345"/>
                </a:cubicBezTo>
                <a:cubicBezTo>
                  <a:pt x="1018104" y="6369141"/>
                  <a:pt x="1019162" y="6365725"/>
                  <a:pt x="1019162" y="6362097"/>
                </a:cubicBezTo>
                <a:cubicBezTo>
                  <a:pt x="1019162" y="6358389"/>
                  <a:pt x="1018296" y="6355285"/>
                  <a:pt x="1016562" y="6352786"/>
                </a:cubicBezTo>
                <a:cubicBezTo>
                  <a:pt x="1014829" y="6350287"/>
                  <a:pt x="1012441" y="6348383"/>
                  <a:pt x="1009398" y="6347073"/>
                </a:cubicBezTo>
                <a:cubicBezTo>
                  <a:pt x="1006354" y="6345763"/>
                  <a:pt x="1000984" y="6344080"/>
                  <a:pt x="993285" y="6342024"/>
                </a:cubicBezTo>
                <a:cubicBezTo>
                  <a:pt x="987964" y="6340573"/>
                  <a:pt x="984760" y="6339646"/>
                  <a:pt x="983671" y="6339243"/>
                </a:cubicBezTo>
                <a:cubicBezTo>
                  <a:pt x="981777" y="6338477"/>
                  <a:pt x="980386" y="6337510"/>
                  <a:pt x="979500" y="6336341"/>
                </a:cubicBezTo>
                <a:cubicBezTo>
                  <a:pt x="978613" y="6335212"/>
                  <a:pt x="978170" y="6333942"/>
                  <a:pt x="978170" y="6332532"/>
                </a:cubicBezTo>
                <a:cubicBezTo>
                  <a:pt x="978170" y="6330315"/>
                  <a:pt x="979238" y="6328380"/>
                  <a:pt x="981374" y="6326727"/>
                </a:cubicBezTo>
                <a:cubicBezTo>
                  <a:pt x="983510" y="6325075"/>
                  <a:pt x="987077" y="6324248"/>
                  <a:pt x="992076" y="6324248"/>
                </a:cubicBezTo>
                <a:cubicBezTo>
                  <a:pt x="996308" y="6324248"/>
                  <a:pt x="999583" y="6325176"/>
                  <a:pt x="1001900" y="6327030"/>
                </a:cubicBezTo>
                <a:cubicBezTo>
                  <a:pt x="1004218" y="6328884"/>
                  <a:pt x="1005619" y="6331463"/>
                  <a:pt x="1006103" y="6334769"/>
                </a:cubicBezTo>
                <a:lnTo>
                  <a:pt x="1016744" y="6333318"/>
                </a:lnTo>
                <a:cubicBezTo>
                  <a:pt x="1016059" y="6329166"/>
                  <a:pt x="1014809" y="6325851"/>
                  <a:pt x="1012995" y="6323372"/>
                </a:cubicBezTo>
                <a:cubicBezTo>
                  <a:pt x="1011181" y="6320893"/>
                  <a:pt x="1008370" y="6318928"/>
                  <a:pt x="1004561" y="6317477"/>
                </a:cubicBezTo>
                <a:cubicBezTo>
                  <a:pt x="1000752" y="6316026"/>
                  <a:pt x="996328" y="6315300"/>
                  <a:pt x="991290" y="6315300"/>
                </a:cubicBezTo>
                <a:close/>
                <a:moveTo>
                  <a:pt x="929875" y="6315300"/>
                </a:moveTo>
                <a:cubicBezTo>
                  <a:pt x="921007" y="6315300"/>
                  <a:pt x="913792" y="6318283"/>
                  <a:pt x="908229" y="6324248"/>
                </a:cubicBezTo>
                <a:cubicBezTo>
                  <a:pt x="902667" y="6330214"/>
                  <a:pt x="899886" y="6338598"/>
                  <a:pt x="899886" y="6349400"/>
                </a:cubicBezTo>
                <a:cubicBezTo>
                  <a:pt x="899886" y="6359840"/>
                  <a:pt x="902637" y="6367952"/>
                  <a:pt x="908139" y="6373736"/>
                </a:cubicBezTo>
                <a:cubicBezTo>
                  <a:pt x="913641" y="6379520"/>
                  <a:pt x="921088" y="6382412"/>
                  <a:pt x="930479" y="6382412"/>
                </a:cubicBezTo>
                <a:cubicBezTo>
                  <a:pt x="937936" y="6382412"/>
                  <a:pt x="944063" y="6380598"/>
                  <a:pt x="948860" y="6376971"/>
                </a:cubicBezTo>
                <a:cubicBezTo>
                  <a:pt x="953656" y="6373343"/>
                  <a:pt x="956941" y="6368244"/>
                  <a:pt x="958715" y="6361674"/>
                </a:cubicBezTo>
                <a:lnTo>
                  <a:pt x="947469" y="6360283"/>
                </a:lnTo>
                <a:cubicBezTo>
                  <a:pt x="945816" y="6364879"/>
                  <a:pt x="943579" y="6368224"/>
                  <a:pt x="940758" y="6370320"/>
                </a:cubicBezTo>
                <a:cubicBezTo>
                  <a:pt x="937936" y="6372416"/>
                  <a:pt x="934530" y="6373464"/>
                  <a:pt x="930540" y="6373464"/>
                </a:cubicBezTo>
                <a:cubicBezTo>
                  <a:pt x="925179" y="6373464"/>
                  <a:pt x="920705" y="6371590"/>
                  <a:pt x="917117" y="6367841"/>
                </a:cubicBezTo>
                <a:cubicBezTo>
                  <a:pt x="913530" y="6364093"/>
                  <a:pt x="911535" y="6358691"/>
                  <a:pt x="911132" y="6351637"/>
                </a:cubicBezTo>
                <a:lnTo>
                  <a:pt x="959017" y="6351637"/>
                </a:lnTo>
                <a:cubicBezTo>
                  <a:pt x="959057" y="6350348"/>
                  <a:pt x="959078" y="6349380"/>
                  <a:pt x="959078" y="6348735"/>
                </a:cubicBezTo>
                <a:cubicBezTo>
                  <a:pt x="959078" y="6338134"/>
                  <a:pt x="956357" y="6329912"/>
                  <a:pt x="950915" y="6324067"/>
                </a:cubicBezTo>
                <a:cubicBezTo>
                  <a:pt x="945474" y="6318222"/>
                  <a:pt x="938460" y="6315300"/>
                  <a:pt x="929875" y="6315300"/>
                </a:cubicBezTo>
                <a:close/>
                <a:moveTo>
                  <a:pt x="867069" y="6315300"/>
                </a:moveTo>
                <a:cubicBezTo>
                  <a:pt x="858161" y="6315300"/>
                  <a:pt x="851349" y="6318827"/>
                  <a:pt x="846633" y="6325881"/>
                </a:cubicBezTo>
                <a:lnTo>
                  <a:pt x="846633" y="6316751"/>
                </a:lnTo>
                <a:lnTo>
                  <a:pt x="836839" y="6316751"/>
                </a:lnTo>
                <a:lnTo>
                  <a:pt x="836839" y="6380961"/>
                </a:lnTo>
                <a:lnTo>
                  <a:pt x="847722" y="6380961"/>
                </a:lnTo>
                <a:lnTo>
                  <a:pt x="847722" y="6345894"/>
                </a:lnTo>
                <a:cubicBezTo>
                  <a:pt x="847722" y="6337671"/>
                  <a:pt x="849405" y="6332088"/>
                  <a:pt x="852770" y="6329146"/>
                </a:cubicBezTo>
                <a:cubicBezTo>
                  <a:pt x="856136" y="6326203"/>
                  <a:pt x="860136" y="6324732"/>
                  <a:pt x="864772" y="6324732"/>
                </a:cubicBezTo>
                <a:cubicBezTo>
                  <a:pt x="867674" y="6324732"/>
                  <a:pt x="870203" y="6325387"/>
                  <a:pt x="872360" y="6326697"/>
                </a:cubicBezTo>
                <a:cubicBezTo>
                  <a:pt x="874516" y="6328007"/>
                  <a:pt x="876018" y="6329761"/>
                  <a:pt x="876864" y="6331957"/>
                </a:cubicBezTo>
                <a:cubicBezTo>
                  <a:pt x="877710" y="6334154"/>
                  <a:pt x="878134" y="6337469"/>
                  <a:pt x="878134" y="6341903"/>
                </a:cubicBezTo>
                <a:lnTo>
                  <a:pt x="878134" y="6380961"/>
                </a:lnTo>
                <a:lnTo>
                  <a:pt x="889017" y="6380961"/>
                </a:lnTo>
                <a:lnTo>
                  <a:pt x="889017" y="6341480"/>
                </a:lnTo>
                <a:cubicBezTo>
                  <a:pt x="889017" y="6336441"/>
                  <a:pt x="888815" y="6332915"/>
                  <a:pt x="888412" y="6330899"/>
                </a:cubicBezTo>
                <a:cubicBezTo>
                  <a:pt x="887767" y="6327796"/>
                  <a:pt x="886639" y="6325115"/>
                  <a:pt x="885026" y="6322858"/>
                </a:cubicBezTo>
                <a:cubicBezTo>
                  <a:pt x="883414" y="6320601"/>
                  <a:pt x="880985" y="6318777"/>
                  <a:pt x="877741" y="6317386"/>
                </a:cubicBezTo>
                <a:cubicBezTo>
                  <a:pt x="874496" y="6315995"/>
                  <a:pt x="870939" y="6315300"/>
                  <a:pt x="867069" y="6315300"/>
                </a:cubicBezTo>
                <a:close/>
                <a:moveTo>
                  <a:pt x="762690" y="6315300"/>
                </a:moveTo>
                <a:cubicBezTo>
                  <a:pt x="759344" y="6315300"/>
                  <a:pt x="756210" y="6315733"/>
                  <a:pt x="753288" y="6316600"/>
                </a:cubicBezTo>
                <a:cubicBezTo>
                  <a:pt x="750366" y="6317467"/>
                  <a:pt x="748058" y="6318525"/>
                  <a:pt x="746365" y="6319774"/>
                </a:cubicBezTo>
                <a:cubicBezTo>
                  <a:pt x="744108" y="6321387"/>
                  <a:pt x="742324" y="6323412"/>
                  <a:pt x="741014" y="6325851"/>
                </a:cubicBezTo>
                <a:cubicBezTo>
                  <a:pt x="739704" y="6328289"/>
                  <a:pt x="739049" y="6330939"/>
                  <a:pt x="739049" y="6333801"/>
                </a:cubicBezTo>
                <a:cubicBezTo>
                  <a:pt x="739049" y="6336945"/>
                  <a:pt x="739845" y="6339817"/>
                  <a:pt x="741437" y="6342417"/>
                </a:cubicBezTo>
                <a:cubicBezTo>
                  <a:pt x="743030" y="6345017"/>
                  <a:pt x="745367" y="6347052"/>
                  <a:pt x="748451" y="6348524"/>
                </a:cubicBezTo>
                <a:cubicBezTo>
                  <a:pt x="751534" y="6349995"/>
                  <a:pt x="757067" y="6351738"/>
                  <a:pt x="765048" y="6353754"/>
                </a:cubicBezTo>
                <a:cubicBezTo>
                  <a:pt x="770973" y="6355245"/>
                  <a:pt x="774681" y="6356474"/>
                  <a:pt x="776172" y="6357442"/>
                </a:cubicBezTo>
                <a:cubicBezTo>
                  <a:pt x="778309" y="6358853"/>
                  <a:pt x="779377" y="6360787"/>
                  <a:pt x="779377" y="6363246"/>
                </a:cubicBezTo>
                <a:cubicBezTo>
                  <a:pt x="779377" y="6365987"/>
                  <a:pt x="778168" y="6368375"/>
                  <a:pt x="775749" y="6370411"/>
                </a:cubicBezTo>
                <a:cubicBezTo>
                  <a:pt x="773331" y="6372446"/>
                  <a:pt x="769623" y="6373464"/>
                  <a:pt x="764624" y="6373464"/>
                </a:cubicBezTo>
                <a:cubicBezTo>
                  <a:pt x="759666" y="6373464"/>
                  <a:pt x="755807" y="6372315"/>
                  <a:pt x="753046" y="6370018"/>
                </a:cubicBezTo>
                <a:cubicBezTo>
                  <a:pt x="750285" y="6367720"/>
                  <a:pt x="748602" y="6364415"/>
                  <a:pt x="747997" y="6360102"/>
                </a:cubicBezTo>
                <a:lnTo>
                  <a:pt x="737235" y="6361795"/>
                </a:lnTo>
                <a:cubicBezTo>
                  <a:pt x="738445" y="6368607"/>
                  <a:pt x="741236" y="6373746"/>
                  <a:pt x="745609" y="6377213"/>
                </a:cubicBezTo>
                <a:cubicBezTo>
                  <a:pt x="749983" y="6380679"/>
                  <a:pt x="756341" y="6382412"/>
                  <a:pt x="764685" y="6382412"/>
                </a:cubicBezTo>
                <a:cubicBezTo>
                  <a:pt x="769723" y="6382412"/>
                  <a:pt x="774238" y="6381536"/>
                  <a:pt x="778228" y="6379782"/>
                </a:cubicBezTo>
                <a:cubicBezTo>
                  <a:pt x="782219" y="6378029"/>
                  <a:pt x="785272" y="6375550"/>
                  <a:pt x="787388" y="6372345"/>
                </a:cubicBezTo>
                <a:cubicBezTo>
                  <a:pt x="789504" y="6369141"/>
                  <a:pt x="790562" y="6365725"/>
                  <a:pt x="790562" y="6362097"/>
                </a:cubicBezTo>
                <a:cubicBezTo>
                  <a:pt x="790562" y="6358389"/>
                  <a:pt x="789696" y="6355285"/>
                  <a:pt x="787962" y="6352786"/>
                </a:cubicBezTo>
                <a:cubicBezTo>
                  <a:pt x="786229" y="6350287"/>
                  <a:pt x="783841" y="6348383"/>
                  <a:pt x="780798" y="6347073"/>
                </a:cubicBezTo>
                <a:cubicBezTo>
                  <a:pt x="777754" y="6345763"/>
                  <a:pt x="772383" y="6344080"/>
                  <a:pt x="764685" y="6342024"/>
                </a:cubicBezTo>
                <a:cubicBezTo>
                  <a:pt x="759364" y="6340573"/>
                  <a:pt x="756160" y="6339646"/>
                  <a:pt x="755071" y="6339243"/>
                </a:cubicBezTo>
                <a:cubicBezTo>
                  <a:pt x="753177" y="6338477"/>
                  <a:pt x="751786" y="6337510"/>
                  <a:pt x="750900" y="6336341"/>
                </a:cubicBezTo>
                <a:cubicBezTo>
                  <a:pt x="750013" y="6335212"/>
                  <a:pt x="749569" y="6333942"/>
                  <a:pt x="749569" y="6332532"/>
                </a:cubicBezTo>
                <a:cubicBezTo>
                  <a:pt x="749569" y="6330315"/>
                  <a:pt x="750638" y="6328380"/>
                  <a:pt x="752774" y="6326727"/>
                </a:cubicBezTo>
                <a:cubicBezTo>
                  <a:pt x="754910" y="6325075"/>
                  <a:pt x="758477" y="6324248"/>
                  <a:pt x="763476" y="6324248"/>
                </a:cubicBezTo>
                <a:cubicBezTo>
                  <a:pt x="767708" y="6324248"/>
                  <a:pt x="770983" y="6325176"/>
                  <a:pt x="773301" y="6327030"/>
                </a:cubicBezTo>
                <a:cubicBezTo>
                  <a:pt x="775618" y="6328884"/>
                  <a:pt x="777019" y="6331463"/>
                  <a:pt x="777503" y="6334769"/>
                </a:cubicBezTo>
                <a:lnTo>
                  <a:pt x="788144" y="6333318"/>
                </a:lnTo>
                <a:cubicBezTo>
                  <a:pt x="787459" y="6329166"/>
                  <a:pt x="786209" y="6325851"/>
                  <a:pt x="784395" y="6323372"/>
                </a:cubicBezTo>
                <a:cubicBezTo>
                  <a:pt x="782581" y="6320893"/>
                  <a:pt x="779770" y="6318928"/>
                  <a:pt x="775961" y="6317477"/>
                </a:cubicBezTo>
                <a:cubicBezTo>
                  <a:pt x="772152" y="6316026"/>
                  <a:pt x="767728" y="6315300"/>
                  <a:pt x="762690" y="6315300"/>
                </a:cubicBezTo>
                <a:close/>
                <a:moveTo>
                  <a:pt x="525681" y="6301636"/>
                </a:moveTo>
                <a:cubicBezTo>
                  <a:pt x="527051" y="6306432"/>
                  <a:pt x="529147" y="6312559"/>
                  <a:pt x="531969" y="6320016"/>
                </a:cubicBezTo>
                <a:lnTo>
                  <a:pt x="541219" y="6344563"/>
                </a:lnTo>
                <a:lnTo>
                  <a:pt x="511170" y="6344563"/>
                </a:lnTo>
                <a:lnTo>
                  <a:pt x="520904" y="6318565"/>
                </a:lnTo>
                <a:cubicBezTo>
                  <a:pt x="522960" y="6312962"/>
                  <a:pt x="524552" y="6307319"/>
                  <a:pt x="525681" y="6301636"/>
                </a:cubicBezTo>
                <a:close/>
                <a:moveTo>
                  <a:pt x="1847396" y="6292325"/>
                </a:moveTo>
                <a:lnTo>
                  <a:pt x="1847396" y="6380961"/>
                </a:lnTo>
                <a:lnTo>
                  <a:pt x="1902778" y="6380961"/>
                </a:lnTo>
                <a:lnTo>
                  <a:pt x="1902778" y="6370501"/>
                </a:lnTo>
                <a:lnTo>
                  <a:pt x="1859125" y="6370501"/>
                </a:lnTo>
                <a:lnTo>
                  <a:pt x="1859125" y="6292325"/>
                </a:lnTo>
                <a:close/>
                <a:moveTo>
                  <a:pt x="1676067" y="6292325"/>
                </a:moveTo>
                <a:lnTo>
                  <a:pt x="1676067" y="6380961"/>
                </a:lnTo>
                <a:lnTo>
                  <a:pt x="1687373" y="6380961"/>
                </a:lnTo>
                <a:lnTo>
                  <a:pt x="1687373" y="6305505"/>
                </a:lnTo>
                <a:lnTo>
                  <a:pt x="1713008" y="6380961"/>
                </a:lnTo>
                <a:lnTo>
                  <a:pt x="1723589" y="6380961"/>
                </a:lnTo>
                <a:lnTo>
                  <a:pt x="1749346" y="6306775"/>
                </a:lnTo>
                <a:lnTo>
                  <a:pt x="1749346" y="6380961"/>
                </a:lnTo>
                <a:lnTo>
                  <a:pt x="1760652" y="6380961"/>
                </a:lnTo>
                <a:lnTo>
                  <a:pt x="1760652" y="6292325"/>
                </a:lnTo>
                <a:lnTo>
                  <a:pt x="1744872" y="6292325"/>
                </a:lnTo>
                <a:lnTo>
                  <a:pt x="1723650" y="6353995"/>
                </a:lnTo>
                <a:cubicBezTo>
                  <a:pt x="1721513" y="6360243"/>
                  <a:pt x="1719941" y="6364979"/>
                  <a:pt x="1718933" y="6368204"/>
                </a:cubicBezTo>
                <a:cubicBezTo>
                  <a:pt x="1718047" y="6365302"/>
                  <a:pt x="1716636" y="6360928"/>
                  <a:pt x="1714701" y="6355084"/>
                </a:cubicBezTo>
                <a:lnTo>
                  <a:pt x="1693721" y="6292325"/>
                </a:lnTo>
                <a:close/>
                <a:moveTo>
                  <a:pt x="1560739" y="6292325"/>
                </a:moveTo>
                <a:lnTo>
                  <a:pt x="1560739" y="6380961"/>
                </a:lnTo>
                <a:lnTo>
                  <a:pt x="1571622" y="6380961"/>
                </a:lnTo>
                <a:lnTo>
                  <a:pt x="1571622" y="6345833"/>
                </a:lnTo>
                <a:cubicBezTo>
                  <a:pt x="1571622" y="6340795"/>
                  <a:pt x="1572226" y="6336845"/>
                  <a:pt x="1573435" y="6333983"/>
                </a:cubicBezTo>
                <a:cubicBezTo>
                  <a:pt x="1574645" y="6331121"/>
                  <a:pt x="1576670" y="6328854"/>
                  <a:pt x="1579512" y="6327181"/>
                </a:cubicBezTo>
                <a:cubicBezTo>
                  <a:pt x="1582354" y="6325508"/>
                  <a:pt x="1585387" y="6324672"/>
                  <a:pt x="1588611" y="6324672"/>
                </a:cubicBezTo>
                <a:cubicBezTo>
                  <a:pt x="1592924" y="6324672"/>
                  <a:pt x="1596260" y="6325911"/>
                  <a:pt x="1598618" y="6328390"/>
                </a:cubicBezTo>
                <a:cubicBezTo>
                  <a:pt x="1600976" y="6330869"/>
                  <a:pt x="1602155" y="6334829"/>
                  <a:pt x="1602155" y="6340271"/>
                </a:cubicBezTo>
                <a:lnTo>
                  <a:pt x="1602155" y="6380961"/>
                </a:lnTo>
                <a:lnTo>
                  <a:pt x="1613038" y="6380961"/>
                </a:lnTo>
                <a:lnTo>
                  <a:pt x="1613038" y="6340271"/>
                </a:lnTo>
                <a:cubicBezTo>
                  <a:pt x="1613038" y="6333983"/>
                  <a:pt x="1612282" y="6329186"/>
                  <a:pt x="1610771" y="6325881"/>
                </a:cubicBezTo>
                <a:cubicBezTo>
                  <a:pt x="1609259" y="6322576"/>
                  <a:pt x="1606750" y="6319986"/>
                  <a:pt x="1603243" y="6318112"/>
                </a:cubicBezTo>
                <a:cubicBezTo>
                  <a:pt x="1599736" y="6316237"/>
                  <a:pt x="1595605" y="6315300"/>
                  <a:pt x="1590848" y="6315300"/>
                </a:cubicBezTo>
                <a:cubicBezTo>
                  <a:pt x="1583109" y="6315300"/>
                  <a:pt x="1576700" y="6318243"/>
                  <a:pt x="1571622" y="6324128"/>
                </a:cubicBezTo>
                <a:lnTo>
                  <a:pt x="1571622" y="6292325"/>
                </a:lnTo>
                <a:close/>
                <a:moveTo>
                  <a:pt x="1285542" y="6292325"/>
                </a:moveTo>
                <a:lnTo>
                  <a:pt x="1285542" y="6380961"/>
                </a:lnTo>
                <a:lnTo>
                  <a:pt x="1296848" y="6380961"/>
                </a:lnTo>
                <a:lnTo>
                  <a:pt x="1296848" y="6305505"/>
                </a:lnTo>
                <a:lnTo>
                  <a:pt x="1322484" y="6380961"/>
                </a:lnTo>
                <a:lnTo>
                  <a:pt x="1333064" y="6380961"/>
                </a:lnTo>
                <a:lnTo>
                  <a:pt x="1358821" y="6306775"/>
                </a:lnTo>
                <a:lnTo>
                  <a:pt x="1358821" y="6380961"/>
                </a:lnTo>
                <a:lnTo>
                  <a:pt x="1370127" y="6380961"/>
                </a:lnTo>
                <a:lnTo>
                  <a:pt x="1370127" y="6292325"/>
                </a:lnTo>
                <a:lnTo>
                  <a:pt x="1354347" y="6292325"/>
                </a:lnTo>
                <a:lnTo>
                  <a:pt x="1333125" y="6353995"/>
                </a:lnTo>
                <a:cubicBezTo>
                  <a:pt x="1330988" y="6360243"/>
                  <a:pt x="1329416" y="6364979"/>
                  <a:pt x="1328409" y="6368204"/>
                </a:cubicBezTo>
                <a:cubicBezTo>
                  <a:pt x="1327522" y="6365302"/>
                  <a:pt x="1326111" y="6360928"/>
                  <a:pt x="1324176" y="6355084"/>
                </a:cubicBezTo>
                <a:lnTo>
                  <a:pt x="1303196" y="6292325"/>
                </a:lnTo>
                <a:close/>
                <a:moveTo>
                  <a:pt x="808324" y="6292325"/>
                </a:moveTo>
                <a:lnTo>
                  <a:pt x="808324" y="6304840"/>
                </a:lnTo>
                <a:lnTo>
                  <a:pt x="819207" y="6304840"/>
                </a:lnTo>
                <a:lnTo>
                  <a:pt x="819207" y="6292325"/>
                </a:lnTo>
                <a:close/>
                <a:moveTo>
                  <a:pt x="608178" y="6292325"/>
                </a:moveTo>
                <a:lnTo>
                  <a:pt x="608178" y="6380961"/>
                </a:lnTo>
                <a:lnTo>
                  <a:pt x="618275" y="6380961"/>
                </a:lnTo>
                <a:lnTo>
                  <a:pt x="618275" y="6372920"/>
                </a:lnTo>
                <a:cubicBezTo>
                  <a:pt x="622588" y="6379248"/>
                  <a:pt x="628533" y="6382412"/>
                  <a:pt x="636111" y="6382412"/>
                </a:cubicBezTo>
                <a:cubicBezTo>
                  <a:pt x="643729" y="6382412"/>
                  <a:pt x="650259" y="6379409"/>
                  <a:pt x="655701" y="6373404"/>
                </a:cubicBezTo>
                <a:cubicBezTo>
                  <a:pt x="661142" y="6367398"/>
                  <a:pt x="663863" y="6358893"/>
                  <a:pt x="663863" y="6347889"/>
                </a:cubicBezTo>
                <a:cubicBezTo>
                  <a:pt x="663863" y="6343253"/>
                  <a:pt x="663218" y="6338900"/>
                  <a:pt x="661928" y="6334829"/>
                </a:cubicBezTo>
                <a:cubicBezTo>
                  <a:pt x="660638" y="6330758"/>
                  <a:pt x="658855" y="6327282"/>
                  <a:pt x="656577" y="6324400"/>
                </a:cubicBezTo>
                <a:cubicBezTo>
                  <a:pt x="654300" y="6321518"/>
                  <a:pt x="651398" y="6319281"/>
                  <a:pt x="647871" y="6317688"/>
                </a:cubicBezTo>
                <a:cubicBezTo>
                  <a:pt x="644344" y="6316096"/>
                  <a:pt x="640606" y="6315300"/>
                  <a:pt x="636655" y="6315300"/>
                </a:cubicBezTo>
                <a:cubicBezTo>
                  <a:pt x="629521" y="6315300"/>
                  <a:pt x="623656" y="6318182"/>
                  <a:pt x="619061" y="6323946"/>
                </a:cubicBezTo>
                <a:lnTo>
                  <a:pt x="619061" y="6292325"/>
                </a:lnTo>
                <a:close/>
                <a:moveTo>
                  <a:pt x="519635" y="6292325"/>
                </a:moveTo>
                <a:lnTo>
                  <a:pt x="485595" y="6380961"/>
                </a:lnTo>
                <a:lnTo>
                  <a:pt x="498050" y="6380961"/>
                </a:lnTo>
                <a:lnTo>
                  <a:pt x="507784" y="6354116"/>
                </a:lnTo>
                <a:lnTo>
                  <a:pt x="544847" y="6354116"/>
                </a:lnTo>
                <a:lnTo>
                  <a:pt x="555186" y="6380961"/>
                </a:lnTo>
                <a:lnTo>
                  <a:pt x="568548" y="6380961"/>
                </a:lnTo>
                <a:lnTo>
                  <a:pt x="532271" y="6292325"/>
                </a:lnTo>
                <a:close/>
                <a:moveTo>
                  <a:pt x="1228689" y="6290813"/>
                </a:moveTo>
                <a:cubicBezTo>
                  <a:pt x="1223933" y="6290813"/>
                  <a:pt x="1220235" y="6291690"/>
                  <a:pt x="1217594" y="6293443"/>
                </a:cubicBezTo>
                <a:cubicBezTo>
                  <a:pt x="1214954" y="6295197"/>
                  <a:pt x="1213110" y="6297484"/>
                  <a:pt x="1212062" y="6300306"/>
                </a:cubicBezTo>
                <a:cubicBezTo>
                  <a:pt x="1211296" y="6302402"/>
                  <a:pt x="1210914" y="6305606"/>
                  <a:pt x="1210914" y="6309919"/>
                </a:cubicBezTo>
                <a:lnTo>
                  <a:pt x="1210914" y="6316751"/>
                </a:lnTo>
                <a:lnTo>
                  <a:pt x="1201300" y="6316751"/>
                </a:lnTo>
                <a:lnTo>
                  <a:pt x="1201300" y="6325216"/>
                </a:lnTo>
                <a:lnTo>
                  <a:pt x="1210914" y="6325216"/>
                </a:lnTo>
                <a:lnTo>
                  <a:pt x="1210914" y="6380961"/>
                </a:lnTo>
                <a:lnTo>
                  <a:pt x="1221736" y="6380961"/>
                </a:lnTo>
                <a:lnTo>
                  <a:pt x="1221736" y="6325216"/>
                </a:lnTo>
                <a:lnTo>
                  <a:pt x="1234252" y="6325216"/>
                </a:lnTo>
                <a:lnTo>
                  <a:pt x="1234252" y="6316751"/>
                </a:lnTo>
                <a:lnTo>
                  <a:pt x="1221736" y="6316751"/>
                </a:lnTo>
                <a:lnTo>
                  <a:pt x="1221736" y="6310826"/>
                </a:lnTo>
                <a:cubicBezTo>
                  <a:pt x="1221736" y="6306956"/>
                  <a:pt x="1222421" y="6304316"/>
                  <a:pt x="1223792" y="6302906"/>
                </a:cubicBezTo>
                <a:cubicBezTo>
                  <a:pt x="1225162" y="6301495"/>
                  <a:pt x="1227500" y="6300789"/>
                  <a:pt x="1230805" y="6300789"/>
                </a:cubicBezTo>
                <a:cubicBezTo>
                  <a:pt x="1232820" y="6300789"/>
                  <a:pt x="1234957" y="6300991"/>
                  <a:pt x="1237214" y="6301394"/>
                </a:cubicBezTo>
                <a:lnTo>
                  <a:pt x="1238847" y="6291902"/>
                </a:lnTo>
                <a:cubicBezTo>
                  <a:pt x="1235138" y="6291176"/>
                  <a:pt x="1231753" y="6290813"/>
                  <a:pt x="1228689" y="6290813"/>
                </a:cubicBezTo>
                <a:close/>
                <a:moveTo>
                  <a:pt x="7175501" y="1"/>
                </a:moveTo>
                <a:lnTo>
                  <a:pt x="12191999" y="1"/>
                </a:lnTo>
                <a:lnTo>
                  <a:pt x="12191999" y="6858001"/>
                </a:lnTo>
                <a:lnTo>
                  <a:pt x="1" y="6858001"/>
                </a:lnTo>
                <a:lnTo>
                  <a:pt x="1" y="5752619"/>
                </a:lnTo>
                <a:lnTo>
                  <a:pt x="7175501" y="5752619"/>
                </a:lnTo>
                <a:close/>
                <a:moveTo>
                  <a:pt x="0" y="0"/>
                </a:moveTo>
                <a:lnTo>
                  <a:pt x="7175501" y="0"/>
                </a:lnTo>
                <a:lnTo>
                  <a:pt x="7175501" y="1"/>
                </a:lnTo>
                <a:lnTo>
                  <a:pt x="1" y="1"/>
                </a:lnTo>
                <a:lnTo>
                  <a:pt x="1" y="5752619"/>
                </a:lnTo>
                <a:lnTo>
                  <a:pt x="0" y="5752619"/>
                </a:lnTo>
                <a:close/>
              </a:path>
            </a:pathLst>
          </a:custGeom>
          <a:solidFill>
            <a:srgbClr val="F0F0F0"/>
          </a:solidFill>
        </p:spPr>
        <p:txBody>
          <a:bodyPr wrap="square">
            <a:no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1200">
                <a:solidFill>
                  <a:srgbClr val="FF0000"/>
                </a:solidFill>
              </a:defRPr>
            </a:lvl1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t>Click on picture icon to insert picture. Reset layout.</a:t>
            </a:r>
          </a:p>
        </p:txBody>
      </p:sp>
      <p:sp>
        <p:nvSpPr>
          <p:cNvPr id="12"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baseline="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a:t>
            </a:r>
            <a:r>
              <a:rPr lang="en-US" sz="1000" dirty="0">
                <a:ea typeface="Open Sans" panose="020B0606030504020204" pitchFamily="34" charset="0"/>
                <a:cs typeface="Arial" panose="020B0604020202020204" pitchFamily="34" charset="0"/>
              </a:rPr>
              <a:t>Give the logo equal visual weight as Marsh’s. </a:t>
            </a:r>
            <a:r>
              <a:rPr lang="en-US" dirty="0"/>
              <a:t>Delete box if not used.</a:t>
            </a:r>
          </a:p>
        </p:txBody>
      </p:sp>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extLst>
              <p:ext uri="{D42A27DB-BD31-4B8C-83A1-F6EECF244321}">
                <p14:modId xmlns:p14="http://schemas.microsoft.com/office/powerpoint/2010/main" val="5407177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609725"/>
            <a:ext cx="6485763" cy="1600200"/>
          </a:xfrm>
        </p:spPr>
        <p:txBody>
          <a:bodyPr vert="horz" anchor="b" anchorCtr="0"/>
          <a:lstStyle>
            <a:lvl1pPr>
              <a:lnSpc>
                <a:spcPct val="90000"/>
              </a:lnSpc>
              <a:defRPr lang="en-US" sz="4800" b="1" i="0" kern="1200" cap="none" baseline="0" dirty="0">
                <a:solidFill>
                  <a:schemeClr val="bg1"/>
                </a:solidFill>
                <a:latin typeface="Arial" panose="020B0604020202020204" pitchFamily="34" charset="0"/>
                <a:ea typeface="+mj-ea"/>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405820"/>
            <a:ext cx="6447769" cy="807913"/>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9" name="Text Placeholder 3">
            <a:extLst>
              <a:ext uri="{FF2B5EF4-FFF2-40B4-BE49-F238E27FC236}">
                <a16:creationId xmlns:a16="http://schemas.microsoft.com/office/drawing/2014/main" id="{408D7265-22AD-444D-9DAE-694197297FA6}"/>
              </a:ext>
            </a:extLst>
          </p:cNvPr>
          <p:cNvSpPr>
            <a:spLocks noGrp="1"/>
          </p:cNvSpPr>
          <p:nvPr>
            <p:ph type="body" sz="half" idx="2" hasCustomPrompt="1"/>
          </p:nvPr>
        </p:nvSpPr>
        <p:spPr>
          <a:xfrm>
            <a:off x="485775" y="4429126"/>
            <a:ext cx="64484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pic>
        <p:nvPicPr>
          <p:cNvPr id="73" name="Graphic 12">
            <a:extLst>
              <a:ext uri="{FF2B5EF4-FFF2-40B4-BE49-F238E27FC236}">
                <a16:creationId xmlns:a16="http://schemas.microsoft.com/office/drawing/2014/main" id="{D426043B-0359-FC46-BCF1-DAFF274E758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86803" y="341762"/>
            <a:ext cx="1623974" cy="338328"/>
          </a:xfrm>
          <a:prstGeom prst="rect">
            <a:avLst/>
          </a:prstGeom>
        </p:spPr>
      </p:pic>
    </p:spTree>
    <p:extLst>
      <p:ext uri="{BB962C8B-B14F-4D97-AF65-F5344CB8AC3E}">
        <p14:creationId xmlns:p14="http://schemas.microsoft.com/office/powerpoint/2010/main" val="207063685"/>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Title slide A: image light box">
    <p:bg>
      <p:bgPr>
        <a:solidFill>
          <a:schemeClr val="accent3"/>
        </a:solidFill>
        <a:effectLst/>
      </p:bgPr>
    </p:bg>
    <p:spTree>
      <p:nvGrpSpPr>
        <p:cNvPr id="1" name=""/>
        <p:cNvGrpSpPr/>
        <p:nvPr/>
      </p:nvGrpSpPr>
      <p:grpSpPr>
        <a:xfrm>
          <a:off x="0" y="0"/>
          <a:ext cx="0" cy="0"/>
          <a:chOff x="0" y="0"/>
          <a:chExt cx="0" cy="0"/>
        </a:xfrm>
      </p:grpSpPr>
      <p:sp>
        <p:nvSpPr>
          <p:cNvPr id="17" name="Rectangle 16"/>
          <p:cNvSpPr/>
          <p:nvPr userDrawn="1"/>
        </p:nvSpPr>
        <p:spPr>
          <a:xfrm>
            <a:off x="355599" y="6121400"/>
            <a:ext cx="2032001" cy="4953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Picture Placeholder 17">
            <a:extLst>
              <a:ext uri="{FF2B5EF4-FFF2-40B4-BE49-F238E27FC236}">
                <a16:creationId xmlns:a16="http://schemas.microsoft.com/office/drawing/2014/main" id="{73319BE5-0EF3-DD4B-B826-A8E9F0755285}"/>
              </a:ext>
            </a:extLst>
          </p:cNvPr>
          <p:cNvSpPr>
            <a:spLocks noGrp="1"/>
          </p:cNvSpPr>
          <p:nvPr>
            <p:ph type="pic" sz="quarter" idx="10" hasCustomPrompt="1"/>
          </p:nvPr>
        </p:nvSpPr>
        <p:spPr>
          <a:xfrm>
            <a:off x="-1" y="-1"/>
            <a:ext cx="12191999" cy="6858001"/>
          </a:xfrm>
          <a:custGeom>
            <a:avLst/>
            <a:gdLst>
              <a:gd name="connsiteX0" fmla="*/ 2154182 w 12191999"/>
              <a:gd name="connsiteY0" fmla="*/ 6348735 h 6858001"/>
              <a:gd name="connsiteX1" fmla="*/ 2154182 w 12191999"/>
              <a:gd name="connsiteY1" fmla="*/ 6352726 h 6858001"/>
              <a:gd name="connsiteX2" fmla="*/ 2152428 w 12191999"/>
              <a:gd name="connsiteY2" fmla="*/ 6363609 h 6858001"/>
              <a:gd name="connsiteX3" fmla="*/ 2145233 w 12191999"/>
              <a:gd name="connsiteY3" fmla="*/ 6371136 h 6858001"/>
              <a:gd name="connsiteX4" fmla="*/ 2134048 w 12191999"/>
              <a:gd name="connsiteY4" fmla="*/ 6373887 h 6858001"/>
              <a:gd name="connsiteX5" fmla="*/ 2124404 w 12191999"/>
              <a:gd name="connsiteY5" fmla="*/ 6370985 h 6858001"/>
              <a:gd name="connsiteX6" fmla="*/ 2121109 w 12191999"/>
              <a:gd name="connsiteY6" fmla="*/ 6363730 h 6858001"/>
              <a:gd name="connsiteX7" fmla="*/ 2122621 w 12191999"/>
              <a:gd name="connsiteY7" fmla="*/ 6358560 h 6858001"/>
              <a:gd name="connsiteX8" fmla="*/ 2126913 w 12191999"/>
              <a:gd name="connsiteY8" fmla="*/ 6355023 h 6858001"/>
              <a:gd name="connsiteX9" fmla="*/ 2136406 w 12191999"/>
              <a:gd name="connsiteY9" fmla="*/ 6352847 h 6858001"/>
              <a:gd name="connsiteX10" fmla="*/ 2154182 w 12191999"/>
              <a:gd name="connsiteY10" fmla="*/ 6348735 h 6858001"/>
              <a:gd name="connsiteX11" fmla="*/ 1430281 w 12191999"/>
              <a:gd name="connsiteY11" fmla="*/ 6348735 h 6858001"/>
              <a:gd name="connsiteX12" fmla="*/ 1430281 w 12191999"/>
              <a:gd name="connsiteY12" fmla="*/ 6352726 h 6858001"/>
              <a:gd name="connsiteX13" fmla="*/ 1428528 w 12191999"/>
              <a:gd name="connsiteY13" fmla="*/ 6363609 h 6858001"/>
              <a:gd name="connsiteX14" fmla="*/ 1421333 w 12191999"/>
              <a:gd name="connsiteY14" fmla="*/ 6371136 h 6858001"/>
              <a:gd name="connsiteX15" fmla="*/ 1410148 w 12191999"/>
              <a:gd name="connsiteY15" fmla="*/ 6373887 h 6858001"/>
              <a:gd name="connsiteX16" fmla="*/ 1400504 w 12191999"/>
              <a:gd name="connsiteY16" fmla="*/ 6370985 h 6858001"/>
              <a:gd name="connsiteX17" fmla="*/ 1397209 w 12191999"/>
              <a:gd name="connsiteY17" fmla="*/ 6363730 h 6858001"/>
              <a:gd name="connsiteX18" fmla="*/ 1398721 w 12191999"/>
              <a:gd name="connsiteY18" fmla="*/ 6358560 h 6858001"/>
              <a:gd name="connsiteX19" fmla="*/ 1403013 w 12191999"/>
              <a:gd name="connsiteY19" fmla="*/ 6355023 h 6858001"/>
              <a:gd name="connsiteX20" fmla="*/ 1412506 w 12191999"/>
              <a:gd name="connsiteY20" fmla="*/ 6352847 h 6858001"/>
              <a:gd name="connsiteX21" fmla="*/ 1430281 w 12191999"/>
              <a:gd name="connsiteY21" fmla="*/ 6348735 h 6858001"/>
              <a:gd name="connsiteX22" fmla="*/ 1167698 w 12191999"/>
              <a:gd name="connsiteY22" fmla="*/ 6324309 h 6858001"/>
              <a:gd name="connsiteX23" fmla="*/ 1181150 w 12191999"/>
              <a:gd name="connsiteY23" fmla="*/ 6330446 h 6858001"/>
              <a:gd name="connsiteX24" fmla="*/ 1186561 w 12191999"/>
              <a:gd name="connsiteY24" fmla="*/ 6348493 h 6858001"/>
              <a:gd name="connsiteX25" fmla="*/ 1181180 w 12191999"/>
              <a:gd name="connsiteY25" fmla="*/ 6367297 h 6858001"/>
              <a:gd name="connsiteX26" fmla="*/ 1167698 w 12191999"/>
              <a:gd name="connsiteY26" fmla="*/ 6373464 h 6858001"/>
              <a:gd name="connsiteX27" fmla="*/ 1154154 w 12191999"/>
              <a:gd name="connsiteY27" fmla="*/ 6367327 h 6858001"/>
              <a:gd name="connsiteX28" fmla="*/ 1148773 w 12191999"/>
              <a:gd name="connsiteY28" fmla="*/ 6348856 h 6858001"/>
              <a:gd name="connsiteX29" fmla="*/ 1154154 w 12191999"/>
              <a:gd name="connsiteY29" fmla="*/ 6330415 h 6858001"/>
              <a:gd name="connsiteX30" fmla="*/ 1167698 w 12191999"/>
              <a:gd name="connsiteY30" fmla="*/ 6324309 h 6858001"/>
              <a:gd name="connsiteX31" fmla="*/ 1939646 w 12191999"/>
              <a:gd name="connsiteY31" fmla="*/ 6324248 h 6858001"/>
              <a:gd name="connsiteX32" fmla="*/ 1953129 w 12191999"/>
              <a:gd name="connsiteY32" fmla="*/ 6330536 h 6858001"/>
              <a:gd name="connsiteX33" fmla="*/ 1957240 w 12191999"/>
              <a:gd name="connsiteY33" fmla="*/ 6342689 h 6858001"/>
              <a:gd name="connsiteX34" fmla="*/ 1921387 w 12191999"/>
              <a:gd name="connsiteY34" fmla="*/ 6342689 h 6858001"/>
              <a:gd name="connsiteX35" fmla="*/ 1927040 w 12191999"/>
              <a:gd name="connsiteY35" fmla="*/ 6329267 h 6858001"/>
              <a:gd name="connsiteX36" fmla="*/ 1939646 w 12191999"/>
              <a:gd name="connsiteY36" fmla="*/ 6324248 h 6858001"/>
              <a:gd name="connsiteX37" fmla="*/ 929996 w 12191999"/>
              <a:gd name="connsiteY37" fmla="*/ 6324248 h 6858001"/>
              <a:gd name="connsiteX38" fmla="*/ 943479 w 12191999"/>
              <a:gd name="connsiteY38" fmla="*/ 6330536 h 6858001"/>
              <a:gd name="connsiteX39" fmla="*/ 947590 w 12191999"/>
              <a:gd name="connsiteY39" fmla="*/ 6342689 h 6858001"/>
              <a:gd name="connsiteX40" fmla="*/ 911736 w 12191999"/>
              <a:gd name="connsiteY40" fmla="*/ 6342689 h 6858001"/>
              <a:gd name="connsiteX41" fmla="*/ 917389 w 12191999"/>
              <a:gd name="connsiteY41" fmla="*/ 6329267 h 6858001"/>
              <a:gd name="connsiteX42" fmla="*/ 929996 w 12191999"/>
              <a:gd name="connsiteY42" fmla="*/ 6324248 h 6858001"/>
              <a:gd name="connsiteX43" fmla="*/ 635688 w 12191999"/>
              <a:gd name="connsiteY43" fmla="*/ 6324248 h 6858001"/>
              <a:gd name="connsiteX44" fmla="*/ 647750 w 12191999"/>
              <a:gd name="connsiteY44" fmla="*/ 6330234 h 6858001"/>
              <a:gd name="connsiteX45" fmla="*/ 652738 w 12191999"/>
              <a:gd name="connsiteY45" fmla="*/ 6348796 h 6858001"/>
              <a:gd name="connsiteX46" fmla="*/ 647538 w 12191999"/>
              <a:gd name="connsiteY46" fmla="*/ 6367267 h 6858001"/>
              <a:gd name="connsiteX47" fmla="*/ 635204 w 12191999"/>
              <a:gd name="connsiteY47" fmla="*/ 6373464 h 6858001"/>
              <a:gd name="connsiteX48" fmla="*/ 621298 w 12191999"/>
              <a:gd name="connsiteY48" fmla="*/ 6365060 h 6858001"/>
              <a:gd name="connsiteX49" fmla="*/ 618154 w 12191999"/>
              <a:gd name="connsiteY49" fmla="*/ 6348373 h 6858001"/>
              <a:gd name="connsiteX50" fmla="*/ 623354 w 12191999"/>
              <a:gd name="connsiteY50" fmla="*/ 6330446 h 6858001"/>
              <a:gd name="connsiteX51" fmla="*/ 635688 w 12191999"/>
              <a:gd name="connsiteY51" fmla="*/ 6324248 h 6858001"/>
              <a:gd name="connsiteX52" fmla="*/ 808324 w 12191999"/>
              <a:gd name="connsiteY52" fmla="*/ 6316751 h 6858001"/>
              <a:gd name="connsiteX53" fmla="*/ 808324 w 12191999"/>
              <a:gd name="connsiteY53" fmla="*/ 6380961 h 6858001"/>
              <a:gd name="connsiteX54" fmla="*/ 819207 w 12191999"/>
              <a:gd name="connsiteY54" fmla="*/ 6380961 h 6858001"/>
              <a:gd name="connsiteX55" fmla="*/ 819207 w 12191999"/>
              <a:gd name="connsiteY55" fmla="*/ 6316751 h 6858001"/>
              <a:gd name="connsiteX56" fmla="*/ 674672 w 12191999"/>
              <a:gd name="connsiteY56" fmla="*/ 6316751 h 6858001"/>
              <a:gd name="connsiteX57" fmla="*/ 674672 w 12191999"/>
              <a:gd name="connsiteY57" fmla="*/ 6356535 h 6858001"/>
              <a:gd name="connsiteX58" fmla="*/ 675337 w 12191999"/>
              <a:gd name="connsiteY58" fmla="*/ 6366692 h 6858001"/>
              <a:gd name="connsiteX59" fmla="*/ 678692 w 12191999"/>
              <a:gd name="connsiteY59" fmla="*/ 6374764 h 6858001"/>
              <a:gd name="connsiteX60" fmla="*/ 686008 w 12191999"/>
              <a:gd name="connsiteY60" fmla="*/ 6380236 h 6858001"/>
              <a:gd name="connsiteX61" fmla="*/ 696619 w 12191999"/>
              <a:gd name="connsiteY61" fmla="*/ 6382412 h 6858001"/>
              <a:gd name="connsiteX62" fmla="*/ 716995 w 12191999"/>
              <a:gd name="connsiteY62" fmla="*/ 6371529 h 6858001"/>
              <a:gd name="connsiteX63" fmla="*/ 716995 w 12191999"/>
              <a:gd name="connsiteY63" fmla="*/ 6380961 h 6858001"/>
              <a:gd name="connsiteX64" fmla="*/ 726729 w 12191999"/>
              <a:gd name="connsiteY64" fmla="*/ 6380961 h 6858001"/>
              <a:gd name="connsiteX65" fmla="*/ 726729 w 12191999"/>
              <a:gd name="connsiteY65" fmla="*/ 6316751 h 6858001"/>
              <a:gd name="connsiteX66" fmla="*/ 715846 w 12191999"/>
              <a:gd name="connsiteY66" fmla="*/ 6316751 h 6858001"/>
              <a:gd name="connsiteX67" fmla="*/ 715846 w 12191999"/>
              <a:gd name="connsiteY67" fmla="*/ 6351154 h 6858001"/>
              <a:gd name="connsiteX68" fmla="*/ 714062 w 12191999"/>
              <a:gd name="connsiteY68" fmla="*/ 6363700 h 6858001"/>
              <a:gd name="connsiteX69" fmla="*/ 707986 w 12191999"/>
              <a:gd name="connsiteY69" fmla="*/ 6370532 h 6858001"/>
              <a:gd name="connsiteX70" fmla="*/ 698796 w 12191999"/>
              <a:gd name="connsiteY70" fmla="*/ 6373041 h 6858001"/>
              <a:gd name="connsiteX71" fmla="*/ 690573 w 12191999"/>
              <a:gd name="connsiteY71" fmla="*/ 6370592 h 6858001"/>
              <a:gd name="connsiteX72" fmla="*/ 686220 w 12191999"/>
              <a:gd name="connsiteY72" fmla="*/ 6363851 h 6858001"/>
              <a:gd name="connsiteX73" fmla="*/ 685555 w 12191999"/>
              <a:gd name="connsiteY73" fmla="*/ 6352363 h 6858001"/>
              <a:gd name="connsiteX74" fmla="*/ 685555 w 12191999"/>
              <a:gd name="connsiteY74" fmla="*/ 6316751 h 6858001"/>
              <a:gd name="connsiteX75" fmla="*/ 2210094 w 12191999"/>
              <a:gd name="connsiteY75" fmla="*/ 6315300 h 6858001"/>
              <a:gd name="connsiteX76" fmla="*/ 2189659 w 12191999"/>
              <a:gd name="connsiteY76" fmla="*/ 6325881 h 6858001"/>
              <a:gd name="connsiteX77" fmla="*/ 2189659 w 12191999"/>
              <a:gd name="connsiteY77" fmla="*/ 6316751 h 6858001"/>
              <a:gd name="connsiteX78" fmla="*/ 2179864 w 12191999"/>
              <a:gd name="connsiteY78" fmla="*/ 6316751 h 6858001"/>
              <a:gd name="connsiteX79" fmla="*/ 2179864 w 12191999"/>
              <a:gd name="connsiteY79" fmla="*/ 6380961 h 6858001"/>
              <a:gd name="connsiteX80" fmla="*/ 2190747 w 12191999"/>
              <a:gd name="connsiteY80" fmla="*/ 6380961 h 6858001"/>
              <a:gd name="connsiteX81" fmla="*/ 2190747 w 12191999"/>
              <a:gd name="connsiteY81" fmla="*/ 6345894 h 6858001"/>
              <a:gd name="connsiteX82" fmla="*/ 2195795 w 12191999"/>
              <a:gd name="connsiteY82" fmla="*/ 6329146 h 6858001"/>
              <a:gd name="connsiteX83" fmla="*/ 2207797 w 12191999"/>
              <a:gd name="connsiteY83" fmla="*/ 6324732 h 6858001"/>
              <a:gd name="connsiteX84" fmla="*/ 2215385 w 12191999"/>
              <a:gd name="connsiteY84" fmla="*/ 6326697 h 6858001"/>
              <a:gd name="connsiteX85" fmla="*/ 2219889 w 12191999"/>
              <a:gd name="connsiteY85" fmla="*/ 6331957 h 6858001"/>
              <a:gd name="connsiteX86" fmla="*/ 2221159 w 12191999"/>
              <a:gd name="connsiteY86" fmla="*/ 6341903 h 6858001"/>
              <a:gd name="connsiteX87" fmla="*/ 2221159 w 12191999"/>
              <a:gd name="connsiteY87" fmla="*/ 6380961 h 6858001"/>
              <a:gd name="connsiteX88" fmla="*/ 2232042 w 12191999"/>
              <a:gd name="connsiteY88" fmla="*/ 6380961 h 6858001"/>
              <a:gd name="connsiteX89" fmla="*/ 2232042 w 12191999"/>
              <a:gd name="connsiteY89" fmla="*/ 6341480 h 6858001"/>
              <a:gd name="connsiteX90" fmla="*/ 2231437 w 12191999"/>
              <a:gd name="connsiteY90" fmla="*/ 6330899 h 6858001"/>
              <a:gd name="connsiteX91" fmla="*/ 2228052 w 12191999"/>
              <a:gd name="connsiteY91" fmla="*/ 6322858 h 6858001"/>
              <a:gd name="connsiteX92" fmla="*/ 2220766 w 12191999"/>
              <a:gd name="connsiteY92" fmla="*/ 6317386 h 6858001"/>
              <a:gd name="connsiteX93" fmla="*/ 2210094 w 12191999"/>
              <a:gd name="connsiteY93" fmla="*/ 6315300 h 6858001"/>
              <a:gd name="connsiteX94" fmla="*/ 2140336 w 12191999"/>
              <a:gd name="connsiteY94" fmla="*/ 6315300 h 6858001"/>
              <a:gd name="connsiteX95" fmla="*/ 2125765 w 12191999"/>
              <a:gd name="connsiteY95" fmla="*/ 6317567 h 6858001"/>
              <a:gd name="connsiteX96" fmla="*/ 2116151 w 12191999"/>
              <a:gd name="connsiteY96" fmla="*/ 6324037 h 6858001"/>
              <a:gd name="connsiteX97" fmla="*/ 2111375 w 12191999"/>
              <a:gd name="connsiteY97" fmla="*/ 6335071 h 6858001"/>
              <a:gd name="connsiteX98" fmla="*/ 2122016 w 12191999"/>
              <a:gd name="connsiteY98" fmla="*/ 6336522 h 6858001"/>
              <a:gd name="connsiteX99" fmla="*/ 2127427 w 12191999"/>
              <a:gd name="connsiteY99" fmla="*/ 6326999 h 6858001"/>
              <a:gd name="connsiteX100" fmla="*/ 2138764 w 12191999"/>
              <a:gd name="connsiteY100" fmla="*/ 6324309 h 6858001"/>
              <a:gd name="connsiteX101" fmla="*/ 2151159 w 12191999"/>
              <a:gd name="connsiteY101" fmla="*/ 6327997 h 6858001"/>
              <a:gd name="connsiteX102" fmla="*/ 2154242 w 12191999"/>
              <a:gd name="connsiteY102" fmla="*/ 6337369 h 6858001"/>
              <a:gd name="connsiteX103" fmla="*/ 2154182 w 12191999"/>
              <a:gd name="connsiteY103" fmla="*/ 6340210 h 6858001"/>
              <a:gd name="connsiteX104" fmla="*/ 2134773 w 12191999"/>
              <a:gd name="connsiteY104" fmla="*/ 6343959 h 6858001"/>
              <a:gd name="connsiteX105" fmla="*/ 2125100 w 12191999"/>
              <a:gd name="connsiteY105" fmla="*/ 6345591 h 6858001"/>
              <a:gd name="connsiteX106" fmla="*/ 2117270 w 12191999"/>
              <a:gd name="connsiteY106" fmla="*/ 6349159 h 6858001"/>
              <a:gd name="connsiteX107" fmla="*/ 2111647 w 12191999"/>
              <a:gd name="connsiteY107" fmla="*/ 6355416 h 6858001"/>
              <a:gd name="connsiteX108" fmla="*/ 2109500 w 12191999"/>
              <a:gd name="connsiteY108" fmla="*/ 6364032 h 6858001"/>
              <a:gd name="connsiteX109" fmla="*/ 2115184 w 12191999"/>
              <a:gd name="connsiteY109" fmla="*/ 6377243 h 6858001"/>
              <a:gd name="connsiteX110" fmla="*/ 2131448 w 12191999"/>
              <a:gd name="connsiteY110" fmla="*/ 6382412 h 6858001"/>
              <a:gd name="connsiteX111" fmla="*/ 2143450 w 12191999"/>
              <a:gd name="connsiteY111" fmla="*/ 6380296 h 6858001"/>
              <a:gd name="connsiteX112" fmla="*/ 2155089 w 12191999"/>
              <a:gd name="connsiteY112" fmla="*/ 6373041 h 6858001"/>
              <a:gd name="connsiteX113" fmla="*/ 2157265 w 12191999"/>
              <a:gd name="connsiteY113" fmla="*/ 6380961 h 6858001"/>
              <a:gd name="connsiteX114" fmla="*/ 2168632 w 12191999"/>
              <a:gd name="connsiteY114" fmla="*/ 6380961 h 6858001"/>
              <a:gd name="connsiteX115" fmla="*/ 2165881 w 12191999"/>
              <a:gd name="connsiteY115" fmla="*/ 6373252 h 6858001"/>
              <a:gd name="connsiteX116" fmla="*/ 2165185 w 12191999"/>
              <a:gd name="connsiteY116" fmla="*/ 6354056 h 6858001"/>
              <a:gd name="connsiteX117" fmla="*/ 2165185 w 12191999"/>
              <a:gd name="connsiteY117" fmla="*/ 6339545 h 6858001"/>
              <a:gd name="connsiteX118" fmla="*/ 2164641 w 12191999"/>
              <a:gd name="connsiteY118" fmla="*/ 6329509 h 6858001"/>
              <a:gd name="connsiteX119" fmla="*/ 2161255 w 12191999"/>
              <a:gd name="connsiteY119" fmla="*/ 6322102 h 6858001"/>
              <a:gd name="connsiteX120" fmla="*/ 2153698 w 12191999"/>
              <a:gd name="connsiteY120" fmla="*/ 6317235 h 6858001"/>
              <a:gd name="connsiteX121" fmla="*/ 2140336 w 12191999"/>
              <a:gd name="connsiteY121" fmla="*/ 6315300 h 6858001"/>
              <a:gd name="connsiteX122" fmla="*/ 2076744 w 12191999"/>
              <a:gd name="connsiteY122" fmla="*/ 6315300 h 6858001"/>
              <a:gd name="connsiteX123" fmla="*/ 2056309 w 12191999"/>
              <a:gd name="connsiteY123" fmla="*/ 6325881 h 6858001"/>
              <a:gd name="connsiteX124" fmla="*/ 2056309 w 12191999"/>
              <a:gd name="connsiteY124" fmla="*/ 6316751 h 6858001"/>
              <a:gd name="connsiteX125" fmla="*/ 2046514 w 12191999"/>
              <a:gd name="connsiteY125" fmla="*/ 6316751 h 6858001"/>
              <a:gd name="connsiteX126" fmla="*/ 2046514 w 12191999"/>
              <a:gd name="connsiteY126" fmla="*/ 6380961 h 6858001"/>
              <a:gd name="connsiteX127" fmla="*/ 2057397 w 12191999"/>
              <a:gd name="connsiteY127" fmla="*/ 6380961 h 6858001"/>
              <a:gd name="connsiteX128" fmla="*/ 2057397 w 12191999"/>
              <a:gd name="connsiteY128" fmla="*/ 6345894 h 6858001"/>
              <a:gd name="connsiteX129" fmla="*/ 2062445 w 12191999"/>
              <a:gd name="connsiteY129" fmla="*/ 6329146 h 6858001"/>
              <a:gd name="connsiteX130" fmla="*/ 2074447 w 12191999"/>
              <a:gd name="connsiteY130" fmla="*/ 6324732 h 6858001"/>
              <a:gd name="connsiteX131" fmla="*/ 2082035 w 12191999"/>
              <a:gd name="connsiteY131" fmla="*/ 6326697 h 6858001"/>
              <a:gd name="connsiteX132" fmla="*/ 2086539 w 12191999"/>
              <a:gd name="connsiteY132" fmla="*/ 6331957 h 6858001"/>
              <a:gd name="connsiteX133" fmla="*/ 2087809 w 12191999"/>
              <a:gd name="connsiteY133" fmla="*/ 6341903 h 6858001"/>
              <a:gd name="connsiteX134" fmla="*/ 2087809 w 12191999"/>
              <a:gd name="connsiteY134" fmla="*/ 6380961 h 6858001"/>
              <a:gd name="connsiteX135" fmla="*/ 2098692 w 12191999"/>
              <a:gd name="connsiteY135" fmla="*/ 6380961 h 6858001"/>
              <a:gd name="connsiteX136" fmla="*/ 2098692 w 12191999"/>
              <a:gd name="connsiteY136" fmla="*/ 6341480 h 6858001"/>
              <a:gd name="connsiteX137" fmla="*/ 2098087 w 12191999"/>
              <a:gd name="connsiteY137" fmla="*/ 6330899 h 6858001"/>
              <a:gd name="connsiteX138" fmla="*/ 2094702 w 12191999"/>
              <a:gd name="connsiteY138" fmla="*/ 6322858 h 6858001"/>
              <a:gd name="connsiteX139" fmla="*/ 2087416 w 12191999"/>
              <a:gd name="connsiteY139" fmla="*/ 6317386 h 6858001"/>
              <a:gd name="connsiteX140" fmla="*/ 2076744 w 12191999"/>
              <a:gd name="connsiteY140" fmla="*/ 6315300 h 6858001"/>
              <a:gd name="connsiteX141" fmla="*/ 2010069 w 12191999"/>
              <a:gd name="connsiteY141" fmla="*/ 6315300 h 6858001"/>
              <a:gd name="connsiteX142" fmla="*/ 1989633 w 12191999"/>
              <a:gd name="connsiteY142" fmla="*/ 6325881 h 6858001"/>
              <a:gd name="connsiteX143" fmla="*/ 1989633 w 12191999"/>
              <a:gd name="connsiteY143" fmla="*/ 6316751 h 6858001"/>
              <a:gd name="connsiteX144" fmla="*/ 1979839 w 12191999"/>
              <a:gd name="connsiteY144" fmla="*/ 6316751 h 6858001"/>
              <a:gd name="connsiteX145" fmla="*/ 1979839 w 12191999"/>
              <a:gd name="connsiteY145" fmla="*/ 6380961 h 6858001"/>
              <a:gd name="connsiteX146" fmla="*/ 1990722 w 12191999"/>
              <a:gd name="connsiteY146" fmla="*/ 6380961 h 6858001"/>
              <a:gd name="connsiteX147" fmla="*/ 1990722 w 12191999"/>
              <a:gd name="connsiteY147" fmla="*/ 6345894 h 6858001"/>
              <a:gd name="connsiteX148" fmla="*/ 1995770 w 12191999"/>
              <a:gd name="connsiteY148" fmla="*/ 6329146 h 6858001"/>
              <a:gd name="connsiteX149" fmla="*/ 2007772 w 12191999"/>
              <a:gd name="connsiteY149" fmla="*/ 6324732 h 6858001"/>
              <a:gd name="connsiteX150" fmla="*/ 2015360 w 12191999"/>
              <a:gd name="connsiteY150" fmla="*/ 6326697 h 6858001"/>
              <a:gd name="connsiteX151" fmla="*/ 2019864 w 12191999"/>
              <a:gd name="connsiteY151" fmla="*/ 6331957 h 6858001"/>
              <a:gd name="connsiteX152" fmla="*/ 2021134 w 12191999"/>
              <a:gd name="connsiteY152" fmla="*/ 6341903 h 6858001"/>
              <a:gd name="connsiteX153" fmla="*/ 2021134 w 12191999"/>
              <a:gd name="connsiteY153" fmla="*/ 6380961 h 6858001"/>
              <a:gd name="connsiteX154" fmla="*/ 2032017 w 12191999"/>
              <a:gd name="connsiteY154" fmla="*/ 6380961 h 6858001"/>
              <a:gd name="connsiteX155" fmla="*/ 2032017 w 12191999"/>
              <a:gd name="connsiteY155" fmla="*/ 6341480 h 6858001"/>
              <a:gd name="connsiteX156" fmla="*/ 2031412 w 12191999"/>
              <a:gd name="connsiteY156" fmla="*/ 6330899 h 6858001"/>
              <a:gd name="connsiteX157" fmla="*/ 2028026 w 12191999"/>
              <a:gd name="connsiteY157" fmla="*/ 6322858 h 6858001"/>
              <a:gd name="connsiteX158" fmla="*/ 2020741 w 12191999"/>
              <a:gd name="connsiteY158" fmla="*/ 6317386 h 6858001"/>
              <a:gd name="connsiteX159" fmla="*/ 2010069 w 12191999"/>
              <a:gd name="connsiteY159" fmla="*/ 6315300 h 6858001"/>
              <a:gd name="connsiteX160" fmla="*/ 1939525 w 12191999"/>
              <a:gd name="connsiteY160" fmla="*/ 6315300 h 6858001"/>
              <a:gd name="connsiteX161" fmla="*/ 1917880 w 12191999"/>
              <a:gd name="connsiteY161" fmla="*/ 6324248 h 6858001"/>
              <a:gd name="connsiteX162" fmla="*/ 1909536 w 12191999"/>
              <a:gd name="connsiteY162" fmla="*/ 6349400 h 6858001"/>
              <a:gd name="connsiteX163" fmla="*/ 1917789 w 12191999"/>
              <a:gd name="connsiteY163" fmla="*/ 6373736 h 6858001"/>
              <a:gd name="connsiteX164" fmla="*/ 1940129 w 12191999"/>
              <a:gd name="connsiteY164" fmla="*/ 6382412 h 6858001"/>
              <a:gd name="connsiteX165" fmla="*/ 1958510 w 12191999"/>
              <a:gd name="connsiteY165" fmla="*/ 6376971 h 6858001"/>
              <a:gd name="connsiteX166" fmla="*/ 1968365 w 12191999"/>
              <a:gd name="connsiteY166" fmla="*/ 6361674 h 6858001"/>
              <a:gd name="connsiteX167" fmla="*/ 1957119 w 12191999"/>
              <a:gd name="connsiteY167" fmla="*/ 6360283 h 6858001"/>
              <a:gd name="connsiteX168" fmla="*/ 1950408 w 12191999"/>
              <a:gd name="connsiteY168" fmla="*/ 6370320 h 6858001"/>
              <a:gd name="connsiteX169" fmla="*/ 1940190 w 12191999"/>
              <a:gd name="connsiteY169" fmla="*/ 6373464 h 6858001"/>
              <a:gd name="connsiteX170" fmla="*/ 1926767 w 12191999"/>
              <a:gd name="connsiteY170" fmla="*/ 6367841 h 6858001"/>
              <a:gd name="connsiteX171" fmla="*/ 1920782 w 12191999"/>
              <a:gd name="connsiteY171" fmla="*/ 6351637 h 6858001"/>
              <a:gd name="connsiteX172" fmla="*/ 1968667 w 12191999"/>
              <a:gd name="connsiteY172" fmla="*/ 6351637 h 6858001"/>
              <a:gd name="connsiteX173" fmla="*/ 1968728 w 12191999"/>
              <a:gd name="connsiteY173" fmla="*/ 6348735 h 6858001"/>
              <a:gd name="connsiteX174" fmla="*/ 1960565 w 12191999"/>
              <a:gd name="connsiteY174" fmla="*/ 6324067 h 6858001"/>
              <a:gd name="connsiteX175" fmla="*/ 1939525 w 12191999"/>
              <a:gd name="connsiteY175" fmla="*/ 6315300 h 6858001"/>
              <a:gd name="connsiteX176" fmla="*/ 1805752 w 12191999"/>
              <a:gd name="connsiteY176" fmla="*/ 6315300 h 6858001"/>
              <a:gd name="connsiteX177" fmla="*/ 1790425 w 12191999"/>
              <a:gd name="connsiteY177" fmla="*/ 6319200 h 6858001"/>
              <a:gd name="connsiteX178" fmla="*/ 1779935 w 12191999"/>
              <a:gd name="connsiteY178" fmla="*/ 6330899 h 6858001"/>
              <a:gd name="connsiteX179" fmla="*/ 1776488 w 12191999"/>
              <a:gd name="connsiteY179" fmla="*/ 6349098 h 6858001"/>
              <a:gd name="connsiteX180" fmla="*/ 1784499 w 12191999"/>
              <a:gd name="connsiteY180" fmla="*/ 6373797 h 6858001"/>
              <a:gd name="connsiteX181" fmla="*/ 1805691 w 12191999"/>
              <a:gd name="connsiteY181" fmla="*/ 6382412 h 6858001"/>
              <a:gd name="connsiteX182" fmla="*/ 1823437 w 12191999"/>
              <a:gd name="connsiteY182" fmla="*/ 6376155 h 6858001"/>
              <a:gd name="connsiteX183" fmla="*/ 1832415 w 12191999"/>
              <a:gd name="connsiteY183" fmla="*/ 6358832 h 6858001"/>
              <a:gd name="connsiteX184" fmla="*/ 1821714 w 12191999"/>
              <a:gd name="connsiteY184" fmla="*/ 6357442 h 6858001"/>
              <a:gd name="connsiteX185" fmla="*/ 1816272 w 12191999"/>
              <a:gd name="connsiteY185" fmla="*/ 6369534 h 6858001"/>
              <a:gd name="connsiteX186" fmla="*/ 1805570 w 12191999"/>
              <a:gd name="connsiteY186" fmla="*/ 6373464 h 6858001"/>
              <a:gd name="connsiteX187" fmla="*/ 1792632 w 12191999"/>
              <a:gd name="connsiteY187" fmla="*/ 6367599 h 6858001"/>
              <a:gd name="connsiteX188" fmla="*/ 1787674 w 12191999"/>
              <a:gd name="connsiteY188" fmla="*/ 6348796 h 6858001"/>
              <a:gd name="connsiteX189" fmla="*/ 1792813 w 12191999"/>
              <a:gd name="connsiteY189" fmla="*/ 6330143 h 6858001"/>
              <a:gd name="connsiteX190" fmla="*/ 1806175 w 12191999"/>
              <a:gd name="connsiteY190" fmla="*/ 6324248 h 6858001"/>
              <a:gd name="connsiteX191" fmla="*/ 1815456 w 12191999"/>
              <a:gd name="connsiteY191" fmla="*/ 6327513 h 6858001"/>
              <a:gd name="connsiteX192" fmla="*/ 1820806 w 12191999"/>
              <a:gd name="connsiteY192" fmla="*/ 6337248 h 6858001"/>
              <a:gd name="connsiteX193" fmla="*/ 1831387 w 12191999"/>
              <a:gd name="connsiteY193" fmla="*/ 6335615 h 6858001"/>
              <a:gd name="connsiteX194" fmla="*/ 1822862 w 12191999"/>
              <a:gd name="connsiteY194" fmla="*/ 6320591 h 6858001"/>
              <a:gd name="connsiteX195" fmla="*/ 1805752 w 12191999"/>
              <a:gd name="connsiteY195" fmla="*/ 6315300 h 6858001"/>
              <a:gd name="connsiteX196" fmla="*/ 1515165 w 12191999"/>
              <a:gd name="connsiteY196" fmla="*/ 6315300 h 6858001"/>
              <a:gd name="connsiteX197" fmla="*/ 1505763 w 12191999"/>
              <a:gd name="connsiteY197" fmla="*/ 6316600 h 6858001"/>
              <a:gd name="connsiteX198" fmla="*/ 1498840 w 12191999"/>
              <a:gd name="connsiteY198" fmla="*/ 6319774 h 6858001"/>
              <a:gd name="connsiteX199" fmla="*/ 1493489 w 12191999"/>
              <a:gd name="connsiteY199" fmla="*/ 6325851 h 6858001"/>
              <a:gd name="connsiteX200" fmla="*/ 1491524 w 12191999"/>
              <a:gd name="connsiteY200" fmla="*/ 6333801 h 6858001"/>
              <a:gd name="connsiteX201" fmla="*/ 1493913 w 12191999"/>
              <a:gd name="connsiteY201" fmla="*/ 6342417 h 6858001"/>
              <a:gd name="connsiteX202" fmla="*/ 1500926 w 12191999"/>
              <a:gd name="connsiteY202" fmla="*/ 6348524 h 6858001"/>
              <a:gd name="connsiteX203" fmla="*/ 1517523 w 12191999"/>
              <a:gd name="connsiteY203" fmla="*/ 6353754 h 6858001"/>
              <a:gd name="connsiteX204" fmla="*/ 1528648 w 12191999"/>
              <a:gd name="connsiteY204" fmla="*/ 6357442 h 6858001"/>
              <a:gd name="connsiteX205" fmla="*/ 1531852 w 12191999"/>
              <a:gd name="connsiteY205" fmla="*/ 6363246 h 6858001"/>
              <a:gd name="connsiteX206" fmla="*/ 1528224 w 12191999"/>
              <a:gd name="connsiteY206" fmla="*/ 6370411 h 6858001"/>
              <a:gd name="connsiteX207" fmla="*/ 1517100 w 12191999"/>
              <a:gd name="connsiteY207" fmla="*/ 6373464 h 6858001"/>
              <a:gd name="connsiteX208" fmla="*/ 1505521 w 12191999"/>
              <a:gd name="connsiteY208" fmla="*/ 6370018 h 6858001"/>
              <a:gd name="connsiteX209" fmla="*/ 1500472 w 12191999"/>
              <a:gd name="connsiteY209" fmla="*/ 6360102 h 6858001"/>
              <a:gd name="connsiteX210" fmla="*/ 1489710 w 12191999"/>
              <a:gd name="connsiteY210" fmla="*/ 6361795 h 6858001"/>
              <a:gd name="connsiteX211" fmla="*/ 1498084 w 12191999"/>
              <a:gd name="connsiteY211" fmla="*/ 6377213 h 6858001"/>
              <a:gd name="connsiteX212" fmla="*/ 1517160 w 12191999"/>
              <a:gd name="connsiteY212" fmla="*/ 6382412 h 6858001"/>
              <a:gd name="connsiteX213" fmla="*/ 1530703 w 12191999"/>
              <a:gd name="connsiteY213" fmla="*/ 6379782 h 6858001"/>
              <a:gd name="connsiteX214" fmla="*/ 1539863 w 12191999"/>
              <a:gd name="connsiteY214" fmla="*/ 6372345 h 6858001"/>
              <a:gd name="connsiteX215" fmla="*/ 1543037 w 12191999"/>
              <a:gd name="connsiteY215" fmla="*/ 6362097 h 6858001"/>
              <a:gd name="connsiteX216" fmla="*/ 1540437 w 12191999"/>
              <a:gd name="connsiteY216" fmla="*/ 6352786 h 6858001"/>
              <a:gd name="connsiteX217" fmla="*/ 1533273 w 12191999"/>
              <a:gd name="connsiteY217" fmla="*/ 6347073 h 6858001"/>
              <a:gd name="connsiteX218" fmla="*/ 1517160 w 12191999"/>
              <a:gd name="connsiteY218" fmla="*/ 6342024 h 6858001"/>
              <a:gd name="connsiteX219" fmla="*/ 1507547 w 12191999"/>
              <a:gd name="connsiteY219" fmla="*/ 6339243 h 6858001"/>
              <a:gd name="connsiteX220" fmla="*/ 1503375 w 12191999"/>
              <a:gd name="connsiteY220" fmla="*/ 6336341 h 6858001"/>
              <a:gd name="connsiteX221" fmla="*/ 1502044 w 12191999"/>
              <a:gd name="connsiteY221" fmla="*/ 6332532 h 6858001"/>
              <a:gd name="connsiteX222" fmla="*/ 1505249 w 12191999"/>
              <a:gd name="connsiteY222" fmla="*/ 6326727 h 6858001"/>
              <a:gd name="connsiteX223" fmla="*/ 1515951 w 12191999"/>
              <a:gd name="connsiteY223" fmla="*/ 6324248 h 6858001"/>
              <a:gd name="connsiteX224" fmla="*/ 1525776 w 12191999"/>
              <a:gd name="connsiteY224" fmla="*/ 6327030 h 6858001"/>
              <a:gd name="connsiteX225" fmla="*/ 1529978 w 12191999"/>
              <a:gd name="connsiteY225" fmla="*/ 6334769 h 6858001"/>
              <a:gd name="connsiteX226" fmla="*/ 1540619 w 12191999"/>
              <a:gd name="connsiteY226" fmla="*/ 6333318 h 6858001"/>
              <a:gd name="connsiteX227" fmla="*/ 1536870 w 12191999"/>
              <a:gd name="connsiteY227" fmla="*/ 6323372 h 6858001"/>
              <a:gd name="connsiteX228" fmla="*/ 1528436 w 12191999"/>
              <a:gd name="connsiteY228" fmla="*/ 6317477 h 6858001"/>
              <a:gd name="connsiteX229" fmla="*/ 1515165 w 12191999"/>
              <a:gd name="connsiteY229" fmla="*/ 6315300 h 6858001"/>
              <a:gd name="connsiteX230" fmla="*/ 1479544 w 12191999"/>
              <a:gd name="connsiteY230" fmla="*/ 6315300 h 6858001"/>
              <a:gd name="connsiteX231" fmla="*/ 1472560 w 12191999"/>
              <a:gd name="connsiteY231" fmla="*/ 6317477 h 6858001"/>
              <a:gd name="connsiteX232" fmla="*/ 1465638 w 12191999"/>
              <a:gd name="connsiteY232" fmla="*/ 6326486 h 6858001"/>
              <a:gd name="connsiteX233" fmla="*/ 1465638 w 12191999"/>
              <a:gd name="connsiteY233" fmla="*/ 6316751 h 6858001"/>
              <a:gd name="connsiteX234" fmla="*/ 1455843 w 12191999"/>
              <a:gd name="connsiteY234" fmla="*/ 6316751 h 6858001"/>
              <a:gd name="connsiteX235" fmla="*/ 1455843 w 12191999"/>
              <a:gd name="connsiteY235" fmla="*/ 6380961 h 6858001"/>
              <a:gd name="connsiteX236" fmla="*/ 1466726 w 12191999"/>
              <a:gd name="connsiteY236" fmla="*/ 6380961 h 6858001"/>
              <a:gd name="connsiteX237" fmla="*/ 1466726 w 12191999"/>
              <a:gd name="connsiteY237" fmla="*/ 6347345 h 6858001"/>
              <a:gd name="connsiteX238" fmla="*/ 1468540 w 12191999"/>
              <a:gd name="connsiteY238" fmla="*/ 6334648 h 6858001"/>
              <a:gd name="connsiteX239" fmla="*/ 1472590 w 12191999"/>
              <a:gd name="connsiteY239" fmla="*/ 6328692 h 6858001"/>
              <a:gd name="connsiteX240" fmla="*/ 1479000 w 12191999"/>
              <a:gd name="connsiteY240" fmla="*/ 6326546 h 6858001"/>
              <a:gd name="connsiteX241" fmla="*/ 1486980 w 12191999"/>
              <a:gd name="connsiteY241" fmla="*/ 6328904 h 6858001"/>
              <a:gd name="connsiteX242" fmla="*/ 1490729 w 12191999"/>
              <a:gd name="connsiteY242" fmla="*/ 6318807 h 6858001"/>
              <a:gd name="connsiteX243" fmla="*/ 1479544 w 12191999"/>
              <a:gd name="connsiteY243" fmla="*/ 6315300 h 6858001"/>
              <a:gd name="connsiteX244" fmla="*/ 1416436 w 12191999"/>
              <a:gd name="connsiteY244" fmla="*/ 6315300 h 6858001"/>
              <a:gd name="connsiteX245" fmla="*/ 1401865 w 12191999"/>
              <a:gd name="connsiteY245" fmla="*/ 6317567 h 6858001"/>
              <a:gd name="connsiteX246" fmla="*/ 1392251 w 12191999"/>
              <a:gd name="connsiteY246" fmla="*/ 6324037 h 6858001"/>
              <a:gd name="connsiteX247" fmla="*/ 1387475 w 12191999"/>
              <a:gd name="connsiteY247" fmla="*/ 6335071 h 6858001"/>
              <a:gd name="connsiteX248" fmla="*/ 1398116 w 12191999"/>
              <a:gd name="connsiteY248" fmla="*/ 6336522 h 6858001"/>
              <a:gd name="connsiteX249" fmla="*/ 1403527 w 12191999"/>
              <a:gd name="connsiteY249" fmla="*/ 6326999 h 6858001"/>
              <a:gd name="connsiteX250" fmla="*/ 1414864 w 12191999"/>
              <a:gd name="connsiteY250" fmla="*/ 6324309 h 6858001"/>
              <a:gd name="connsiteX251" fmla="*/ 1427258 w 12191999"/>
              <a:gd name="connsiteY251" fmla="*/ 6327997 h 6858001"/>
              <a:gd name="connsiteX252" fmla="*/ 1430342 w 12191999"/>
              <a:gd name="connsiteY252" fmla="*/ 6337369 h 6858001"/>
              <a:gd name="connsiteX253" fmla="*/ 1430281 w 12191999"/>
              <a:gd name="connsiteY253" fmla="*/ 6340210 h 6858001"/>
              <a:gd name="connsiteX254" fmla="*/ 1410873 w 12191999"/>
              <a:gd name="connsiteY254" fmla="*/ 6343959 h 6858001"/>
              <a:gd name="connsiteX255" fmla="*/ 1401199 w 12191999"/>
              <a:gd name="connsiteY255" fmla="*/ 6345591 h 6858001"/>
              <a:gd name="connsiteX256" fmla="*/ 1393370 w 12191999"/>
              <a:gd name="connsiteY256" fmla="*/ 6349159 h 6858001"/>
              <a:gd name="connsiteX257" fmla="*/ 1387747 w 12191999"/>
              <a:gd name="connsiteY257" fmla="*/ 6355416 h 6858001"/>
              <a:gd name="connsiteX258" fmla="*/ 1385600 w 12191999"/>
              <a:gd name="connsiteY258" fmla="*/ 6364032 h 6858001"/>
              <a:gd name="connsiteX259" fmla="*/ 1391284 w 12191999"/>
              <a:gd name="connsiteY259" fmla="*/ 6377243 h 6858001"/>
              <a:gd name="connsiteX260" fmla="*/ 1407548 w 12191999"/>
              <a:gd name="connsiteY260" fmla="*/ 6382412 h 6858001"/>
              <a:gd name="connsiteX261" fmla="*/ 1419550 w 12191999"/>
              <a:gd name="connsiteY261" fmla="*/ 6380296 h 6858001"/>
              <a:gd name="connsiteX262" fmla="*/ 1431188 w 12191999"/>
              <a:gd name="connsiteY262" fmla="*/ 6373041 h 6858001"/>
              <a:gd name="connsiteX263" fmla="*/ 1433365 w 12191999"/>
              <a:gd name="connsiteY263" fmla="*/ 6380961 h 6858001"/>
              <a:gd name="connsiteX264" fmla="*/ 1444732 w 12191999"/>
              <a:gd name="connsiteY264" fmla="*/ 6380961 h 6858001"/>
              <a:gd name="connsiteX265" fmla="*/ 1441981 w 12191999"/>
              <a:gd name="connsiteY265" fmla="*/ 6373252 h 6858001"/>
              <a:gd name="connsiteX266" fmla="*/ 1441285 w 12191999"/>
              <a:gd name="connsiteY266" fmla="*/ 6354056 h 6858001"/>
              <a:gd name="connsiteX267" fmla="*/ 1441285 w 12191999"/>
              <a:gd name="connsiteY267" fmla="*/ 6339545 h 6858001"/>
              <a:gd name="connsiteX268" fmla="*/ 1440741 w 12191999"/>
              <a:gd name="connsiteY268" fmla="*/ 6329509 h 6858001"/>
              <a:gd name="connsiteX269" fmla="*/ 1437355 w 12191999"/>
              <a:gd name="connsiteY269" fmla="*/ 6322102 h 6858001"/>
              <a:gd name="connsiteX270" fmla="*/ 1429798 w 12191999"/>
              <a:gd name="connsiteY270" fmla="*/ 6317235 h 6858001"/>
              <a:gd name="connsiteX271" fmla="*/ 1416436 w 12191999"/>
              <a:gd name="connsiteY271" fmla="*/ 6315300 h 6858001"/>
              <a:gd name="connsiteX272" fmla="*/ 1167698 w 12191999"/>
              <a:gd name="connsiteY272" fmla="*/ 6315300 h 6858001"/>
              <a:gd name="connsiteX273" fmla="*/ 1147503 w 12191999"/>
              <a:gd name="connsiteY273" fmla="*/ 6322435 h 6858001"/>
              <a:gd name="connsiteX274" fmla="*/ 1137588 w 12191999"/>
              <a:gd name="connsiteY274" fmla="*/ 6348856 h 6858001"/>
              <a:gd name="connsiteX275" fmla="*/ 1145901 w 12191999"/>
              <a:gd name="connsiteY275" fmla="*/ 6373766 h 6858001"/>
              <a:gd name="connsiteX276" fmla="*/ 1167698 w 12191999"/>
              <a:gd name="connsiteY276" fmla="*/ 6382412 h 6858001"/>
              <a:gd name="connsiteX277" fmla="*/ 1183206 w 12191999"/>
              <a:gd name="connsiteY277" fmla="*/ 6378482 h 6858001"/>
              <a:gd name="connsiteX278" fmla="*/ 1194028 w 12191999"/>
              <a:gd name="connsiteY278" fmla="*/ 6367448 h 6858001"/>
              <a:gd name="connsiteX279" fmla="*/ 1197747 w 12191999"/>
              <a:gd name="connsiteY279" fmla="*/ 6347949 h 6858001"/>
              <a:gd name="connsiteX280" fmla="*/ 1189343 w 12191999"/>
              <a:gd name="connsiteY280" fmla="*/ 6323976 h 6858001"/>
              <a:gd name="connsiteX281" fmla="*/ 1167698 w 12191999"/>
              <a:gd name="connsiteY281" fmla="*/ 6315300 h 6858001"/>
              <a:gd name="connsiteX282" fmla="*/ 1057965 w 12191999"/>
              <a:gd name="connsiteY282" fmla="*/ 6315300 h 6858001"/>
              <a:gd name="connsiteX283" fmla="*/ 1048563 w 12191999"/>
              <a:gd name="connsiteY283" fmla="*/ 6316600 h 6858001"/>
              <a:gd name="connsiteX284" fmla="*/ 1041640 w 12191999"/>
              <a:gd name="connsiteY284" fmla="*/ 6319774 h 6858001"/>
              <a:gd name="connsiteX285" fmla="*/ 1036289 w 12191999"/>
              <a:gd name="connsiteY285" fmla="*/ 6325851 h 6858001"/>
              <a:gd name="connsiteX286" fmla="*/ 1034324 w 12191999"/>
              <a:gd name="connsiteY286" fmla="*/ 6333801 h 6858001"/>
              <a:gd name="connsiteX287" fmla="*/ 1036712 w 12191999"/>
              <a:gd name="connsiteY287" fmla="*/ 6342417 h 6858001"/>
              <a:gd name="connsiteX288" fmla="*/ 1043726 w 12191999"/>
              <a:gd name="connsiteY288" fmla="*/ 6348524 h 6858001"/>
              <a:gd name="connsiteX289" fmla="*/ 1060323 w 12191999"/>
              <a:gd name="connsiteY289" fmla="*/ 6353754 h 6858001"/>
              <a:gd name="connsiteX290" fmla="*/ 1071447 w 12191999"/>
              <a:gd name="connsiteY290" fmla="*/ 6357442 h 6858001"/>
              <a:gd name="connsiteX291" fmla="*/ 1074652 w 12191999"/>
              <a:gd name="connsiteY291" fmla="*/ 6363246 h 6858001"/>
              <a:gd name="connsiteX292" fmla="*/ 1071024 w 12191999"/>
              <a:gd name="connsiteY292" fmla="*/ 6370411 h 6858001"/>
              <a:gd name="connsiteX293" fmla="*/ 1059899 w 12191999"/>
              <a:gd name="connsiteY293" fmla="*/ 6373464 h 6858001"/>
              <a:gd name="connsiteX294" fmla="*/ 1048321 w 12191999"/>
              <a:gd name="connsiteY294" fmla="*/ 6370018 h 6858001"/>
              <a:gd name="connsiteX295" fmla="*/ 1043272 w 12191999"/>
              <a:gd name="connsiteY295" fmla="*/ 6360102 h 6858001"/>
              <a:gd name="connsiteX296" fmla="*/ 1032510 w 12191999"/>
              <a:gd name="connsiteY296" fmla="*/ 6361795 h 6858001"/>
              <a:gd name="connsiteX297" fmla="*/ 1040884 w 12191999"/>
              <a:gd name="connsiteY297" fmla="*/ 6377213 h 6858001"/>
              <a:gd name="connsiteX298" fmla="*/ 1059960 w 12191999"/>
              <a:gd name="connsiteY298" fmla="*/ 6382412 h 6858001"/>
              <a:gd name="connsiteX299" fmla="*/ 1073503 w 12191999"/>
              <a:gd name="connsiteY299" fmla="*/ 6379782 h 6858001"/>
              <a:gd name="connsiteX300" fmla="*/ 1082663 w 12191999"/>
              <a:gd name="connsiteY300" fmla="*/ 6372345 h 6858001"/>
              <a:gd name="connsiteX301" fmla="*/ 1085837 w 12191999"/>
              <a:gd name="connsiteY301" fmla="*/ 6362097 h 6858001"/>
              <a:gd name="connsiteX302" fmla="*/ 1083237 w 12191999"/>
              <a:gd name="connsiteY302" fmla="*/ 6352786 h 6858001"/>
              <a:gd name="connsiteX303" fmla="*/ 1076073 w 12191999"/>
              <a:gd name="connsiteY303" fmla="*/ 6347073 h 6858001"/>
              <a:gd name="connsiteX304" fmla="*/ 1059960 w 12191999"/>
              <a:gd name="connsiteY304" fmla="*/ 6342024 h 6858001"/>
              <a:gd name="connsiteX305" fmla="*/ 1050346 w 12191999"/>
              <a:gd name="connsiteY305" fmla="*/ 6339243 h 6858001"/>
              <a:gd name="connsiteX306" fmla="*/ 1046175 w 12191999"/>
              <a:gd name="connsiteY306" fmla="*/ 6336341 h 6858001"/>
              <a:gd name="connsiteX307" fmla="*/ 1044844 w 12191999"/>
              <a:gd name="connsiteY307" fmla="*/ 6332532 h 6858001"/>
              <a:gd name="connsiteX308" fmla="*/ 1048049 w 12191999"/>
              <a:gd name="connsiteY308" fmla="*/ 6326727 h 6858001"/>
              <a:gd name="connsiteX309" fmla="*/ 1058751 w 12191999"/>
              <a:gd name="connsiteY309" fmla="*/ 6324248 h 6858001"/>
              <a:gd name="connsiteX310" fmla="*/ 1068576 w 12191999"/>
              <a:gd name="connsiteY310" fmla="*/ 6327030 h 6858001"/>
              <a:gd name="connsiteX311" fmla="*/ 1072778 w 12191999"/>
              <a:gd name="connsiteY311" fmla="*/ 6334769 h 6858001"/>
              <a:gd name="connsiteX312" fmla="*/ 1083419 w 12191999"/>
              <a:gd name="connsiteY312" fmla="*/ 6333318 h 6858001"/>
              <a:gd name="connsiteX313" fmla="*/ 1079670 w 12191999"/>
              <a:gd name="connsiteY313" fmla="*/ 6323372 h 6858001"/>
              <a:gd name="connsiteX314" fmla="*/ 1071236 w 12191999"/>
              <a:gd name="connsiteY314" fmla="*/ 6317477 h 6858001"/>
              <a:gd name="connsiteX315" fmla="*/ 1057965 w 12191999"/>
              <a:gd name="connsiteY315" fmla="*/ 6315300 h 6858001"/>
              <a:gd name="connsiteX316" fmla="*/ 991290 w 12191999"/>
              <a:gd name="connsiteY316" fmla="*/ 6315300 h 6858001"/>
              <a:gd name="connsiteX317" fmla="*/ 981888 w 12191999"/>
              <a:gd name="connsiteY317" fmla="*/ 6316600 h 6858001"/>
              <a:gd name="connsiteX318" fmla="*/ 974965 w 12191999"/>
              <a:gd name="connsiteY318" fmla="*/ 6319774 h 6858001"/>
              <a:gd name="connsiteX319" fmla="*/ 969614 w 12191999"/>
              <a:gd name="connsiteY319" fmla="*/ 6325851 h 6858001"/>
              <a:gd name="connsiteX320" fmla="*/ 967649 w 12191999"/>
              <a:gd name="connsiteY320" fmla="*/ 6333801 h 6858001"/>
              <a:gd name="connsiteX321" fmla="*/ 970037 w 12191999"/>
              <a:gd name="connsiteY321" fmla="*/ 6342417 h 6858001"/>
              <a:gd name="connsiteX322" fmla="*/ 977051 w 12191999"/>
              <a:gd name="connsiteY322" fmla="*/ 6348524 h 6858001"/>
              <a:gd name="connsiteX323" fmla="*/ 993648 w 12191999"/>
              <a:gd name="connsiteY323" fmla="*/ 6353754 h 6858001"/>
              <a:gd name="connsiteX324" fmla="*/ 1004772 w 12191999"/>
              <a:gd name="connsiteY324" fmla="*/ 6357442 h 6858001"/>
              <a:gd name="connsiteX325" fmla="*/ 1007977 w 12191999"/>
              <a:gd name="connsiteY325" fmla="*/ 6363246 h 6858001"/>
              <a:gd name="connsiteX326" fmla="*/ 1004349 w 12191999"/>
              <a:gd name="connsiteY326" fmla="*/ 6370411 h 6858001"/>
              <a:gd name="connsiteX327" fmla="*/ 993224 w 12191999"/>
              <a:gd name="connsiteY327" fmla="*/ 6373464 h 6858001"/>
              <a:gd name="connsiteX328" fmla="*/ 981646 w 12191999"/>
              <a:gd name="connsiteY328" fmla="*/ 6370018 h 6858001"/>
              <a:gd name="connsiteX329" fmla="*/ 976598 w 12191999"/>
              <a:gd name="connsiteY329" fmla="*/ 6360102 h 6858001"/>
              <a:gd name="connsiteX330" fmla="*/ 965835 w 12191999"/>
              <a:gd name="connsiteY330" fmla="*/ 6361795 h 6858001"/>
              <a:gd name="connsiteX331" fmla="*/ 974209 w 12191999"/>
              <a:gd name="connsiteY331" fmla="*/ 6377213 h 6858001"/>
              <a:gd name="connsiteX332" fmla="*/ 993285 w 12191999"/>
              <a:gd name="connsiteY332" fmla="*/ 6382412 h 6858001"/>
              <a:gd name="connsiteX333" fmla="*/ 1006828 w 12191999"/>
              <a:gd name="connsiteY333" fmla="*/ 6379782 h 6858001"/>
              <a:gd name="connsiteX334" fmla="*/ 1015988 w 12191999"/>
              <a:gd name="connsiteY334" fmla="*/ 6372345 h 6858001"/>
              <a:gd name="connsiteX335" fmla="*/ 1019162 w 12191999"/>
              <a:gd name="connsiteY335" fmla="*/ 6362097 h 6858001"/>
              <a:gd name="connsiteX336" fmla="*/ 1016562 w 12191999"/>
              <a:gd name="connsiteY336" fmla="*/ 6352786 h 6858001"/>
              <a:gd name="connsiteX337" fmla="*/ 1009398 w 12191999"/>
              <a:gd name="connsiteY337" fmla="*/ 6347073 h 6858001"/>
              <a:gd name="connsiteX338" fmla="*/ 993285 w 12191999"/>
              <a:gd name="connsiteY338" fmla="*/ 6342024 h 6858001"/>
              <a:gd name="connsiteX339" fmla="*/ 983671 w 12191999"/>
              <a:gd name="connsiteY339" fmla="*/ 6339243 h 6858001"/>
              <a:gd name="connsiteX340" fmla="*/ 979500 w 12191999"/>
              <a:gd name="connsiteY340" fmla="*/ 6336341 h 6858001"/>
              <a:gd name="connsiteX341" fmla="*/ 978170 w 12191999"/>
              <a:gd name="connsiteY341" fmla="*/ 6332532 h 6858001"/>
              <a:gd name="connsiteX342" fmla="*/ 981374 w 12191999"/>
              <a:gd name="connsiteY342" fmla="*/ 6326727 h 6858001"/>
              <a:gd name="connsiteX343" fmla="*/ 992076 w 12191999"/>
              <a:gd name="connsiteY343" fmla="*/ 6324248 h 6858001"/>
              <a:gd name="connsiteX344" fmla="*/ 1001900 w 12191999"/>
              <a:gd name="connsiteY344" fmla="*/ 6327030 h 6858001"/>
              <a:gd name="connsiteX345" fmla="*/ 1006103 w 12191999"/>
              <a:gd name="connsiteY345" fmla="*/ 6334769 h 6858001"/>
              <a:gd name="connsiteX346" fmla="*/ 1016744 w 12191999"/>
              <a:gd name="connsiteY346" fmla="*/ 6333318 h 6858001"/>
              <a:gd name="connsiteX347" fmla="*/ 1012995 w 12191999"/>
              <a:gd name="connsiteY347" fmla="*/ 6323372 h 6858001"/>
              <a:gd name="connsiteX348" fmla="*/ 1004561 w 12191999"/>
              <a:gd name="connsiteY348" fmla="*/ 6317477 h 6858001"/>
              <a:gd name="connsiteX349" fmla="*/ 991290 w 12191999"/>
              <a:gd name="connsiteY349" fmla="*/ 6315300 h 6858001"/>
              <a:gd name="connsiteX350" fmla="*/ 929875 w 12191999"/>
              <a:gd name="connsiteY350" fmla="*/ 6315300 h 6858001"/>
              <a:gd name="connsiteX351" fmla="*/ 908229 w 12191999"/>
              <a:gd name="connsiteY351" fmla="*/ 6324248 h 6858001"/>
              <a:gd name="connsiteX352" fmla="*/ 899886 w 12191999"/>
              <a:gd name="connsiteY352" fmla="*/ 6349400 h 6858001"/>
              <a:gd name="connsiteX353" fmla="*/ 908139 w 12191999"/>
              <a:gd name="connsiteY353" fmla="*/ 6373736 h 6858001"/>
              <a:gd name="connsiteX354" fmla="*/ 930479 w 12191999"/>
              <a:gd name="connsiteY354" fmla="*/ 6382412 h 6858001"/>
              <a:gd name="connsiteX355" fmla="*/ 948860 w 12191999"/>
              <a:gd name="connsiteY355" fmla="*/ 6376971 h 6858001"/>
              <a:gd name="connsiteX356" fmla="*/ 958715 w 12191999"/>
              <a:gd name="connsiteY356" fmla="*/ 6361674 h 6858001"/>
              <a:gd name="connsiteX357" fmla="*/ 947469 w 12191999"/>
              <a:gd name="connsiteY357" fmla="*/ 6360283 h 6858001"/>
              <a:gd name="connsiteX358" fmla="*/ 940758 w 12191999"/>
              <a:gd name="connsiteY358" fmla="*/ 6370320 h 6858001"/>
              <a:gd name="connsiteX359" fmla="*/ 930540 w 12191999"/>
              <a:gd name="connsiteY359" fmla="*/ 6373464 h 6858001"/>
              <a:gd name="connsiteX360" fmla="*/ 917117 w 12191999"/>
              <a:gd name="connsiteY360" fmla="*/ 6367841 h 6858001"/>
              <a:gd name="connsiteX361" fmla="*/ 911132 w 12191999"/>
              <a:gd name="connsiteY361" fmla="*/ 6351637 h 6858001"/>
              <a:gd name="connsiteX362" fmla="*/ 959017 w 12191999"/>
              <a:gd name="connsiteY362" fmla="*/ 6351637 h 6858001"/>
              <a:gd name="connsiteX363" fmla="*/ 959078 w 12191999"/>
              <a:gd name="connsiteY363" fmla="*/ 6348735 h 6858001"/>
              <a:gd name="connsiteX364" fmla="*/ 950915 w 12191999"/>
              <a:gd name="connsiteY364" fmla="*/ 6324067 h 6858001"/>
              <a:gd name="connsiteX365" fmla="*/ 929875 w 12191999"/>
              <a:gd name="connsiteY365" fmla="*/ 6315300 h 6858001"/>
              <a:gd name="connsiteX366" fmla="*/ 867069 w 12191999"/>
              <a:gd name="connsiteY366" fmla="*/ 6315300 h 6858001"/>
              <a:gd name="connsiteX367" fmla="*/ 846633 w 12191999"/>
              <a:gd name="connsiteY367" fmla="*/ 6325881 h 6858001"/>
              <a:gd name="connsiteX368" fmla="*/ 846633 w 12191999"/>
              <a:gd name="connsiteY368" fmla="*/ 6316751 h 6858001"/>
              <a:gd name="connsiteX369" fmla="*/ 836839 w 12191999"/>
              <a:gd name="connsiteY369" fmla="*/ 6316751 h 6858001"/>
              <a:gd name="connsiteX370" fmla="*/ 836839 w 12191999"/>
              <a:gd name="connsiteY370" fmla="*/ 6380961 h 6858001"/>
              <a:gd name="connsiteX371" fmla="*/ 847722 w 12191999"/>
              <a:gd name="connsiteY371" fmla="*/ 6380961 h 6858001"/>
              <a:gd name="connsiteX372" fmla="*/ 847722 w 12191999"/>
              <a:gd name="connsiteY372" fmla="*/ 6345894 h 6858001"/>
              <a:gd name="connsiteX373" fmla="*/ 852770 w 12191999"/>
              <a:gd name="connsiteY373" fmla="*/ 6329146 h 6858001"/>
              <a:gd name="connsiteX374" fmla="*/ 864772 w 12191999"/>
              <a:gd name="connsiteY374" fmla="*/ 6324732 h 6858001"/>
              <a:gd name="connsiteX375" fmla="*/ 872360 w 12191999"/>
              <a:gd name="connsiteY375" fmla="*/ 6326697 h 6858001"/>
              <a:gd name="connsiteX376" fmla="*/ 876864 w 12191999"/>
              <a:gd name="connsiteY376" fmla="*/ 6331957 h 6858001"/>
              <a:gd name="connsiteX377" fmla="*/ 878134 w 12191999"/>
              <a:gd name="connsiteY377" fmla="*/ 6341903 h 6858001"/>
              <a:gd name="connsiteX378" fmla="*/ 878134 w 12191999"/>
              <a:gd name="connsiteY378" fmla="*/ 6380961 h 6858001"/>
              <a:gd name="connsiteX379" fmla="*/ 889017 w 12191999"/>
              <a:gd name="connsiteY379" fmla="*/ 6380961 h 6858001"/>
              <a:gd name="connsiteX380" fmla="*/ 889017 w 12191999"/>
              <a:gd name="connsiteY380" fmla="*/ 6341480 h 6858001"/>
              <a:gd name="connsiteX381" fmla="*/ 888412 w 12191999"/>
              <a:gd name="connsiteY381" fmla="*/ 6330899 h 6858001"/>
              <a:gd name="connsiteX382" fmla="*/ 885026 w 12191999"/>
              <a:gd name="connsiteY382" fmla="*/ 6322858 h 6858001"/>
              <a:gd name="connsiteX383" fmla="*/ 877741 w 12191999"/>
              <a:gd name="connsiteY383" fmla="*/ 6317386 h 6858001"/>
              <a:gd name="connsiteX384" fmla="*/ 867069 w 12191999"/>
              <a:gd name="connsiteY384" fmla="*/ 6315300 h 6858001"/>
              <a:gd name="connsiteX385" fmla="*/ 762690 w 12191999"/>
              <a:gd name="connsiteY385" fmla="*/ 6315300 h 6858001"/>
              <a:gd name="connsiteX386" fmla="*/ 753288 w 12191999"/>
              <a:gd name="connsiteY386" fmla="*/ 6316600 h 6858001"/>
              <a:gd name="connsiteX387" fmla="*/ 746365 w 12191999"/>
              <a:gd name="connsiteY387" fmla="*/ 6319774 h 6858001"/>
              <a:gd name="connsiteX388" fmla="*/ 741014 w 12191999"/>
              <a:gd name="connsiteY388" fmla="*/ 6325851 h 6858001"/>
              <a:gd name="connsiteX389" fmla="*/ 739049 w 12191999"/>
              <a:gd name="connsiteY389" fmla="*/ 6333801 h 6858001"/>
              <a:gd name="connsiteX390" fmla="*/ 741437 w 12191999"/>
              <a:gd name="connsiteY390" fmla="*/ 6342417 h 6858001"/>
              <a:gd name="connsiteX391" fmla="*/ 748451 w 12191999"/>
              <a:gd name="connsiteY391" fmla="*/ 6348524 h 6858001"/>
              <a:gd name="connsiteX392" fmla="*/ 765048 w 12191999"/>
              <a:gd name="connsiteY392" fmla="*/ 6353754 h 6858001"/>
              <a:gd name="connsiteX393" fmla="*/ 776172 w 12191999"/>
              <a:gd name="connsiteY393" fmla="*/ 6357442 h 6858001"/>
              <a:gd name="connsiteX394" fmla="*/ 779377 w 12191999"/>
              <a:gd name="connsiteY394" fmla="*/ 6363246 h 6858001"/>
              <a:gd name="connsiteX395" fmla="*/ 775749 w 12191999"/>
              <a:gd name="connsiteY395" fmla="*/ 6370411 h 6858001"/>
              <a:gd name="connsiteX396" fmla="*/ 764624 w 12191999"/>
              <a:gd name="connsiteY396" fmla="*/ 6373464 h 6858001"/>
              <a:gd name="connsiteX397" fmla="*/ 753046 w 12191999"/>
              <a:gd name="connsiteY397" fmla="*/ 6370018 h 6858001"/>
              <a:gd name="connsiteX398" fmla="*/ 747997 w 12191999"/>
              <a:gd name="connsiteY398" fmla="*/ 6360102 h 6858001"/>
              <a:gd name="connsiteX399" fmla="*/ 737235 w 12191999"/>
              <a:gd name="connsiteY399" fmla="*/ 6361795 h 6858001"/>
              <a:gd name="connsiteX400" fmla="*/ 745609 w 12191999"/>
              <a:gd name="connsiteY400" fmla="*/ 6377213 h 6858001"/>
              <a:gd name="connsiteX401" fmla="*/ 764685 w 12191999"/>
              <a:gd name="connsiteY401" fmla="*/ 6382412 h 6858001"/>
              <a:gd name="connsiteX402" fmla="*/ 778228 w 12191999"/>
              <a:gd name="connsiteY402" fmla="*/ 6379782 h 6858001"/>
              <a:gd name="connsiteX403" fmla="*/ 787388 w 12191999"/>
              <a:gd name="connsiteY403" fmla="*/ 6372345 h 6858001"/>
              <a:gd name="connsiteX404" fmla="*/ 790562 w 12191999"/>
              <a:gd name="connsiteY404" fmla="*/ 6362097 h 6858001"/>
              <a:gd name="connsiteX405" fmla="*/ 787962 w 12191999"/>
              <a:gd name="connsiteY405" fmla="*/ 6352786 h 6858001"/>
              <a:gd name="connsiteX406" fmla="*/ 780798 w 12191999"/>
              <a:gd name="connsiteY406" fmla="*/ 6347073 h 6858001"/>
              <a:gd name="connsiteX407" fmla="*/ 764685 w 12191999"/>
              <a:gd name="connsiteY407" fmla="*/ 6342024 h 6858001"/>
              <a:gd name="connsiteX408" fmla="*/ 755071 w 12191999"/>
              <a:gd name="connsiteY408" fmla="*/ 6339243 h 6858001"/>
              <a:gd name="connsiteX409" fmla="*/ 750900 w 12191999"/>
              <a:gd name="connsiteY409" fmla="*/ 6336341 h 6858001"/>
              <a:gd name="connsiteX410" fmla="*/ 749569 w 12191999"/>
              <a:gd name="connsiteY410" fmla="*/ 6332532 h 6858001"/>
              <a:gd name="connsiteX411" fmla="*/ 752774 w 12191999"/>
              <a:gd name="connsiteY411" fmla="*/ 6326727 h 6858001"/>
              <a:gd name="connsiteX412" fmla="*/ 763476 w 12191999"/>
              <a:gd name="connsiteY412" fmla="*/ 6324248 h 6858001"/>
              <a:gd name="connsiteX413" fmla="*/ 773301 w 12191999"/>
              <a:gd name="connsiteY413" fmla="*/ 6327030 h 6858001"/>
              <a:gd name="connsiteX414" fmla="*/ 777503 w 12191999"/>
              <a:gd name="connsiteY414" fmla="*/ 6334769 h 6858001"/>
              <a:gd name="connsiteX415" fmla="*/ 788144 w 12191999"/>
              <a:gd name="connsiteY415" fmla="*/ 6333318 h 6858001"/>
              <a:gd name="connsiteX416" fmla="*/ 784395 w 12191999"/>
              <a:gd name="connsiteY416" fmla="*/ 6323372 h 6858001"/>
              <a:gd name="connsiteX417" fmla="*/ 775961 w 12191999"/>
              <a:gd name="connsiteY417" fmla="*/ 6317477 h 6858001"/>
              <a:gd name="connsiteX418" fmla="*/ 762690 w 12191999"/>
              <a:gd name="connsiteY418" fmla="*/ 6315300 h 6858001"/>
              <a:gd name="connsiteX419" fmla="*/ 525681 w 12191999"/>
              <a:gd name="connsiteY419" fmla="*/ 6301636 h 6858001"/>
              <a:gd name="connsiteX420" fmla="*/ 531969 w 12191999"/>
              <a:gd name="connsiteY420" fmla="*/ 6320016 h 6858001"/>
              <a:gd name="connsiteX421" fmla="*/ 541219 w 12191999"/>
              <a:gd name="connsiteY421" fmla="*/ 6344563 h 6858001"/>
              <a:gd name="connsiteX422" fmla="*/ 511170 w 12191999"/>
              <a:gd name="connsiteY422" fmla="*/ 6344563 h 6858001"/>
              <a:gd name="connsiteX423" fmla="*/ 520904 w 12191999"/>
              <a:gd name="connsiteY423" fmla="*/ 6318565 h 6858001"/>
              <a:gd name="connsiteX424" fmla="*/ 525681 w 12191999"/>
              <a:gd name="connsiteY424" fmla="*/ 6301636 h 6858001"/>
              <a:gd name="connsiteX425" fmla="*/ 1847396 w 12191999"/>
              <a:gd name="connsiteY425" fmla="*/ 6292325 h 6858001"/>
              <a:gd name="connsiteX426" fmla="*/ 1847396 w 12191999"/>
              <a:gd name="connsiteY426" fmla="*/ 6380961 h 6858001"/>
              <a:gd name="connsiteX427" fmla="*/ 1902778 w 12191999"/>
              <a:gd name="connsiteY427" fmla="*/ 6380961 h 6858001"/>
              <a:gd name="connsiteX428" fmla="*/ 1902778 w 12191999"/>
              <a:gd name="connsiteY428" fmla="*/ 6370501 h 6858001"/>
              <a:gd name="connsiteX429" fmla="*/ 1859125 w 12191999"/>
              <a:gd name="connsiteY429" fmla="*/ 6370501 h 6858001"/>
              <a:gd name="connsiteX430" fmla="*/ 1859125 w 12191999"/>
              <a:gd name="connsiteY430" fmla="*/ 6292325 h 6858001"/>
              <a:gd name="connsiteX431" fmla="*/ 1676067 w 12191999"/>
              <a:gd name="connsiteY431" fmla="*/ 6292325 h 6858001"/>
              <a:gd name="connsiteX432" fmla="*/ 1676067 w 12191999"/>
              <a:gd name="connsiteY432" fmla="*/ 6380961 h 6858001"/>
              <a:gd name="connsiteX433" fmla="*/ 1687373 w 12191999"/>
              <a:gd name="connsiteY433" fmla="*/ 6380961 h 6858001"/>
              <a:gd name="connsiteX434" fmla="*/ 1687373 w 12191999"/>
              <a:gd name="connsiteY434" fmla="*/ 6305505 h 6858001"/>
              <a:gd name="connsiteX435" fmla="*/ 1713008 w 12191999"/>
              <a:gd name="connsiteY435" fmla="*/ 6380961 h 6858001"/>
              <a:gd name="connsiteX436" fmla="*/ 1723589 w 12191999"/>
              <a:gd name="connsiteY436" fmla="*/ 6380961 h 6858001"/>
              <a:gd name="connsiteX437" fmla="*/ 1749346 w 12191999"/>
              <a:gd name="connsiteY437" fmla="*/ 6306775 h 6858001"/>
              <a:gd name="connsiteX438" fmla="*/ 1749346 w 12191999"/>
              <a:gd name="connsiteY438" fmla="*/ 6380961 h 6858001"/>
              <a:gd name="connsiteX439" fmla="*/ 1760652 w 12191999"/>
              <a:gd name="connsiteY439" fmla="*/ 6380961 h 6858001"/>
              <a:gd name="connsiteX440" fmla="*/ 1760652 w 12191999"/>
              <a:gd name="connsiteY440" fmla="*/ 6292325 h 6858001"/>
              <a:gd name="connsiteX441" fmla="*/ 1744872 w 12191999"/>
              <a:gd name="connsiteY441" fmla="*/ 6292325 h 6858001"/>
              <a:gd name="connsiteX442" fmla="*/ 1723650 w 12191999"/>
              <a:gd name="connsiteY442" fmla="*/ 6353995 h 6858001"/>
              <a:gd name="connsiteX443" fmla="*/ 1718933 w 12191999"/>
              <a:gd name="connsiteY443" fmla="*/ 6368204 h 6858001"/>
              <a:gd name="connsiteX444" fmla="*/ 1714701 w 12191999"/>
              <a:gd name="connsiteY444" fmla="*/ 6355084 h 6858001"/>
              <a:gd name="connsiteX445" fmla="*/ 1693721 w 12191999"/>
              <a:gd name="connsiteY445" fmla="*/ 6292325 h 6858001"/>
              <a:gd name="connsiteX446" fmla="*/ 1560739 w 12191999"/>
              <a:gd name="connsiteY446" fmla="*/ 6292325 h 6858001"/>
              <a:gd name="connsiteX447" fmla="*/ 1560739 w 12191999"/>
              <a:gd name="connsiteY447" fmla="*/ 6380961 h 6858001"/>
              <a:gd name="connsiteX448" fmla="*/ 1571622 w 12191999"/>
              <a:gd name="connsiteY448" fmla="*/ 6380961 h 6858001"/>
              <a:gd name="connsiteX449" fmla="*/ 1571622 w 12191999"/>
              <a:gd name="connsiteY449" fmla="*/ 6345833 h 6858001"/>
              <a:gd name="connsiteX450" fmla="*/ 1573435 w 12191999"/>
              <a:gd name="connsiteY450" fmla="*/ 6333983 h 6858001"/>
              <a:gd name="connsiteX451" fmla="*/ 1579512 w 12191999"/>
              <a:gd name="connsiteY451" fmla="*/ 6327181 h 6858001"/>
              <a:gd name="connsiteX452" fmla="*/ 1588611 w 12191999"/>
              <a:gd name="connsiteY452" fmla="*/ 6324672 h 6858001"/>
              <a:gd name="connsiteX453" fmla="*/ 1598618 w 12191999"/>
              <a:gd name="connsiteY453" fmla="*/ 6328390 h 6858001"/>
              <a:gd name="connsiteX454" fmla="*/ 1602155 w 12191999"/>
              <a:gd name="connsiteY454" fmla="*/ 6340271 h 6858001"/>
              <a:gd name="connsiteX455" fmla="*/ 1602155 w 12191999"/>
              <a:gd name="connsiteY455" fmla="*/ 6380961 h 6858001"/>
              <a:gd name="connsiteX456" fmla="*/ 1613038 w 12191999"/>
              <a:gd name="connsiteY456" fmla="*/ 6380961 h 6858001"/>
              <a:gd name="connsiteX457" fmla="*/ 1613038 w 12191999"/>
              <a:gd name="connsiteY457" fmla="*/ 6340271 h 6858001"/>
              <a:gd name="connsiteX458" fmla="*/ 1610771 w 12191999"/>
              <a:gd name="connsiteY458" fmla="*/ 6325881 h 6858001"/>
              <a:gd name="connsiteX459" fmla="*/ 1603243 w 12191999"/>
              <a:gd name="connsiteY459" fmla="*/ 6318112 h 6858001"/>
              <a:gd name="connsiteX460" fmla="*/ 1590848 w 12191999"/>
              <a:gd name="connsiteY460" fmla="*/ 6315300 h 6858001"/>
              <a:gd name="connsiteX461" fmla="*/ 1571622 w 12191999"/>
              <a:gd name="connsiteY461" fmla="*/ 6324128 h 6858001"/>
              <a:gd name="connsiteX462" fmla="*/ 1571622 w 12191999"/>
              <a:gd name="connsiteY462" fmla="*/ 6292325 h 6858001"/>
              <a:gd name="connsiteX463" fmla="*/ 1285542 w 12191999"/>
              <a:gd name="connsiteY463" fmla="*/ 6292325 h 6858001"/>
              <a:gd name="connsiteX464" fmla="*/ 1285542 w 12191999"/>
              <a:gd name="connsiteY464" fmla="*/ 6380961 h 6858001"/>
              <a:gd name="connsiteX465" fmla="*/ 1296848 w 12191999"/>
              <a:gd name="connsiteY465" fmla="*/ 6380961 h 6858001"/>
              <a:gd name="connsiteX466" fmla="*/ 1296848 w 12191999"/>
              <a:gd name="connsiteY466" fmla="*/ 6305505 h 6858001"/>
              <a:gd name="connsiteX467" fmla="*/ 1322484 w 12191999"/>
              <a:gd name="connsiteY467" fmla="*/ 6380961 h 6858001"/>
              <a:gd name="connsiteX468" fmla="*/ 1333064 w 12191999"/>
              <a:gd name="connsiteY468" fmla="*/ 6380961 h 6858001"/>
              <a:gd name="connsiteX469" fmla="*/ 1358821 w 12191999"/>
              <a:gd name="connsiteY469" fmla="*/ 6306775 h 6858001"/>
              <a:gd name="connsiteX470" fmla="*/ 1358821 w 12191999"/>
              <a:gd name="connsiteY470" fmla="*/ 6380961 h 6858001"/>
              <a:gd name="connsiteX471" fmla="*/ 1370127 w 12191999"/>
              <a:gd name="connsiteY471" fmla="*/ 6380961 h 6858001"/>
              <a:gd name="connsiteX472" fmla="*/ 1370127 w 12191999"/>
              <a:gd name="connsiteY472" fmla="*/ 6292325 h 6858001"/>
              <a:gd name="connsiteX473" fmla="*/ 1354347 w 12191999"/>
              <a:gd name="connsiteY473" fmla="*/ 6292325 h 6858001"/>
              <a:gd name="connsiteX474" fmla="*/ 1333125 w 12191999"/>
              <a:gd name="connsiteY474" fmla="*/ 6353995 h 6858001"/>
              <a:gd name="connsiteX475" fmla="*/ 1328409 w 12191999"/>
              <a:gd name="connsiteY475" fmla="*/ 6368204 h 6858001"/>
              <a:gd name="connsiteX476" fmla="*/ 1324176 w 12191999"/>
              <a:gd name="connsiteY476" fmla="*/ 6355084 h 6858001"/>
              <a:gd name="connsiteX477" fmla="*/ 1303196 w 12191999"/>
              <a:gd name="connsiteY477" fmla="*/ 6292325 h 6858001"/>
              <a:gd name="connsiteX478" fmla="*/ 808324 w 12191999"/>
              <a:gd name="connsiteY478" fmla="*/ 6292325 h 6858001"/>
              <a:gd name="connsiteX479" fmla="*/ 808324 w 12191999"/>
              <a:gd name="connsiteY479" fmla="*/ 6304840 h 6858001"/>
              <a:gd name="connsiteX480" fmla="*/ 819207 w 12191999"/>
              <a:gd name="connsiteY480" fmla="*/ 6304840 h 6858001"/>
              <a:gd name="connsiteX481" fmla="*/ 819207 w 12191999"/>
              <a:gd name="connsiteY481" fmla="*/ 6292325 h 6858001"/>
              <a:gd name="connsiteX482" fmla="*/ 608178 w 12191999"/>
              <a:gd name="connsiteY482" fmla="*/ 6292325 h 6858001"/>
              <a:gd name="connsiteX483" fmla="*/ 608178 w 12191999"/>
              <a:gd name="connsiteY483" fmla="*/ 6380961 h 6858001"/>
              <a:gd name="connsiteX484" fmla="*/ 618275 w 12191999"/>
              <a:gd name="connsiteY484" fmla="*/ 6380961 h 6858001"/>
              <a:gd name="connsiteX485" fmla="*/ 618275 w 12191999"/>
              <a:gd name="connsiteY485" fmla="*/ 6372920 h 6858001"/>
              <a:gd name="connsiteX486" fmla="*/ 636111 w 12191999"/>
              <a:gd name="connsiteY486" fmla="*/ 6382412 h 6858001"/>
              <a:gd name="connsiteX487" fmla="*/ 655701 w 12191999"/>
              <a:gd name="connsiteY487" fmla="*/ 6373404 h 6858001"/>
              <a:gd name="connsiteX488" fmla="*/ 663863 w 12191999"/>
              <a:gd name="connsiteY488" fmla="*/ 6347889 h 6858001"/>
              <a:gd name="connsiteX489" fmla="*/ 661928 w 12191999"/>
              <a:gd name="connsiteY489" fmla="*/ 6334829 h 6858001"/>
              <a:gd name="connsiteX490" fmla="*/ 656577 w 12191999"/>
              <a:gd name="connsiteY490" fmla="*/ 6324400 h 6858001"/>
              <a:gd name="connsiteX491" fmla="*/ 647871 w 12191999"/>
              <a:gd name="connsiteY491" fmla="*/ 6317688 h 6858001"/>
              <a:gd name="connsiteX492" fmla="*/ 636655 w 12191999"/>
              <a:gd name="connsiteY492" fmla="*/ 6315300 h 6858001"/>
              <a:gd name="connsiteX493" fmla="*/ 619061 w 12191999"/>
              <a:gd name="connsiteY493" fmla="*/ 6323946 h 6858001"/>
              <a:gd name="connsiteX494" fmla="*/ 619061 w 12191999"/>
              <a:gd name="connsiteY494" fmla="*/ 6292325 h 6858001"/>
              <a:gd name="connsiteX495" fmla="*/ 519635 w 12191999"/>
              <a:gd name="connsiteY495" fmla="*/ 6292325 h 6858001"/>
              <a:gd name="connsiteX496" fmla="*/ 485595 w 12191999"/>
              <a:gd name="connsiteY496" fmla="*/ 6380961 h 6858001"/>
              <a:gd name="connsiteX497" fmla="*/ 498050 w 12191999"/>
              <a:gd name="connsiteY497" fmla="*/ 6380961 h 6858001"/>
              <a:gd name="connsiteX498" fmla="*/ 507784 w 12191999"/>
              <a:gd name="connsiteY498" fmla="*/ 6354116 h 6858001"/>
              <a:gd name="connsiteX499" fmla="*/ 544847 w 12191999"/>
              <a:gd name="connsiteY499" fmla="*/ 6354116 h 6858001"/>
              <a:gd name="connsiteX500" fmla="*/ 555186 w 12191999"/>
              <a:gd name="connsiteY500" fmla="*/ 6380961 h 6858001"/>
              <a:gd name="connsiteX501" fmla="*/ 568548 w 12191999"/>
              <a:gd name="connsiteY501" fmla="*/ 6380961 h 6858001"/>
              <a:gd name="connsiteX502" fmla="*/ 532271 w 12191999"/>
              <a:gd name="connsiteY502" fmla="*/ 6292325 h 6858001"/>
              <a:gd name="connsiteX503" fmla="*/ 1228689 w 12191999"/>
              <a:gd name="connsiteY503" fmla="*/ 6290813 h 6858001"/>
              <a:gd name="connsiteX504" fmla="*/ 1217594 w 12191999"/>
              <a:gd name="connsiteY504" fmla="*/ 6293443 h 6858001"/>
              <a:gd name="connsiteX505" fmla="*/ 1212062 w 12191999"/>
              <a:gd name="connsiteY505" fmla="*/ 6300306 h 6858001"/>
              <a:gd name="connsiteX506" fmla="*/ 1210914 w 12191999"/>
              <a:gd name="connsiteY506" fmla="*/ 6309919 h 6858001"/>
              <a:gd name="connsiteX507" fmla="*/ 1210914 w 12191999"/>
              <a:gd name="connsiteY507" fmla="*/ 6316751 h 6858001"/>
              <a:gd name="connsiteX508" fmla="*/ 1201300 w 12191999"/>
              <a:gd name="connsiteY508" fmla="*/ 6316751 h 6858001"/>
              <a:gd name="connsiteX509" fmla="*/ 1201300 w 12191999"/>
              <a:gd name="connsiteY509" fmla="*/ 6325216 h 6858001"/>
              <a:gd name="connsiteX510" fmla="*/ 1210914 w 12191999"/>
              <a:gd name="connsiteY510" fmla="*/ 6325216 h 6858001"/>
              <a:gd name="connsiteX511" fmla="*/ 1210914 w 12191999"/>
              <a:gd name="connsiteY511" fmla="*/ 6380961 h 6858001"/>
              <a:gd name="connsiteX512" fmla="*/ 1221736 w 12191999"/>
              <a:gd name="connsiteY512" fmla="*/ 6380961 h 6858001"/>
              <a:gd name="connsiteX513" fmla="*/ 1221736 w 12191999"/>
              <a:gd name="connsiteY513" fmla="*/ 6325216 h 6858001"/>
              <a:gd name="connsiteX514" fmla="*/ 1234252 w 12191999"/>
              <a:gd name="connsiteY514" fmla="*/ 6325216 h 6858001"/>
              <a:gd name="connsiteX515" fmla="*/ 1234252 w 12191999"/>
              <a:gd name="connsiteY515" fmla="*/ 6316751 h 6858001"/>
              <a:gd name="connsiteX516" fmla="*/ 1221736 w 12191999"/>
              <a:gd name="connsiteY516" fmla="*/ 6316751 h 6858001"/>
              <a:gd name="connsiteX517" fmla="*/ 1221736 w 12191999"/>
              <a:gd name="connsiteY517" fmla="*/ 6310826 h 6858001"/>
              <a:gd name="connsiteX518" fmla="*/ 1223792 w 12191999"/>
              <a:gd name="connsiteY518" fmla="*/ 6302906 h 6858001"/>
              <a:gd name="connsiteX519" fmla="*/ 1230805 w 12191999"/>
              <a:gd name="connsiteY519" fmla="*/ 6300789 h 6858001"/>
              <a:gd name="connsiteX520" fmla="*/ 1237214 w 12191999"/>
              <a:gd name="connsiteY520" fmla="*/ 6301394 h 6858001"/>
              <a:gd name="connsiteX521" fmla="*/ 1238847 w 12191999"/>
              <a:gd name="connsiteY521" fmla="*/ 6291902 h 6858001"/>
              <a:gd name="connsiteX522" fmla="*/ 1228689 w 12191999"/>
              <a:gd name="connsiteY522" fmla="*/ 6290813 h 6858001"/>
              <a:gd name="connsiteX523" fmla="*/ 7175501 w 12191999"/>
              <a:gd name="connsiteY523" fmla="*/ 1 h 6858001"/>
              <a:gd name="connsiteX524" fmla="*/ 12191999 w 12191999"/>
              <a:gd name="connsiteY524" fmla="*/ 1 h 6858001"/>
              <a:gd name="connsiteX525" fmla="*/ 12191999 w 12191999"/>
              <a:gd name="connsiteY525" fmla="*/ 6858001 h 6858001"/>
              <a:gd name="connsiteX526" fmla="*/ 1 w 12191999"/>
              <a:gd name="connsiteY526" fmla="*/ 6858001 h 6858001"/>
              <a:gd name="connsiteX527" fmla="*/ 1 w 12191999"/>
              <a:gd name="connsiteY527" fmla="*/ 5752619 h 6858001"/>
              <a:gd name="connsiteX528" fmla="*/ 7175501 w 12191999"/>
              <a:gd name="connsiteY528" fmla="*/ 5752619 h 6858001"/>
              <a:gd name="connsiteX529" fmla="*/ 0 w 12191999"/>
              <a:gd name="connsiteY529" fmla="*/ 0 h 6858001"/>
              <a:gd name="connsiteX530" fmla="*/ 7175501 w 12191999"/>
              <a:gd name="connsiteY530" fmla="*/ 0 h 6858001"/>
              <a:gd name="connsiteX531" fmla="*/ 7175501 w 12191999"/>
              <a:gd name="connsiteY531" fmla="*/ 1 h 6858001"/>
              <a:gd name="connsiteX532" fmla="*/ 1 w 12191999"/>
              <a:gd name="connsiteY532" fmla="*/ 1 h 6858001"/>
              <a:gd name="connsiteX533" fmla="*/ 1 w 12191999"/>
              <a:gd name="connsiteY533" fmla="*/ 5752619 h 6858001"/>
              <a:gd name="connsiteX534" fmla="*/ 0 w 12191999"/>
              <a:gd name="connsiteY534" fmla="*/ 575261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Lst>
            <a:rect l="l" t="t" r="r" b="b"/>
            <a:pathLst>
              <a:path w="12191999" h="6858001">
                <a:moveTo>
                  <a:pt x="2154182" y="6348735"/>
                </a:moveTo>
                <a:lnTo>
                  <a:pt x="2154182" y="6352726"/>
                </a:lnTo>
                <a:cubicBezTo>
                  <a:pt x="2154182" y="6357522"/>
                  <a:pt x="2153597" y="6361150"/>
                  <a:pt x="2152428" y="6363609"/>
                </a:cubicBezTo>
                <a:cubicBezTo>
                  <a:pt x="2150896" y="6366793"/>
                  <a:pt x="2148498" y="6369302"/>
                  <a:pt x="2145233" y="6371136"/>
                </a:cubicBezTo>
                <a:cubicBezTo>
                  <a:pt x="2141968" y="6372970"/>
                  <a:pt x="2138240" y="6373887"/>
                  <a:pt x="2134048" y="6373887"/>
                </a:cubicBezTo>
                <a:cubicBezTo>
                  <a:pt x="2129816" y="6373887"/>
                  <a:pt x="2126601" y="6372920"/>
                  <a:pt x="2124404" y="6370985"/>
                </a:cubicBezTo>
                <a:cubicBezTo>
                  <a:pt x="2122207" y="6369050"/>
                  <a:pt x="2121109" y="6366632"/>
                  <a:pt x="2121109" y="6363730"/>
                </a:cubicBezTo>
                <a:cubicBezTo>
                  <a:pt x="2121109" y="6361835"/>
                  <a:pt x="2121613" y="6360112"/>
                  <a:pt x="2122621" y="6358560"/>
                </a:cubicBezTo>
                <a:cubicBezTo>
                  <a:pt x="2123628" y="6357008"/>
                  <a:pt x="2125059" y="6355829"/>
                  <a:pt x="2126913" y="6355023"/>
                </a:cubicBezTo>
                <a:cubicBezTo>
                  <a:pt x="2128768" y="6354217"/>
                  <a:pt x="2131932" y="6353492"/>
                  <a:pt x="2136406" y="6352847"/>
                </a:cubicBezTo>
                <a:cubicBezTo>
                  <a:pt x="2144306" y="6351718"/>
                  <a:pt x="2150231" y="6350348"/>
                  <a:pt x="2154182" y="6348735"/>
                </a:cubicBezTo>
                <a:close/>
                <a:moveTo>
                  <a:pt x="1430281" y="6348735"/>
                </a:moveTo>
                <a:lnTo>
                  <a:pt x="1430281" y="6352726"/>
                </a:lnTo>
                <a:cubicBezTo>
                  <a:pt x="1430281" y="6357522"/>
                  <a:pt x="1429697" y="6361150"/>
                  <a:pt x="1428528" y="6363609"/>
                </a:cubicBezTo>
                <a:cubicBezTo>
                  <a:pt x="1426997" y="6366793"/>
                  <a:pt x="1424598" y="6369302"/>
                  <a:pt x="1421333" y="6371136"/>
                </a:cubicBezTo>
                <a:cubicBezTo>
                  <a:pt x="1418068" y="6372970"/>
                  <a:pt x="1414340" y="6373887"/>
                  <a:pt x="1410148" y="6373887"/>
                </a:cubicBezTo>
                <a:cubicBezTo>
                  <a:pt x="1405916" y="6373887"/>
                  <a:pt x="1402701" y="6372920"/>
                  <a:pt x="1400504" y="6370985"/>
                </a:cubicBezTo>
                <a:cubicBezTo>
                  <a:pt x="1398308" y="6369050"/>
                  <a:pt x="1397209" y="6366632"/>
                  <a:pt x="1397209" y="6363730"/>
                </a:cubicBezTo>
                <a:cubicBezTo>
                  <a:pt x="1397209" y="6361835"/>
                  <a:pt x="1397713" y="6360112"/>
                  <a:pt x="1398721" y="6358560"/>
                </a:cubicBezTo>
                <a:cubicBezTo>
                  <a:pt x="1399728" y="6357008"/>
                  <a:pt x="1401159" y="6355829"/>
                  <a:pt x="1403013" y="6355023"/>
                </a:cubicBezTo>
                <a:cubicBezTo>
                  <a:pt x="1404867" y="6354217"/>
                  <a:pt x="1408032" y="6353492"/>
                  <a:pt x="1412506" y="6352847"/>
                </a:cubicBezTo>
                <a:cubicBezTo>
                  <a:pt x="1420406" y="6351718"/>
                  <a:pt x="1426331" y="6350348"/>
                  <a:pt x="1430281" y="6348735"/>
                </a:cubicBezTo>
                <a:close/>
                <a:moveTo>
                  <a:pt x="1167698" y="6324309"/>
                </a:moveTo>
                <a:cubicBezTo>
                  <a:pt x="1173058" y="6324309"/>
                  <a:pt x="1177543" y="6326355"/>
                  <a:pt x="1181150" y="6330446"/>
                </a:cubicBezTo>
                <a:cubicBezTo>
                  <a:pt x="1184758" y="6334537"/>
                  <a:pt x="1186561" y="6340553"/>
                  <a:pt x="1186561" y="6348493"/>
                </a:cubicBezTo>
                <a:cubicBezTo>
                  <a:pt x="1186561" y="6356918"/>
                  <a:pt x="1184768" y="6363186"/>
                  <a:pt x="1181180" y="6367297"/>
                </a:cubicBezTo>
                <a:cubicBezTo>
                  <a:pt x="1177593" y="6371408"/>
                  <a:pt x="1173099" y="6373464"/>
                  <a:pt x="1167698" y="6373464"/>
                </a:cubicBezTo>
                <a:cubicBezTo>
                  <a:pt x="1162256" y="6373464"/>
                  <a:pt x="1157741" y="6371418"/>
                  <a:pt x="1154154" y="6367327"/>
                </a:cubicBezTo>
                <a:cubicBezTo>
                  <a:pt x="1150567" y="6363236"/>
                  <a:pt x="1148773" y="6357079"/>
                  <a:pt x="1148773" y="6348856"/>
                </a:cubicBezTo>
                <a:cubicBezTo>
                  <a:pt x="1148773" y="6340633"/>
                  <a:pt x="1150567" y="6334487"/>
                  <a:pt x="1154154" y="6330415"/>
                </a:cubicBezTo>
                <a:cubicBezTo>
                  <a:pt x="1157741" y="6326344"/>
                  <a:pt x="1162256" y="6324309"/>
                  <a:pt x="1167698" y="6324309"/>
                </a:cubicBezTo>
                <a:close/>
                <a:moveTo>
                  <a:pt x="1939646" y="6324248"/>
                </a:moveTo>
                <a:cubicBezTo>
                  <a:pt x="1945168" y="6324248"/>
                  <a:pt x="1949662" y="6326344"/>
                  <a:pt x="1953129" y="6330536"/>
                </a:cubicBezTo>
                <a:cubicBezTo>
                  <a:pt x="1955386" y="6333237"/>
                  <a:pt x="1956756" y="6337288"/>
                  <a:pt x="1957240" y="6342689"/>
                </a:cubicBezTo>
                <a:lnTo>
                  <a:pt x="1921387" y="6342689"/>
                </a:lnTo>
                <a:cubicBezTo>
                  <a:pt x="1921749" y="6337086"/>
                  <a:pt x="1923634" y="6332612"/>
                  <a:pt x="1927040" y="6329267"/>
                </a:cubicBezTo>
                <a:cubicBezTo>
                  <a:pt x="1930445" y="6325921"/>
                  <a:pt x="1934648" y="6324248"/>
                  <a:pt x="1939646" y="6324248"/>
                </a:cubicBezTo>
                <a:close/>
                <a:moveTo>
                  <a:pt x="929996" y="6324248"/>
                </a:moveTo>
                <a:cubicBezTo>
                  <a:pt x="935518" y="6324248"/>
                  <a:pt x="940012" y="6326344"/>
                  <a:pt x="943479" y="6330536"/>
                </a:cubicBezTo>
                <a:cubicBezTo>
                  <a:pt x="945736" y="6333237"/>
                  <a:pt x="947106" y="6337288"/>
                  <a:pt x="947590" y="6342689"/>
                </a:cubicBezTo>
                <a:lnTo>
                  <a:pt x="911736" y="6342689"/>
                </a:lnTo>
                <a:cubicBezTo>
                  <a:pt x="912099" y="6337086"/>
                  <a:pt x="913983" y="6332612"/>
                  <a:pt x="917389" y="6329267"/>
                </a:cubicBezTo>
                <a:cubicBezTo>
                  <a:pt x="920795" y="6325921"/>
                  <a:pt x="924997" y="6324248"/>
                  <a:pt x="929996" y="6324248"/>
                </a:cubicBezTo>
                <a:close/>
                <a:moveTo>
                  <a:pt x="635688" y="6324248"/>
                </a:moveTo>
                <a:cubicBezTo>
                  <a:pt x="640404" y="6324248"/>
                  <a:pt x="644425" y="6326244"/>
                  <a:pt x="647750" y="6330234"/>
                </a:cubicBezTo>
                <a:cubicBezTo>
                  <a:pt x="651075" y="6334225"/>
                  <a:pt x="652738" y="6340412"/>
                  <a:pt x="652738" y="6348796"/>
                </a:cubicBezTo>
                <a:cubicBezTo>
                  <a:pt x="652738" y="6356978"/>
                  <a:pt x="651005" y="6363135"/>
                  <a:pt x="647538" y="6367267"/>
                </a:cubicBezTo>
                <a:cubicBezTo>
                  <a:pt x="644072" y="6371398"/>
                  <a:pt x="639961" y="6373464"/>
                  <a:pt x="635204" y="6373464"/>
                </a:cubicBezTo>
                <a:cubicBezTo>
                  <a:pt x="629360" y="6373464"/>
                  <a:pt x="624724" y="6370663"/>
                  <a:pt x="621298" y="6365060"/>
                </a:cubicBezTo>
                <a:cubicBezTo>
                  <a:pt x="619202" y="6361634"/>
                  <a:pt x="618154" y="6356071"/>
                  <a:pt x="618154" y="6348373"/>
                </a:cubicBezTo>
                <a:cubicBezTo>
                  <a:pt x="618154" y="6340553"/>
                  <a:pt x="619887" y="6334577"/>
                  <a:pt x="623354" y="6330446"/>
                </a:cubicBezTo>
                <a:cubicBezTo>
                  <a:pt x="626820" y="6326314"/>
                  <a:pt x="630932" y="6324248"/>
                  <a:pt x="635688" y="6324248"/>
                </a:cubicBezTo>
                <a:close/>
                <a:moveTo>
                  <a:pt x="808324" y="6316751"/>
                </a:moveTo>
                <a:lnTo>
                  <a:pt x="808324" y="6380961"/>
                </a:lnTo>
                <a:lnTo>
                  <a:pt x="819207" y="6380961"/>
                </a:lnTo>
                <a:lnTo>
                  <a:pt x="819207" y="6316751"/>
                </a:lnTo>
                <a:close/>
                <a:moveTo>
                  <a:pt x="674672" y="6316751"/>
                </a:moveTo>
                <a:lnTo>
                  <a:pt x="674672" y="6356535"/>
                </a:lnTo>
                <a:cubicBezTo>
                  <a:pt x="674672" y="6361170"/>
                  <a:pt x="674893" y="6364556"/>
                  <a:pt x="675337" y="6366692"/>
                </a:cubicBezTo>
                <a:cubicBezTo>
                  <a:pt x="675982" y="6369877"/>
                  <a:pt x="677100" y="6372567"/>
                  <a:pt x="678692" y="6374764"/>
                </a:cubicBezTo>
                <a:cubicBezTo>
                  <a:pt x="680284" y="6376961"/>
                  <a:pt x="682723" y="6378785"/>
                  <a:pt x="686008" y="6380236"/>
                </a:cubicBezTo>
                <a:cubicBezTo>
                  <a:pt x="689293" y="6381687"/>
                  <a:pt x="692830" y="6382412"/>
                  <a:pt x="696619" y="6382412"/>
                </a:cubicBezTo>
                <a:cubicBezTo>
                  <a:pt x="705205" y="6382412"/>
                  <a:pt x="711997" y="6378785"/>
                  <a:pt x="716995" y="6371529"/>
                </a:cubicBezTo>
                <a:lnTo>
                  <a:pt x="716995" y="6380961"/>
                </a:lnTo>
                <a:lnTo>
                  <a:pt x="726729" y="6380961"/>
                </a:lnTo>
                <a:lnTo>
                  <a:pt x="726729" y="6316751"/>
                </a:lnTo>
                <a:lnTo>
                  <a:pt x="715846" y="6316751"/>
                </a:lnTo>
                <a:lnTo>
                  <a:pt x="715846" y="6351154"/>
                </a:lnTo>
                <a:cubicBezTo>
                  <a:pt x="715846" y="6356636"/>
                  <a:pt x="715251" y="6360818"/>
                  <a:pt x="714062" y="6363700"/>
                </a:cubicBezTo>
                <a:cubicBezTo>
                  <a:pt x="712873" y="6366582"/>
                  <a:pt x="710848" y="6368859"/>
                  <a:pt x="707986" y="6370532"/>
                </a:cubicBezTo>
                <a:cubicBezTo>
                  <a:pt x="705124" y="6372204"/>
                  <a:pt x="702061" y="6373041"/>
                  <a:pt x="698796" y="6373041"/>
                </a:cubicBezTo>
                <a:cubicBezTo>
                  <a:pt x="695531" y="6373041"/>
                  <a:pt x="692790" y="6372225"/>
                  <a:pt x="690573" y="6370592"/>
                </a:cubicBezTo>
                <a:cubicBezTo>
                  <a:pt x="688356" y="6368960"/>
                  <a:pt x="686905" y="6366713"/>
                  <a:pt x="686220" y="6363851"/>
                </a:cubicBezTo>
                <a:cubicBezTo>
                  <a:pt x="685776" y="6361876"/>
                  <a:pt x="685555" y="6358046"/>
                  <a:pt x="685555" y="6352363"/>
                </a:cubicBezTo>
                <a:lnTo>
                  <a:pt x="685555" y="6316751"/>
                </a:lnTo>
                <a:close/>
                <a:moveTo>
                  <a:pt x="2210094" y="6315300"/>
                </a:moveTo>
                <a:cubicBezTo>
                  <a:pt x="2201186" y="6315300"/>
                  <a:pt x="2194374" y="6318827"/>
                  <a:pt x="2189659" y="6325881"/>
                </a:cubicBezTo>
                <a:lnTo>
                  <a:pt x="2189659" y="6316751"/>
                </a:lnTo>
                <a:lnTo>
                  <a:pt x="2179864" y="6316751"/>
                </a:lnTo>
                <a:lnTo>
                  <a:pt x="2179864" y="6380961"/>
                </a:lnTo>
                <a:lnTo>
                  <a:pt x="2190747" y="6380961"/>
                </a:lnTo>
                <a:lnTo>
                  <a:pt x="2190747" y="6345894"/>
                </a:lnTo>
                <a:cubicBezTo>
                  <a:pt x="2190747" y="6337671"/>
                  <a:pt x="2192430" y="6332088"/>
                  <a:pt x="2195795" y="6329146"/>
                </a:cubicBezTo>
                <a:cubicBezTo>
                  <a:pt x="2199161" y="6326203"/>
                  <a:pt x="2203161" y="6324732"/>
                  <a:pt x="2207797" y="6324732"/>
                </a:cubicBezTo>
                <a:cubicBezTo>
                  <a:pt x="2210699" y="6324732"/>
                  <a:pt x="2213228" y="6325387"/>
                  <a:pt x="2215385" y="6326697"/>
                </a:cubicBezTo>
                <a:cubicBezTo>
                  <a:pt x="2217541" y="6328007"/>
                  <a:pt x="2219043" y="6329761"/>
                  <a:pt x="2219889" y="6331957"/>
                </a:cubicBezTo>
                <a:cubicBezTo>
                  <a:pt x="2220735" y="6334154"/>
                  <a:pt x="2221159" y="6337469"/>
                  <a:pt x="2221159" y="6341903"/>
                </a:cubicBezTo>
                <a:lnTo>
                  <a:pt x="2221159" y="6380961"/>
                </a:lnTo>
                <a:lnTo>
                  <a:pt x="2232042" y="6380961"/>
                </a:lnTo>
                <a:lnTo>
                  <a:pt x="2232042" y="6341480"/>
                </a:lnTo>
                <a:cubicBezTo>
                  <a:pt x="2232042" y="6336441"/>
                  <a:pt x="2231840" y="6332915"/>
                  <a:pt x="2231437" y="6330899"/>
                </a:cubicBezTo>
                <a:cubicBezTo>
                  <a:pt x="2230792" y="6327796"/>
                  <a:pt x="2229664" y="6325115"/>
                  <a:pt x="2228052" y="6322858"/>
                </a:cubicBezTo>
                <a:cubicBezTo>
                  <a:pt x="2226439" y="6320601"/>
                  <a:pt x="2224011" y="6318777"/>
                  <a:pt x="2220766" y="6317386"/>
                </a:cubicBezTo>
                <a:cubicBezTo>
                  <a:pt x="2217521" y="6315995"/>
                  <a:pt x="2213964" y="6315300"/>
                  <a:pt x="2210094" y="6315300"/>
                </a:cubicBezTo>
                <a:close/>
                <a:moveTo>
                  <a:pt x="2140336" y="6315300"/>
                </a:moveTo>
                <a:cubicBezTo>
                  <a:pt x="2134814" y="6315300"/>
                  <a:pt x="2129957" y="6316056"/>
                  <a:pt x="2125765" y="6317567"/>
                </a:cubicBezTo>
                <a:cubicBezTo>
                  <a:pt x="2121573" y="6319079"/>
                  <a:pt x="2118368" y="6321235"/>
                  <a:pt x="2116151" y="6324037"/>
                </a:cubicBezTo>
                <a:cubicBezTo>
                  <a:pt x="2113934" y="6326838"/>
                  <a:pt x="2112342" y="6330516"/>
                  <a:pt x="2111375" y="6335071"/>
                </a:cubicBezTo>
                <a:lnTo>
                  <a:pt x="2122016" y="6336522"/>
                </a:lnTo>
                <a:cubicBezTo>
                  <a:pt x="2123185" y="6331967"/>
                  <a:pt x="2124989" y="6328793"/>
                  <a:pt x="2127427" y="6326999"/>
                </a:cubicBezTo>
                <a:cubicBezTo>
                  <a:pt x="2129866" y="6325206"/>
                  <a:pt x="2133645" y="6324309"/>
                  <a:pt x="2138764" y="6324309"/>
                </a:cubicBezTo>
                <a:cubicBezTo>
                  <a:pt x="2144246" y="6324309"/>
                  <a:pt x="2148377" y="6325538"/>
                  <a:pt x="2151159" y="6327997"/>
                </a:cubicBezTo>
                <a:cubicBezTo>
                  <a:pt x="2153214" y="6329811"/>
                  <a:pt x="2154242" y="6332935"/>
                  <a:pt x="2154242" y="6337369"/>
                </a:cubicBezTo>
                <a:cubicBezTo>
                  <a:pt x="2154242" y="6337772"/>
                  <a:pt x="2154222" y="6338719"/>
                  <a:pt x="2154182" y="6340210"/>
                </a:cubicBezTo>
                <a:cubicBezTo>
                  <a:pt x="2150030" y="6341661"/>
                  <a:pt x="2143560" y="6342911"/>
                  <a:pt x="2134773" y="6343959"/>
                </a:cubicBezTo>
                <a:cubicBezTo>
                  <a:pt x="2130460" y="6344483"/>
                  <a:pt x="2127236" y="6345027"/>
                  <a:pt x="2125100" y="6345591"/>
                </a:cubicBezTo>
                <a:cubicBezTo>
                  <a:pt x="2122197" y="6346397"/>
                  <a:pt x="2119587" y="6347587"/>
                  <a:pt x="2117270" y="6349159"/>
                </a:cubicBezTo>
                <a:cubicBezTo>
                  <a:pt x="2114952" y="6350731"/>
                  <a:pt x="2113078" y="6352816"/>
                  <a:pt x="2111647" y="6355416"/>
                </a:cubicBezTo>
                <a:cubicBezTo>
                  <a:pt x="2110216" y="6358016"/>
                  <a:pt x="2109500" y="6360888"/>
                  <a:pt x="2109500" y="6364032"/>
                </a:cubicBezTo>
                <a:cubicBezTo>
                  <a:pt x="2109500" y="6369393"/>
                  <a:pt x="2111395" y="6373797"/>
                  <a:pt x="2115184" y="6377243"/>
                </a:cubicBezTo>
                <a:cubicBezTo>
                  <a:pt x="2118973" y="6380689"/>
                  <a:pt x="2124394" y="6382412"/>
                  <a:pt x="2131448" y="6382412"/>
                </a:cubicBezTo>
                <a:cubicBezTo>
                  <a:pt x="2135721" y="6382412"/>
                  <a:pt x="2139721" y="6381707"/>
                  <a:pt x="2143450" y="6380296"/>
                </a:cubicBezTo>
                <a:cubicBezTo>
                  <a:pt x="2147178" y="6378885"/>
                  <a:pt x="2151058" y="6376467"/>
                  <a:pt x="2155089" y="6373041"/>
                </a:cubicBezTo>
                <a:cubicBezTo>
                  <a:pt x="2155411" y="6376064"/>
                  <a:pt x="2156136" y="6378704"/>
                  <a:pt x="2157265" y="6380961"/>
                </a:cubicBezTo>
                <a:lnTo>
                  <a:pt x="2168632" y="6380961"/>
                </a:lnTo>
                <a:cubicBezTo>
                  <a:pt x="2167261" y="6378502"/>
                  <a:pt x="2166344" y="6375933"/>
                  <a:pt x="2165881" y="6373252"/>
                </a:cubicBezTo>
                <a:cubicBezTo>
                  <a:pt x="2165417" y="6370572"/>
                  <a:pt x="2165185" y="6364173"/>
                  <a:pt x="2165185" y="6354056"/>
                </a:cubicBezTo>
                <a:lnTo>
                  <a:pt x="2165185" y="6339545"/>
                </a:lnTo>
                <a:cubicBezTo>
                  <a:pt x="2165185" y="6334708"/>
                  <a:pt x="2165004" y="6331363"/>
                  <a:pt x="2164641" y="6329509"/>
                </a:cubicBezTo>
                <a:cubicBezTo>
                  <a:pt x="2163996" y="6326526"/>
                  <a:pt x="2162868" y="6324057"/>
                  <a:pt x="2161255" y="6322102"/>
                </a:cubicBezTo>
                <a:cubicBezTo>
                  <a:pt x="2159643" y="6320147"/>
                  <a:pt x="2157124" y="6318525"/>
                  <a:pt x="2153698" y="6317235"/>
                </a:cubicBezTo>
                <a:cubicBezTo>
                  <a:pt x="2150272" y="6315945"/>
                  <a:pt x="2145818" y="6315300"/>
                  <a:pt x="2140336" y="6315300"/>
                </a:cubicBezTo>
                <a:close/>
                <a:moveTo>
                  <a:pt x="2076744" y="6315300"/>
                </a:moveTo>
                <a:cubicBezTo>
                  <a:pt x="2067836" y="6315300"/>
                  <a:pt x="2061024" y="6318827"/>
                  <a:pt x="2056309" y="6325881"/>
                </a:cubicBezTo>
                <a:lnTo>
                  <a:pt x="2056309" y="6316751"/>
                </a:lnTo>
                <a:lnTo>
                  <a:pt x="2046514" y="6316751"/>
                </a:lnTo>
                <a:lnTo>
                  <a:pt x="2046514" y="6380961"/>
                </a:lnTo>
                <a:lnTo>
                  <a:pt x="2057397" y="6380961"/>
                </a:lnTo>
                <a:lnTo>
                  <a:pt x="2057397" y="6345894"/>
                </a:lnTo>
                <a:cubicBezTo>
                  <a:pt x="2057397" y="6337671"/>
                  <a:pt x="2059079" y="6332088"/>
                  <a:pt x="2062445" y="6329146"/>
                </a:cubicBezTo>
                <a:cubicBezTo>
                  <a:pt x="2065811" y="6326203"/>
                  <a:pt x="2069811" y="6324732"/>
                  <a:pt x="2074447" y="6324732"/>
                </a:cubicBezTo>
                <a:cubicBezTo>
                  <a:pt x="2077349" y="6324732"/>
                  <a:pt x="2079878" y="6325387"/>
                  <a:pt x="2082035" y="6326697"/>
                </a:cubicBezTo>
                <a:cubicBezTo>
                  <a:pt x="2084191" y="6328007"/>
                  <a:pt x="2085692" y="6329761"/>
                  <a:pt x="2086539" y="6331957"/>
                </a:cubicBezTo>
                <a:cubicBezTo>
                  <a:pt x="2087385" y="6334154"/>
                  <a:pt x="2087809" y="6337469"/>
                  <a:pt x="2087809" y="6341903"/>
                </a:cubicBezTo>
                <a:lnTo>
                  <a:pt x="2087809" y="6380961"/>
                </a:lnTo>
                <a:lnTo>
                  <a:pt x="2098692" y="6380961"/>
                </a:lnTo>
                <a:lnTo>
                  <a:pt x="2098692" y="6341480"/>
                </a:lnTo>
                <a:cubicBezTo>
                  <a:pt x="2098692" y="6336441"/>
                  <a:pt x="2098490" y="6332915"/>
                  <a:pt x="2098087" y="6330899"/>
                </a:cubicBezTo>
                <a:cubicBezTo>
                  <a:pt x="2097442" y="6327796"/>
                  <a:pt x="2096314" y="6325115"/>
                  <a:pt x="2094702" y="6322858"/>
                </a:cubicBezTo>
                <a:cubicBezTo>
                  <a:pt x="2093089" y="6320601"/>
                  <a:pt x="2090661" y="6318777"/>
                  <a:pt x="2087416" y="6317386"/>
                </a:cubicBezTo>
                <a:cubicBezTo>
                  <a:pt x="2084171" y="6315995"/>
                  <a:pt x="2080614" y="6315300"/>
                  <a:pt x="2076744" y="6315300"/>
                </a:cubicBezTo>
                <a:close/>
                <a:moveTo>
                  <a:pt x="2010069" y="6315300"/>
                </a:moveTo>
                <a:cubicBezTo>
                  <a:pt x="2001161" y="6315300"/>
                  <a:pt x="1994349" y="6318827"/>
                  <a:pt x="1989633" y="6325881"/>
                </a:cubicBezTo>
                <a:lnTo>
                  <a:pt x="1989633" y="6316751"/>
                </a:lnTo>
                <a:lnTo>
                  <a:pt x="1979839" y="6316751"/>
                </a:lnTo>
                <a:lnTo>
                  <a:pt x="1979839" y="6380961"/>
                </a:lnTo>
                <a:lnTo>
                  <a:pt x="1990722" y="6380961"/>
                </a:lnTo>
                <a:lnTo>
                  <a:pt x="1990722" y="6345894"/>
                </a:lnTo>
                <a:cubicBezTo>
                  <a:pt x="1990722" y="6337671"/>
                  <a:pt x="1992405" y="6332088"/>
                  <a:pt x="1995770" y="6329146"/>
                </a:cubicBezTo>
                <a:cubicBezTo>
                  <a:pt x="1999136" y="6326203"/>
                  <a:pt x="2003136" y="6324732"/>
                  <a:pt x="2007772" y="6324732"/>
                </a:cubicBezTo>
                <a:cubicBezTo>
                  <a:pt x="2010674" y="6324732"/>
                  <a:pt x="2013203" y="6325387"/>
                  <a:pt x="2015360" y="6326697"/>
                </a:cubicBezTo>
                <a:cubicBezTo>
                  <a:pt x="2017516" y="6328007"/>
                  <a:pt x="2019018" y="6329761"/>
                  <a:pt x="2019864" y="6331957"/>
                </a:cubicBezTo>
                <a:cubicBezTo>
                  <a:pt x="2020710" y="6334154"/>
                  <a:pt x="2021134" y="6337469"/>
                  <a:pt x="2021134" y="6341903"/>
                </a:cubicBezTo>
                <a:lnTo>
                  <a:pt x="2021134" y="6380961"/>
                </a:lnTo>
                <a:lnTo>
                  <a:pt x="2032017" y="6380961"/>
                </a:lnTo>
                <a:lnTo>
                  <a:pt x="2032017" y="6341480"/>
                </a:lnTo>
                <a:cubicBezTo>
                  <a:pt x="2032017" y="6336441"/>
                  <a:pt x="2031815" y="6332915"/>
                  <a:pt x="2031412" y="6330899"/>
                </a:cubicBezTo>
                <a:cubicBezTo>
                  <a:pt x="2030767" y="6327796"/>
                  <a:pt x="2029639" y="6325115"/>
                  <a:pt x="2028026" y="6322858"/>
                </a:cubicBezTo>
                <a:cubicBezTo>
                  <a:pt x="2026414" y="6320601"/>
                  <a:pt x="2023985" y="6318777"/>
                  <a:pt x="2020741" y="6317386"/>
                </a:cubicBezTo>
                <a:cubicBezTo>
                  <a:pt x="2017496" y="6315995"/>
                  <a:pt x="2013939" y="6315300"/>
                  <a:pt x="2010069" y="6315300"/>
                </a:cubicBezTo>
                <a:close/>
                <a:moveTo>
                  <a:pt x="1939525" y="6315300"/>
                </a:moveTo>
                <a:cubicBezTo>
                  <a:pt x="1930657" y="6315300"/>
                  <a:pt x="1923442" y="6318283"/>
                  <a:pt x="1917880" y="6324248"/>
                </a:cubicBezTo>
                <a:cubicBezTo>
                  <a:pt x="1912317" y="6330214"/>
                  <a:pt x="1909536" y="6338598"/>
                  <a:pt x="1909536" y="6349400"/>
                </a:cubicBezTo>
                <a:cubicBezTo>
                  <a:pt x="1909536" y="6359840"/>
                  <a:pt x="1912287" y="6367952"/>
                  <a:pt x="1917789" y="6373736"/>
                </a:cubicBezTo>
                <a:cubicBezTo>
                  <a:pt x="1923291" y="6379520"/>
                  <a:pt x="1930738" y="6382412"/>
                  <a:pt x="1940129" y="6382412"/>
                </a:cubicBezTo>
                <a:cubicBezTo>
                  <a:pt x="1947586" y="6382412"/>
                  <a:pt x="1953713" y="6380598"/>
                  <a:pt x="1958510" y="6376971"/>
                </a:cubicBezTo>
                <a:cubicBezTo>
                  <a:pt x="1963306" y="6373343"/>
                  <a:pt x="1966591" y="6368244"/>
                  <a:pt x="1968365" y="6361674"/>
                </a:cubicBezTo>
                <a:lnTo>
                  <a:pt x="1957119" y="6360283"/>
                </a:lnTo>
                <a:cubicBezTo>
                  <a:pt x="1955466" y="6364879"/>
                  <a:pt x="1953229" y="6368224"/>
                  <a:pt x="1950408" y="6370320"/>
                </a:cubicBezTo>
                <a:cubicBezTo>
                  <a:pt x="1947586" y="6372416"/>
                  <a:pt x="1944180" y="6373464"/>
                  <a:pt x="1940190" y="6373464"/>
                </a:cubicBezTo>
                <a:cubicBezTo>
                  <a:pt x="1934829" y="6373464"/>
                  <a:pt x="1930355" y="6371590"/>
                  <a:pt x="1926767" y="6367841"/>
                </a:cubicBezTo>
                <a:cubicBezTo>
                  <a:pt x="1923180" y="6364093"/>
                  <a:pt x="1921185" y="6358691"/>
                  <a:pt x="1920782" y="6351637"/>
                </a:cubicBezTo>
                <a:lnTo>
                  <a:pt x="1968667" y="6351637"/>
                </a:lnTo>
                <a:cubicBezTo>
                  <a:pt x="1968707" y="6350348"/>
                  <a:pt x="1968728" y="6349380"/>
                  <a:pt x="1968728" y="6348735"/>
                </a:cubicBezTo>
                <a:cubicBezTo>
                  <a:pt x="1968728" y="6338134"/>
                  <a:pt x="1966007" y="6329912"/>
                  <a:pt x="1960565" y="6324067"/>
                </a:cubicBezTo>
                <a:cubicBezTo>
                  <a:pt x="1955124" y="6318222"/>
                  <a:pt x="1948110" y="6315300"/>
                  <a:pt x="1939525" y="6315300"/>
                </a:cubicBezTo>
                <a:close/>
                <a:moveTo>
                  <a:pt x="1805752" y="6315300"/>
                </a:moveTo>
                <a:cubicBezTo>
                  <a:pt x="1800230" y="6315300"/>
                  <a:pt x="1795120" y="6316600"/>
                  <a:pt x="1790425" y="6319200"/>
                </a:cubicBezTo>
                <a:cubicBezTo>
                  <a:pt x="1785729" y="6321800"/>
                  <a:pt x="1782232" y="6325700"/>
                  <a:pt x="1779935" y="6330899"/>
                </a:cubicBezTo>
                <a:cubicBezTo>
                  <a:pt x="1777637" y="6336099"/>
                  <a:pt x="1776488" y="6342165"/>
                  <a:pt x="1776488" y="6349098"/>
                </a:cubicBezTo>
                <a:cubicBezTo>
                  <a:pt x="1776488" y="6359820"/>
                  <a:pt x="1779159" y="6368053"/>
                  <a:pt x="1784499" y="6373797"/>
                </a:cubicBezTo>
                <a:cubicBezTo>
                  <a:pt x="1789840" y="6379540"/>
                  <a:pt x="1796904" y="6382412"/>
                  <a:pt x="1805691" y="6382412"/>
                </a:cubicBezTo>
                <a:cubicBezTo>
                  <a:pt x="1812705" y="6382412"/>
                  <a:pt x="1818620" y="6380326"/>
                  <a:pt x="1823437" y="6376155"/>
                </a:cubicBezTo>
                <a:cubicBezTo>
                  <a:pt x="1828253" y="6371983"/>
                  <a:pt x="1831246" y="6366209"/>
                  <a:pt x="1832415" y="6358832"/>
                </a:cubicBezTo>
                <a:lnTo>
                  <a:pt x="1821714" y="6357442"/>
                </a:lnTo>
                <a:cubicBezTo>
                  <a:pt x="1820948" y="6362883"/>
                  <a:pt x="1819134" y="6366914"/>
                  <a:pt x="1816272" y="6369534"/>
                </a:cubicBezTo>
                <a:cubicBezTo>
                  <a:pt x="1813410" y="6372154"/>
                  <a:pt x="1809843" y="6373464"/>
                  <a:pt x="1805570" y="6373464"/>
                </a:cubicBezTo>
                <a:cubicBezTo>
                  <a:pt x="1800250" y="6373464"/>
                  <a:pt x="1795937" y="6371509"/>
                  <a:pt x="1792632" y="6367599"/>
                </a:cubicBezTo>
                <a:cubicBezTo>
                  <a:pt x="1789326" y="6363689"/>
                  <a:pt x="1787674" y="6357422"/>
                  <a:pt x="1787674" y="6348796"/>
                </a:cubicBezTo>
                <a:cubicBezTo>
                  <a:pt x="1787674" y="6340291"/>
                  <a:pt x="1789387" y="6334073"/>
                  <a:pt x="1792813" y="6330143"/>
                </a:cubicBezTo>
                <a:cubicBezTo>
                  <a:pt x="1796239" y="6326213"/>
                  <a:pt x="1800693" y="6324248"/>
                  <a:pt x="1806175" y="6324248"/>
                </a:cubicBezTo>
                <a:cubicBezTo>
                  <a:pt x="1809803" y="6324248"/>
                  <a:pt x="1812896" y="6325337"/>
                  <a:pt x="1815456" y="6327513"/>
                </a:cubicBezTo>
                <a:cubicBezTo>
                  <a:pt x="1818015" y="6329690"/>
                  <a:pt x="1819799" y="6332935"/>
                  <a:pt x="1820806" y="6337248"/>
                </a:cubicBezTo>
                <a:lnTo>
                  <a:pt x="1831387" y="6335615"/>
                </a:lnTo>
                <a:cubicBezTo>
                  <a:pt x="1830138" y="6329126"/>
                  <a:pt x="1827296" y="6324117"/>
                  <a:pt x="1822862" y="6320591"/>
                </a:cubicBezTo>
                <a:cubicBezTo>
                  <a:pt x="1818428" y="6317064"/>
                  <a:pt x="1812725" y="6315300"/>
                  <a:pt x="1805752" y="6315300"/>
                </a:cubicBezTo>
                <a:close/>
                <a:moveTo>
                  <a:pt x="1515165" y="6315300"/>
                </a:moveTo>
                <a:cubicBezTo>
                  <a:pt x="1511819" y="6315300"/>
                  <a:pt x="1508685" y="6315733"/>
                  <a:pt x="1505763" y="6316600"/>
                </a:cubicBezTo>
                <a:cubicBezTo>
                  <a:pt x="1502840" y="6317467"/>
                  <a:pt x="1500533" y="6318525"/>
                  <a:pt x="1498840" y="6319774"/>
                </a:cubicBezTo>
                <a:cubicBezTo>
                  <a:pt x="1496583" y="6321387"/>
                  <a:pt x="1494799" y="6323412"/>
                  <a:pt x="1493489" y="6325851"/>
                </a:cubicBezTo>
                <a:cubicBezTo>
                  <a:pt x="1492179" y="6328289"/>
                  <a:pt x="1491524" y="6330939"/>
                  <a:pt x="1491524" y="6333801"/>
                </a:cubicBezTo>
                <a:cubicBezTo>
                  <a:pt x="1491524" y="6336945"/>
                  <a:pt x="1492320" y="6339817"/>
                  <a:pt x="1493913" y="6342417"/>
                </a:cubicBezTo>
                <a:cubicBezTo>
                  <a:pt x="1495505" y="6345017"/>
                  <a:pt x="1497843" y="6347052"/>
                  <a:pt x="1500926" y="6348524"/>
                </a:cubicBezTo>
                <a:cubicBezTo>
                  <a:pt x="1504009" y="6349995"/>
                  <a:pt x="1509542" y="6351738"/>
                  <a:pt x="1517523" y="6353754"/>
                </a:cubicBezTo>
                <a:cubicBezTo>
                  <a:pt x="1523448" y="6355245"/>
                  <a:pt x="1527156" y="6356474"/>
                  <a:pt x="1528648" y="6357442"/>
                </a:cubicBezTo>
                <a:cubicBezTo>
                  <a:pt x="1530784" y="6358853"/>
                  <a:pt x="1531852" y="6360787"/>
                  <a:pt x="1531852" y="6363246"/>
                </a:cubicBezTo>
                <a:cubicBezTo>
                  <a:pt x="1531852" y="6365987"/>
                  <a:pt x="1530643" y="6368375"/>
                  <a:pt x="1528224" y="6370411"/>
                </a:cubicBezTo>
                <a:cubicBezTo>
                  <a:pt x="1525806" y="6372446"/>
                  <a:pt x="1522097" y="6373464"/>
                  <a:pt x="1517100" y="6373464"/>
                </a:cubicBezTo>
                <a:cubicBezTo>
                  <a:pt x="1512141" y="6373464"/>
                  <a:pt x="1508282" y="6372315"/>
                  <a:pt x="1505521" y="6370018"/>
                </a:cubicBezTo>
                <a:cubicBezTo>
                  <a:pt x="1502760" y="6367720"/>
                  <a:pt x="1501077" y="6364415"/>
                  <a:pt x="1500472" y="6360102"/>
                </a:cubicBezTo>
                <a:lnTo>
                  <a:pt x="1489710" y="6361795"/>
                </a:lnTo>
                <a:cubicBezTo>
                  <a:pt x="1490920" y="6368607"/>
                  <a:pt x="1493711" y="6373746"/>
                  <a:pt x="1498084" y="6377213"/>
                </a:cubicBezTo>
                <a:cubicBezTo>
                  <a:pt x="1502458" y="6380679"/>
                  <a:pt x="1508816" y="6382412"/>
                  <a:pt x="1517160" y="6382412"/>
                </a:cubicBezTo>
                <a:cubicBezTo>
                  <a:pt x="1522198" y="6382412"/>
                  <a:pt x="1526713" y="6381536"/>
                  <a:pt x="1530703" y="6379782"/>
                </a:cubicBezTo>
                <a:cubicBezTo>
                  <a:pt x="1534694" y="6378029"/>
                  <a:pt x="1537747" y="6375550"/>
                  <a:pt x="1539863" y="6372345"/>
                </a:cubicBezTo>
                <a:cubicBezTo>
                  <a:pt x="1541979" y="6369141"/>
                  <a:pt x="1543037" y="6365725"/>
                  <a:pt x="1543037" y="6362097"/>
                </a:cubicBezTo>
                <a:cubicBezTo>
                  <a:pt x="1543037" y="6358389"/>
                  <a:pt x="1542171" y="6355285"/>
                  <a:pt x="1540437" y="6352786"/>
                </a:cubicBezTo>
                <a:cubicBezTo>
                  <a:pt x="1538704" y="6350287"/>
                  <a:pt x="1536316" y="6348383"/>
                  <a:pt x="1533273" y="6347073"/>
                </a:cubicBezTo>
                <a:cubicBezTo>
                  <a:pt x="1530230" y="6345763"/>
                  <a:pt x="1524859" y="6344080"/>
                  <a:pt x="1517160" y="6342024"/>
                </a:cubicBezTo>
                <a:cubicBezTo>
                  <a:pt x="1511839" y="6340573"/>
                  <a:pt x="1508635" y="6339646"/>
                  <a:pt x="1507547" y="6339243"/>
                </a:cubicBezTo>
                <a:cubicBezTo>
                  <a:pt x="1505652" y="6338477"/>
                  <a:pt x="1504261" y="6337510"/>
                  <a:pt x="1503375" y="6336341"/>
                </a:cubicBezTo>
                <a:cubicBezTo>
                  <a:pt x="1502488" y="6335212"/>
                  <a:pt x="1502044" y="6333942"/>
                  <a:pt x="1502044" y="6332532"/>
                </a:cubicBezTo>
                <a:cubicBezTo>
                  <a:pt x="1502044" y="6330315"/>
                  <a:pt x="1503113" y="6328380"/>
                  <a:pt x="1505249" y="6326727"/>
                </a:cubicBezTo>
                <a:cubicBezTo>
                  <a:pt x="1507385" y="6325075"/>
                  <a:pt x="1510953" y="6324248"/>
                  <a:pt x="1515951" y="6324248"/>
                </a:cubicBezTo>
                <a:cubicBezTo>
                  <a:pt x="1520183" y="6324248"/>
                  <a:pt x="1523458" y="6325176"/>
                  <a:pt x="1525776" y="6327030"/>
                </a:cubicBezTo>
                <a:cubicBezTo>
                  <a:pt x="1528093" y="6328884"/>
                  <a:pt x="1529494" y="6331463"/>
                  <a:pt x="1529978" y="6334769"/>
                </a:cubicBezTo>
                <a:lnTo>
                  <a:pt x="1540619" y="6333318"/>
                </a:lnTo>
                <a:cubicBezTo>
                  <a:pt x="1539934" y="6329166"/>
                  <a:pt x="1538684" y="6325851"/>
                  <a:pt x="1536870" y="6323372"/>
                </a:cubicBezTo>
                <a:cubicBezTo>
                  <a:pt x="1535056" y="6320893"/>
                  <a:pt x="1532245" y="6318928"/>
                  <a:pt x="1528436" y="6317477"/>
                </a:cubicBezTo>
                <a:cubicBezTo>
                  <a:pt x="1524627" y="6316026"/>
                  <a:pt x="1520203" y="6315300"/>
                  <a:pt x="1515165" y="6315300"/>
                </a:cubicBezTo>
                <a:close/>
                <a:moveTo>
                  <a:pt x="1479544" y="6315300"/>
                </a:moveTo>
                <a:cubicBezTo>
                  <a:pt x="1477004" y="6315300"/>
                  <a:pt x="1474676" y="6316026"/>
                  <a:pt x="1472560" y="6317477"/>
                </a:cubicBezTo>
                <a:cubicBezTo>
                  <a:pt x="1470444" y="6318928"/>
                  <a:pt x="1468136" y="6321931"/>
                  <a:pt x="1465638" y="6326486"/>
                </a:cubicBezTo>
                <a:lnTo>
                  <a:pt x="1465638" y="6316751"/>
                </a:lnTo>
                <a:lnTo>
                  <a:pt x="1455843" y="6316751"/>
                </a:lnTo>
                <a:lnTo>
                  <a:pt x="1455843" y="6380961"/>
                </a:lnTo>
                <a:lnTo>
                  <a:pt x="1466726" y="6380961"/>
                </a:lnTo>
                <a:lnTo>
                  <a:pt x="1466726" y="6347345"/>
                </a:lnTo>
                <a:cubicBezTo>
                  <a:pt x="1466726" y="6342750"/>
                  <a:pt x="1467330" y="6338517"/>
                  <a:pt x="1468540" y="6334648"/>
                </a:cubicBezTo>
                <a:cubicBezTo>
                  <a:pt x="1469346" y="6332108"/>
                  <a:pt x="1470696" y="6330123"/>
                  <a:pt x="1472590" y="6328692"/>
                </a:cubicBezTo>
                <a:cubicBezTo>
                  <a:pt x="1474485" y="6327261"/>
                  <a:pt x="1476621" y="6326546"/>
                  <a:pt x="1479000" y="6326546"/>
                </a:cubicBezTo>
                <a:cubicBezTo>
                  <a:pt x="1481660" y="6326546"/>
                  <a:pt x="1484320" y="6327332"/>
                  <a:pt x="1486980" y="6328904"/>
                </a:cubicBezTo>
                <a:lnTo>
                  <a:pt x="1490729" y="6318807"/>
                </a:lnTo>
                <a:cubicBezTo>
                  <a:pt x="1486940" y="6316469"/>
                  <a:pt x="1483212" y="6315300"/>
                  <a:pt x="1479544" y="6315300"/>
                </a:cubicBezTo>
                <a:close/>
                <a:moveTo>
                  <a:pt x="1416436" y="6315300"/>
                </a:moveTo>
                <a:cubicBezTo>
                  <a:pt x="1410914" y="6315300"/>
                  <a:pt x="1406057" y="6316056"/>
                  <a:pt x="1401865" y="6317567"/>
                </a:cubicBezTo>
                <a:cubicBezTo>
                  <a:pt x="1397673" y="6319079"/>
                  <a:pt x="1394468" y="6321235"/>
                  <a:pt x="1392251" y="6324037"/>
                </a:cubicBezTo>
                <a:cubicBezTo>
                  <a:pt x="1390034" y="6326838"/>
                  <a:pt x="1388442" y="6330516"/>
                  <a:pt x="1387475" y="6335071"/>
                </a:cubicBezTo>
                <a:lnTo>
                  <a:pt x="1398116" y="6336522"/>
                </a:lnTo>
                <a:cubicBezTo>
                  <a:pt x="1399285" y="6331967"/>
                  <a:pt x="1401089" y="6328793"/>
                  <a:pt x="1403527" y="6326999"/>
                </a:cubicBezTo>
                <a:cubicBezTo>
                  <a:pt x="1405966" y="6325206"/>
                  <a:pt x="1409745" y="6324309"/>
                  <a:pt x="1414864" y="6324309"/>
                </a:cubicBezTo>
                <a:cubicBezTo>
                  <a:pt x="1420345" y="6324309"/>
                  <a:pt x="1424477" y="6325538"/>
                  <a:pt x="1427258" y="6327997"/>
                </a:cubicBezTo>
                <a:cubicBezTo>
                  <a:pt x="1429314" y="6329811"/>
                  <a:pt x="1430342" y="6332935"/>
                  <a:pt x="1430342" y="6337369"/>
                </a:cubicBezTo>
                <a:cubicBezTo>
                  <a:pt x="1430342" y="6337772"/>
                  <a:pt x="1430322" y="6338719"/>
                  <a:pt x="1430281" y="6340210"/>
                </a:cubicBezTo>
                <a:cubicBezTo>
                  <a:pt x="1426130" y="6341661"/>
                  <a:pt x="1419660" y="6342911"/>
                  <a:pt x="1410873" y="6343959"/>
                </a:cubicBezTo>
                <a:cubicBezTo>
                  <a:pt x="1406561" y="6344483"/>
                  <a:pt x="1403336" y="6345027"/>
                  <a:pt x="1401199" y="6345591"/>
                </a:cubicBezTo>
                <a:cubicBezTo>
                  <a:pt x="1398297" y="6346397"/>
                  <a:pt x="1395687" y="6347587"/>
                  <a:pt x="1393370" y="6349159"/>
                </a:cubicBezTo>
                <a:cubicBezTo>
                  <a:pt x="1391052" y="6350731"/>
                  <a:pt x="1389178" y="6352816"/>
                  <a:pt x="1387747" y="6355416"/>
                </a:cubicBezTo>
                <a:cubicBezTo>
                  <a:pt x="1386316" y="6358016"/>
                  <a:pt x="1385600" y="6360888"/>
                  <a:pt x="1385600" y="6364032"/>
                </a:cubicBezTo>
                <a:cubicBezTo>
                  <a:pt x="1385600" y="6369393"/>
                  <a:pt x="1387495" y="6373797"/>
                  <a:pt x="1391284" y="6377243"/>
                </a:cubicBezTo>
                <a:cubicBezTo>
                  <a:pt x="1395073" y="6380689"/>
                  <a:pt x="1400494" y="6382412"/>
                  <a:pt x="1407548" y="6382412"/>
                </a:cubicBezTo>
                <a:cubicBezTo>
                  <a:pt x="1411821" y="6382412"/>
                  <a:pt x="1415821" y="6381707"/>
                  <a:pt x="1419550" y="6380296"/>
                </a:cubicBezTo>
                <a:cubicBezTo>
                  <a:pt x="1423278" y="6378885"/>
                  <a:pt x="1427158" y="6376467"/>
                  <a:pt x="1431188" y="6373041"/>
                </a:cubicBezTo>
                <a:cubicBezTo>
                  <a:pt x="1431511" y="6376064"/>
                  <a:pt x="1432236" y="6378704"/>
                  <a:pt x="1433365" y="6380961"/>
                </a:cubicBezTo>
                <a:lnTo>
                  <a:pt x="1444732" y="6380961"/>
                </a:lnTo>
                <a:cubicBezTo>
                  <a:pt x="1443361" y="6378502"/>
                  <a:pt x="1442444" y="6375933"/>
                  <a:pt x="1441981" y="6373252"/>
                </a:cubicBezTo>
                <a:cubicBezTo>
                  <a:pt x="1441517" y="6370572"/>
                  <a:pt x="1441285" y="6364173"/>
                  <a:pt x="1441285" y="6354056"/>
                </a:cubicBezTo>
                <a:lnTo>
                  <a:pt x="1441285" y="6339545"/>
                </a:lnTo>
                <a:cubicBezTo>
                  <a:pt x="1441285" y="6334708"/>
                  <a:pt x="1441104" y="6331363"/>
                  <a:pt x="1440741" y="6329509"/>
                </a:cubicBezTo>
                <a:cubicBezTo>
                  <a:pt x="1440096" y="6326526"/>
                  <a:pt x="1438968" y="6324057"/>
                  <a:pt x="1437355" y="6322102"/>
                </a:cubicBezTo>
                <a:cubicBezTo>
                  <a:pt x="1435743" y="6320147"/>
                  <a:pt x="1433224" y="6318525"/>
                  <a:pt x="1429798" y="6317235"/>
                </a:cubicBezTo>
                <a:cubicBezTo>
                  <a:pt x="1426372" y="6315945"/>
                  <a:pt x="1421917" y="6315300"/>
                  <a:pt x="1416436" y="6315300"/>
                </a:cubicBezTo>
                <a:close/>
                <a:moveTo>
                  <a:pt x="1167698" y="6315300"/>
                </a:moveTo>
                <a:cubicBezTo>
                  <a:pt x="1159757" y="6315300"/>
                  <a:pt x="1153026" y="6317678"/>
                  <a:pt x="1147503" y="6322435"/>
                </a:cubicBezTo>
                <a:cubicBezTo>
                  <a:pt x="1140893" y="6328158"/>
                  <a:pt x="1137588" y="6336965"/>
                  <a:pt x="1137588" y="6348856"/>
                </a:cubicBezTo>
                <a:cubicBezTo>
                  <a:pt x="1137588" y="6359699"/>
                  <a:pt x="1140359" y="6368002"/>
                  <a:pt x="1145901" y="6373766"/>
                </a:cubicBezTo>
                <a:cubicBezTo>
                  <a:pt x="1151443" y="6379530"/>
                  <a:pt x="1158709" y="6382412"/>
                  <a:pt x="1167698" y="6382412"/>
                </a:cubicBezTo>
                <a:cubicBezTo>
                  <a:pt x="1173300" y="6382412"/>
                  <a:pt x="1178470" y="6381102"/>
                  <a:pt x="1183206" y="6378482"/>
                </a:cubicBezTo>
                <a:cubicBezTo>
                  <a:pt x="1187942" y="6375862"/>
                  <a:pt x="1191550" y="6372184"/>
                  <a:pt x="1194028" y="6367448"/>
                </a:cubicBezTo>
                <a:cubicBezTo>
                  <a:pt x="1196507" y="6362712"/>
                  <a:pt x="1197747" y="6356212"/>
                  <a:pt x="1197747" y="6347949"/>
                </a:cubicBezTo>
                <a:cubicBezTo>
                  <a:pt x="1197747" y="6337751"/>
                  <a:pt x="1194945" y="6329761"/>
                  <a:pt x="1189343" y="6323976"/>
                </a:cubicBezTo>
                <a:cubicBezTo>
                  <a:pt x="1183740" y="6318192"/>
                  <a:pt x="1176525" y="6315300"/>
                  <a:pt x="1167698" y="6315300"/>
                </a:cubicBezTo>
                <a:close/>
                <a:moveTo>
                  <a:pt x="1057965" y="6315300"/>
                </a:moveTo>
                <a:cubicBezTo>
                  <a:pt x="1054619" y="6315300"/>
                  <a:pt x="1051485" y="6315733"/>
                  <a:pt x="1048563" y="6316600"/>
                </a:cubicBezTo>
                <a:cubicBezTo>
                  <a:pt x="1045641" y="6317467"/>
                  <a:pt x="1043333" y="6318525"/>
                  <a:pt x="1041640" y="6319774"/>
                </a:cubicBezTo>
                <a:cubicBezTo>
                  <a:pt x="1039383" y="6321387"/>
                  <a:pt x="1037599" y="6323412"/>
                  <a:pt x="1036289" y="6325851"/>
                </a:cubicBezTo>
                <a:cubicBezTo>
                  <a:pt x="1034979" y="6328289"/>
                  <a:pt x="1034324" y="6330939"/>
                  <a:pt x="1034324" y="6333801"/>
                </a:cubicBezTo>
                <a:cubicBezTo>
                  <a:pt x="1034324" y="6336945"/>
                  <a:pt x="1035120" y="6339817"/>
                  <a:pt x="1036712" y="6342417"/>
                </a:cubicBezTo>
                <a:cubicBezTo>
                  <a:pt x="1038304" y="6345017"/>
                  <a:pt x="1040642" y="6347052"/>
                  <a:pt x="1043726" y="6348524"/>
                </a:cubicBezTo>
                <a:cubicBezTo>
                  <a:pt x="1046809" y="6349995"/>
                  <a:pt x="1052342" y="6351738"/>
                  <a:pt x="1060323" y="6353754"/>
                </a:cubicBezTo>
                <a:cubicBezTo>
                  <a:pt x="1066248" y="6355245"/>
                  <a:pt x="1069956" y="6356474"/>
                  <a:pt x="1071447" y="6357442"/>
                </a:cubicBezTo>
                <a:cubicBezTo>
                  <a:pt x="1073584" y="6358853"/>
                  <a:pt x="1074652" y="6360787"/>
                  <a:pt x="1074652" y="6363246"/>
                </a:cubicBezTo>
                <a:cubicBezTo>
                  <a:pt x="1074652" y="6365987"/>
                  <a:pt x="1073443" y="6368375"/>
                  <a:pt x="1071024" y="6370411"/>
                </a:cubicBezTo>
                <a:cubicBezTo>
                  <a:pt x="1068606" y="6372446"/>
                  <a:pt x="1064898" y="6373464"/>
                  <a:pt x="1059899" y="6373464"/>
                </a:cubicBezTo>
                <a:cubicBezTo>
                  <a:pt x="1054942" y="6373464"/>
                  <a:pt x="1051082" y="6372315"/>
                  <a:pt x="1048321" y="6370018"/>
                </a:cubicBezTo>
                <a:cubicBezTo>
                  <a:pt x="1045560" y="6367720"/>
                  <a:pt x="1043877" y="6364415"/>
                  <a:pt x="1043272" y="6360102"/>
                </a:cubicBezTo>
                <a:lnTo>
                  <a:pt x="1032510" y="6361795"/>
                </a:lnTo>
                <a:cubicBezTo>
                  <a:pt x="1033720" y="6368607"/>
                  <a:pt x="1036511" y="6373746"/>
                  <a:pt x="1040884" y="6377213"/>
                </a:cubicBezTo>
                <a:cubicBezTo>
                  <a:pt x="1045258" y="6380679"/>
                  <a:pt x="1051616" y="6382412"/>
                  <a:pt x="1059960" y="6382412"/>
                </a:cubicBezTo>
                <a:cubicBezTo>
                  <a:pt x="1064998" y="6382412"/>
                  <a:pt x="1069513" y="6381536"/>
                  <a:pt x="1073503" y="6379782"/>
                </a:cubicBezTo>
                <a:cubicBezTo>
                  <a:pt x="1077494" y="6378029"/>
                  <a:pt x="1080547" y="6375550"/>
                  <a:pt x="1082663" y="6372345"/>
                </a:cubicBezTo>
                <a:cubicBezTo>
                  <a:pt x="1084779" y="6369141"/>
                  <a:pt x="1085837" y="6365725"/>
                  <a:pt x="1085837" y="6362097"/>
                </a:cubicBezTo>
                <a:cubicBezTo>
                  <a:pt x="1085837" y="6358389"/>
                  <a:pt x="1084971" y="6355285"/>
                  <a:pt x="1083237" y="6352786"/>
                </a:cubicBezTo>
                <a:cubicBezTo>
                  <a:pt x="1081504" y="6350287"/>
                  <a:pt x="1079116" y="6348383"/>
                  <a:pt x="1076073" y="6347073"/>
                </a:cubicBezTo>
                <a:cubicBezTo>
                  <a:pt x="1073030" y="6345763"/>
                  <a:pt x="1067659" y="6344080"/>
                  <a:pt x="1059960" y="6342024"/>
                </a:cubicBezTo>
                <a:cubicBezTo>
                  <a:pt x="1054639" y="6340573"/>
                  <a:pt x="1051435" y="6339646"/>
                  <a:pt x="1050346" y="6339243"/>
                </a:cubicBezTo>
                <a:cubicBezTo>
                  <a:pt x="1048452" y="6338477"/>
                  <a:pt x="1047061" y="6337510"/>
                  <a:pt x="1046175" y="6336341"/>
                </a:cubicBezTo>
                <a:cubicBezTo>
                  <a:pt x="1045288" y="6335212"/>
                  <a:pt x="1044844" y="6333942"/>
                  <a:pt x="1044844" y="6332532"/>
                </a:cubicBezTo>
                <a:cubicBezTo>
                  <a:pt x="1044844" y="6330315"/>
                  <a:pt x="1045913" y="6328380"/>
                  <a:pt x="1048049" y="6326727"/>
                </a:cubicBezTo>
                <a:cubicBezTo>
                  <a:pt x="1050185" y="6325075"/>
                  <a:pt x="1053753" y="6324248"/>
                  <a:pt x="1058751" y="6324248"/>
                </a:cubicBezTo>
                <a:cubicBezTo>
                  <a:pt x="1062983" y="6324248"/>
                  <a:pt x="1066258" y="6325176"/>
                  <a:pt x="1068576" y="6327030"/>
                </a:cubicBezTo>
                <a:cubicBezTo>
                  <a:pt x="1070893" y="6328884"/>
                  <a:pt x="1072294" y="6331463"/>
                  <a:pt x="1072778" y="6334769"/>
                </a:cubicBezTo>
                <a:lnTo>
                  <a:pt x="1083419" y="6333318"/>
                </a:lnTo>
                <a:cubicBezTo>
                  <a:pt x="1082734" y="6329166"/>
                  <a:pt x="1081484" y="6325851"/>
                  <a:pt x="1079670" y="6323372"/>
                </a:cubicBezTo>
                <a:cubicBezTo>
                  <a:pt x="1077856" y="6320893"/>
                  <a:pt x="1075045" y="6318928"/>
                  <a:pt x="1071236" y="6317477"/>
                </a:cubicBezTo>
                <a:cubicBezTo>
                  <a:pt x="1067427" y="6316026"/>
                  <a:pt x="1063003" y="6315300"/>
                  <a:pt x="1057965" y="6315300"/>
                </a:cubicBezTo>
                <a:close/>
                <a:moveTo>
                  <a:pt x="991290" y="6315300"/>
                </a:moveTo>
                <a:cubicBezTo>
                  <a:pt x="987944" y="6315300"/>
                  <a:pt x="984810" y="6315733"/>
                  <a:pt x="981888" y="6316600"/>
                </a:cubicBezTo>
                <a:cubicBezTo>
                  <a:pt x="978965" y="6317467"/>
                  <a:pt x="976658" y="6318525"/>
                  <a:pt x="974965" y="6319774"/>
                </a:cubicBezTo>
                <a:cubicBezTo>
                  <a:pt x="972708" y="6321387"/>
                  <a:pt x="970924" y="6323412"/>
                  <a:pt x="969614" y="6325851"/>
                </a:cubicBezTo>
                <a:cubicBezTo>
                  <a:pt x="968304" y="6328289"/>
                  <a:pt x="967649" y="6330939"/>
                  <a:pt x="967649" y="6333801"/>
                </a:cubicBezTo>
                <a:cubicBezTo>
                  <a:pt x="967649" y="6336945"/>
                  <a:pt x="968445" y="6339817"/>
                  <a:pt x="970037" y="6342417"/>
                </a:cubicBezTo>
                <a:cubicBezTo>
                  <a:pt x="971630" y="6345017"/>
                  <a:pt x="973967" y="6347052"/>
                  <a:pt x="977051" y="6348524"/>
                </a:cubicBezTo>
                <a:cubicBezTo>
                  <a:pt x="980134" y="6349995"/>
                  <a:pt x="985667" y="6351738"/>
                  <a:pt x="993648" y="6353754"/>
                </a:cubicBezTo>
                <a:cubicBezTo>
                  <a:pt x="999573" y="6355245"/>
                  <a:pt x="1003281" y="6356474"/>
                  <a:pt x="1004772" y="6357442"/>
                </a:cubicBezTo>
                <a:cubicBezTo>
                  <a:pt x="1006909" y="6358853"/>
                  <a:pt x="1007977" y="6360787"/>
                  <a:pt x="1007977" y="6363246"/>
                </a:cubicBezTo>
                <a:cubicBezTo>
                  <a:pt x="1007977" y="6365987"/>
                  <a:pt x="1006768" y="6368375"/>
                  <a:pt x="1004349" y="6370411"/>
                </a:cubicBezTo>
                <a:cubicBezTo>
                  <a:pt x="1001931" y="6372446"/>
                  <a:pt x="998222" y="6373464"/>
                  <a:pt x="993224" y="6373464"/>
                </a:cubicBezTo>
                <a:cubicBezTo>
                  <a:pt x="988266" y="6373464"/>
                  <a:pt x="984407" y="6372315"/>
                  <a:pt x="981646" y="6370018"/>
                </a:cubicBezTo>
                <a:cubicBezTo>
                  <a:pt x="978885" y="6367720"/>
                  <a:pt x="977202" y="6364415"/>
                  <a:pt x="976598" y="6360102"/>
                </a:cubicBezTo>
                <a:lnTo>
                  <a:pt x="965835" y="6361795"/>
                </a:lnTo>
                <a:cubicBezTo>
                  <a:pt x="967044" y="6368607"/>
                  <a:pt x="969836" y="6373746"/>
                  <a:pt x="974209" y="6377213"/>
                </a:cubicBezTo>
                <a:cubicBezTo>
                  <a:pt x="978583" y="6380679"/>
                  <a:pt x="984941" y="6382412"/>
                  <a:pt x="993285" y="6382412"/>
                </a:cubicBezTo>
                <a:cubicBezTo>
                  <a:pt x="998323" y="6382412"/>
                  <a:pt x="1002838" y="6381536"/>
                  <a:pt x="1006828" y="6379782"/>
                </a:cubicBezTo>
                <a:cubicBezTo>
                  <a:pt x="1010819" y="6378029"/>
                  <a:pt x="1013872" y="6375550"/>
                  <a:pt x="1015988" y="6372345"/>
                </a:cubicBezTo>
                <a:cubicBezTo>
                  <a:pt x="1018104" y="6369141"/>
                  <a:pt x="1019162" y="6365725"/>
                  <a:pt x="1019162" y="6362097"/>
                </a:cubicBezTo>
                <a:cubicBezTo>
                  <a:pt x="1019162" y="6358389"/>
                  <a:pt x="1018296" y="6355285"/>
                  <a:pt x="1016562" y="6352786"/>
                </a:cubicBezTo>
                <a:cubicBezTo>
                  <a:pt x="1014829" y="6350287"/>
                  <a:pt x="1012441" y="6348383"/>
                  <a:pt x="1009398" y="6347073"/>
                </a:cubicBezTo>
                <a:cubicBezTo>
                  <a:pt x="1006354" y="6345763"/>
                  <a:pt x="1000984" y="6344080"/>
                  <a:pt x="993285" y="6342024"/>
                </a:cubicBezTo>
                <a:cubicBezTo>
                  <a:pt x="987964" y="6340573"/>
                  <a:pt x="984760" y="6339646"/>
                  <a:pt x="983671" y="6339243"/>
                </a:cubicBezTo>
                <a:cubicBezTo>
                  <a:pt x="981777" y="6338477"/>
                  <a:pt x="980386" y="6337510"/>
                  <a:pt x="979500" y="6336341"/>
                </a:cubicBezTo>
                <a:cubicBezTo>
                  <a:pt x="978613" y="6335212"/>
                  <a:pt x="978170" y="6333942"/>
                  <a:pt x="978170" y="6332532"/>
                </a:cubicBezTo>
                <a:cubicBezTo>
                  <a:pt x="978170" y="6330315"/>
                  <a:pt x="979238" y="6328380"/>
                  <a:pt x="981374" y="6326727"/>
                </a:cubicBezTo>
                <a:cubicBezTo>
                  <a:pt x="983510" y="6325075"/>
                  <a:pt x="987077" y="6324248"/>
                  <a:pt x="992076" y="6324248"/>
                </a:cubicBezTo>
                <a:cubicBezTo>
                  <a:pt x="996308" y="6324248"/>
                  <a:pt x="999583" y="6325176"/>
                  <a:pt x="1001900" y="6327030"/>
                </a:cubicBezTo>
                <a:cubicBezTo>
                  <a:pt x="1004218" y="6328884"/>
                  <a:pt x="1005619" y="6331463"/>
                  <a:pt x="1006103" y="6334769"/>
                </a:cubicBezTo>
                <a:lnTo>
                  <a:pt x="1016744" y="6333318"/>
                </a:lnTo>
                <a:cubicBezTo>
                  <a:pt x="1016059" y="6329166"/>
                  <a:pt x="1014809" y="6325851"/>
                  <a:pt x="1012995" y="6323372"/>
                </a:cubicBezTo>
                <a:cubicBezTo>
                  <a:pt x="1011181" y="6320893"/>
                  <a:pt x="1008370" y="6318928"/>
                  <a:pt x="1004561" y="6317477"/>
                </a:cubicBezTo>
                <a:cubicBezTo>
                  <a:pt x="1000752" y="6316026"/>
                  <a:pt x="996328" y="6315300"/>
                  <a:pt x="991290" y="6315300"/>
                </a:cubicBezTo>
                <a:close/>
                <a:moveTo>
                  <a:pt x="929875" y="6315300"/>
                </a:moveTo>
                <a:cubicBezTo>
                  <a:pt x="921007" y="6315300"/>
                  <a:pt x="913792" y="6318283"/>
                  <a:pt x="908229" y="6324248"/>
                </a:cubicBezTo>
                <a:cubicBezTo>
                  <a:pt x="902667" y="6330214"/>
                  <a:pt x="899886" y="6338598"/>
                  <a:pt x="899886" y="6349400"/>
                </a:cubicBezTo>
                <a:cubicBezTo>
                  <a:pt x="899886" y="6359840"/>
                  <a:pt x="902637" y="6367952"/>
                  <a:pt x="908139" y="6373736"/>
                </a:cubicBezTo>
                <a:cubicBezTo>
                  <a:pt x="913641" y="6379520"/>
                  <a:pt x="921088" y="6382412"/>
                  <a:pt x="930479" y="6382412"/>
                </a:cubicBezTo>
                <a:cubicBezTo>
                  <a:pt x="937936" y="6382412"/>
                  <a:pt x="944063" y="6380598"/>
                  <a:pt x="948860" y="6376971"/>
                </a:cubicBezTo>
                <a:cubicBezTo>
                  <a:pt x="953656" y="6373343"/>
                  <a:pt x="956941" y="6368244"/>
                  <a:pt x="958715" y="6361674"/>
                </a:cubicBezTo>
                <a:lnTo>
                  <a:pt x="947469" y="6360283"/>
                </a:lnTo>
                <a:cubicBezTo>
                  <a:pt x="945816" y="6364879"/>
                  <a:pt x="943579" y="6368224"/>
                  <a:pt x="940758" y="6370320"/>
                </a:cubicBezTo>
                <a:cubicBezTo>
                  <a:pt x="937936" y="6372416"/>
                  <a:pt x="934530" y="6373464"/>
                  <a:pt x="930540" y="6373464"/>
                </a:cubicBezTo>
                <a:cubicBezTo>
                  <a:pt x="925179" y="6373464"/>
                  <a:pt x="920705" y="6371590"/>
                  <a:pt x="917117" y="6367841"/>
                </a:cubicBezTo>
                <a:cubicBezTo>
                  <a:pt x="913530" y="6364093"/>
                  <a:pt x="911535" y="6358691"/>
                  <a:pt x="911132" y="6351637"/>
                </a:cubicBezTo>
                <a:lnTo>
                  <a:pt x="959017" y="6351637"/>
                </a:lnTo>
                <a:cubicBezTo>
                  <a:pt x="959057" y="6350348"/>
                  <a:pt x="959078" y="6349380"/>
                  <a:pt x="959078" y="6348735"/>
                </a:cubicBezTo>
                <a:cubicBezTo>
                  <a:pt x="959078" y="6338134"/>
                  <a:pt x="956357" y="6329912"/>
                  <a:pt x="950915" y="6324067"/>
                </a:cubicBezTo>
                <a:cubicBezTo>
                  <a:pt x="945474" y="6318222"/>
                  <a:pt x="938460" y="6315300"/>
                  <a:pt x="929875" y="6315300"/>
                </a:cubicBezTo>
                <a:close/>
                <a:moveTo>
                  <a:pt x="867069" y="6315300"/>
                </a:moveTo>
                <a:cubicBezTo>
                  <a:pt x="858161" y="6315300"/>
                  <a:pt x="851349" y="6318827"/>
                  <a:pt x="846633" y="6325881"/>
                </a:cubicBezTo>
                <a:lnTo>
                  <a:pt x="846633" y="6316751"/>
                </a:lnTo>
                <a:lnTo>
                  <a:pt x="836839" y="6316751"/>
                </a:lnTo>
                <a:lnTo>
                  <a:pt x="836839" y="6380961"/>
                </a:lnTo>
                <a:lnTo>
                  <a:pt x="847722" y="6380961"/>
                </a:lnTo>
                <a:lnTo>
                  <a:pt x="847722" y="6345894"/>
                </a:lnTo>
                <a:cubicBezTo>
                  <a:pt x="847722" y="6337671"/>
                  <a:pt x="849405" y="6332088"/>
                  <a:pt x="852770" y="6329146"/>
                </a:cubicBezTo>
                <a:cubicBezTo>
                  <a:pt x="856136" y="6326203"/>
                  <a:pt x="860136" y="6324732"/>
                  <a:pt x="864772" y="6324732"/>
                </a:cubicBezTo>
                <a:cubicBezTo>
                  <a:pt x="867674" y="6324732"/>
                  <a:pt x="870203" y="6325387"/>
                  <a:pt x="872360" y="6326697"/>
                </a:cubicBezTo>
                <a:cubicBezTo>
                  <a:pt x="874516" y="6328007"/>
                  <a:pt x="876018" y="6329761"/>
                  <a:pt x="876864" y="6331957"/>
                </a:cubicBezTo>
                <a:cubicBezTo>
                  <a:pt x="877710" y="6334154"/>
                  <a:pt x="878134" y="6337469"/>
                  <a:pt x="878134" y="6341903"/>
                </a:cubicBezTo>
                <a:lnTo>
                  <a:pt x="878134" y="6380961"/>
                </a:lnTo>
                <a:lnTo>
                  <a:pt x="889017" y="6380961"/>
                </a:lnTo>
                <a:lnTo>
                  <a:pt x="889017" y="6341480"/>
                </a:lnTo>
                <a:cubicBezTo>
                  <a:pt x="889017" y="6336441"/>
                  <a:pt x="888815" y="6332915"/>
                  <a:pt x="888412" y="6330899"/>
                </a:cubicBezTo>
                <a:cubicBezTo>
                  <a:pt x="887767" y="6327796"/>
                  <a:pt x="886639" y="6325115"/>
                  <a:pt x="885026" y="6322858"/>
                </a:cubicBezTo>
                <a:cubicBezTo>
                  <a:pt x="883414" y="6320601"/>
                  <a:pt x="880985" y="6318777"/>
                  <a:pt x="877741" y="6317386"/>
                </a:cubicBezTo>
                <a:cubicBezTo>
                  <a:pt x="874496" y="6315995"/>
                  <a:pt x="870939" y="6315300"/>
                  <a:pt x="867069" y="6315300"/>
                </a:cubicBezTo>
                <a:close/>
                <a:moveTo>
                  <a:pt x="762690" y="6315300"/>
                </a:moveTo>
                <a:cubicBezTo>
                  <a:pt x="759344" y="6315300"/>
                  <a:pt x="756210" y="6315733"/>
                  <a:pt x="753288" y="6316600"/>
                </a:cubicBezTo>
                <a:cubicBezTo>
                  <a:pt x="750366" y="6317467"/>
                  <a:pt x="748058" y="6318525"/>
                  <a:pt x="746365" y="6319774"/>
                </a:cubicBezTo>
                <a:cubicBezTo>
                  <a:pt x="744108" y="6321387"/>
                  <a:pt x="742324" y="6323412"/>
                  <a:pt x="741014" y="6325851"/>
                </a:cubicBezTo>
                <a:cubicBezTo>
                  <a:pt x="739704" y="6328289"/>
                  <a:pt x="739049" y="6330939"/>
                  <a:pt x="739049" y="6333801"/>
                </a:cubicBezTo>
                <a:cubicBezTo>
                  <a:pt x="739049" y="6336945"/>
                  <a:pt x="739845" y="6339817"/>
                  <a:pt x="741437" y="6342417"/>
                </a:cubicBezTo>
                <a:cubicBezTo>
                  <a:pt x="743030" y="6345017"/>
                  <a:pt x="745367" y="6347052"/>
                  <a:pt x="748451" y="6348524"/>
                </a:cubicBezTo>
                <a:cubicBezTo>
                  <a:pt x="751534" y="6349995"/>
                  <a:pt x="757067" y="6351738"/>
                  <a:pt x="765048" y="6353754"/>
                </a:cubicBezTo>
                <a:cubicBezTo>
                  <a:pt x="770973" y="6355245"/>
                  <a:pt x="774681" y="6356474"/>
                  <a:pt x="776172" y="6357442"/>
                </a:cubicBezTo>
                <a:cubicBezTo>
                  <a:pt x="778309" y="6358853"/>
                  <a:pt x="779377" y="6360787"/>
                  <a:pt x="779377" y="6363246"/>
                </a:cubicBezTo>
                <a:cubicBezTo>
                  <a:pt x="779377" y="6365987"/>
                  <a:pt x="778168" y="6368375"/>
                  <a:pt x="775749" y="6370411"/>
                </a:cubicBezTo>
                <a:cubicBezTo>
                  <a:pt x="773331" y="6372446"/>
                  <a:pt x="769623" y="6373464"/>
                  <a:pt x="764624" y="6373464"/>
                </a:cubicBezTo>
                <a:cubicBezTo>
                  <a:pt x="759666" y="6373464"/>
                  <a:pt x="755807" y="6372315"/>
                  <a:pt x="753046" y="6370018"/>
                </a:cubicBezTo>
                <a:cubicBezTo>
                  <a:pt x="750285" y="6367720"/>
                  <a:pt x="748602" y="6364415"/>
                  <a:pt x="747997" y="6360102"/>
                </a:cubicBezTo>
                <a:lnTo>
                  <a:pt x="737235" y="6361795"/>
                </a:lnTo>
                <a:cubicBezTo>
                  <a:pt x="738445" y="6368607"/>
                  <a:pt x="741236" y="6373746"/>
                  <a:pt x="745609" y="6377213"/>
                </a:cubicBezTo>
                <a:cubicBezTo>
                  <a:pt x="749983" y="6380679"/>
                  <a:pt x="756341" y="6382412"/>
                  <a:pt x="764685" y="6382412"/>
                </a:cubicBezTo>
                <a:cubicBezTo>
                  <a:pt x="769723" y="6382412"/>
                  <a:pt x="774238" y="6381536"/>
                  <a:pt x="778228" y="6379782"/>
                </a:cubicBezTo>
                <a:cubicBezTo>
                  <a:pt x="782219" y="6378029"/>
                  <a:pt x="785272" y="6375550"/>
                  <a:pt x="787388" y="6372345"/>
                </a:cubicBezTo>
                <a:cubicBezTo>
                  <a:pt x="789504" y="6369141"/>
                  <a:pt x="790562" y="6365725"/>
                  <a:pt x="790562" y="6362097"/>
                </a:cubicBezTo>
                <a:cubicBezTo>
                  <a:pt x="790562" y="6358389"/>
                  <a:pt x="789696" y="6355285"/>
                  <a:pt x="787962" y="6352786"/>
                </a:cubicBezTo>
                <a:cubicBezTo>
                  <a:pt x="786229" y="6350287"/>
                  <a:pt x="783841" y="6348383"/>
                  <a:pt x="780798" y="6347073"/>
                </a:cubicBezTo>
                <a:cubicBezTo>
                  <a:pt x="777754" y="6345763"/>
                  <a:pt x="772383" y="6344080"/>
                  <a:pt x="764685" y="6342024"/>
                </a:cubicBezTo>
                <a:cubicBezTo>
                  <a:pt x="759364" y="6340573"/>
                  <a:pt x="756160" y="6339646"/>
                  <a:pt x="755071" y="6339243"/>
                </a:cubicBezTo>
                <a:cubicBezTo>
                  <a:pt x="753177" y="6338477"/>
                  <a:pt x="751786" y="6337510"/>
                  <a:pt x="750900" y="6336341"/>
                </a:cubicBezTo>
                <a:cubicBezTo>
                  <a:pt x="750013" y="6335212"/>
                  <a:pt x="749569" y="6333942"/>
                  <a:pt x="749569" y="6332532"/>
                </a:cubicBezTo>
                <a:cubicBezTo>
                  <a:pt x="749569" y="6330315"/>
                  <a:pt x="750638" y="6328380"/>
                  <a:pt x="752774" y="6326727"/>
                </a:cubicBezTo>
                <a:cubicBezTo>
                  <a:pt x="754910" y="6325075"/>
                  <a:pt x="758477" y="6324248"/>
                  <a:pt x="763476" y="6324248"/>
                </a:cubicBezTo>
                <a:cubicBezTo>
                  <a:pt x="767708" y="6324248"/>
                  <a:pt x="770983" y="6325176"/>
                  <a:pt x="773301" y="6327030"/>
                </a:cubicBezTo>
                <a:cubicBezTo>
                  <a:pt x="775618" y="6328884"/>
                  <a:pt x="777019" y="6331463"/>
                  <a:pt x="777503" y="6334769"/>
                </a:cubicBezTo>
                <a:lnTo>
                  <a:pt x="788144" y="6333318"/>
                </a:lnTo>
                <a:cubicBezTo>
                  <a:pt x="787459" y="6329166"/>
                  <a:pt x="786209" y="6325851"/>
                  <a:pt x="784395" y="6323372"/>
                </a:cubicBezTo>
                <a:cubicBezTo>
                  <a:pt x="782581" y="6320893"/>
                  <a:pt x="779770" y="6318928"/>
                  <a:pt x="775961" y="6317477"/>
                </a:cubicBezTo>
                <a:cubicBezTo>
                  <a:pt x="772152" y="6316026"/>
                  <a:pt x="767728" y="6315300"/>
                  <a:pt x="762690" y="6315300"/>
                </a:cubicBezTo>
                <a:close/>
                <a:moveTo>
                  <a:pt x="525681" y="6301636"/>
                </a:moveTo>
                <a:cubicBezTo>
                  <a:pt x="527051" y="6306432"/>
                  <a:pt x="529147" y="6312559"/>
                  <a:pt x="531969" y="6320016"/>
                </a:cubicBezTo>
                <a:lnTo>
                  <a:pt x="541219" y="6344563"/>
                </a:lnTo>
                <a:lnTo>
                  <a:pt x="511170" y="6344563"/>
                </a:lnTo>
                <a:lnTo>
                  <a:pt x="520904" y="6318565"/>
                </a:lnTo>
                <a:cubicBezTo>
                  <a:pt x="522960" y="6312962"/>
                  <a:pt x="524552" y="6307319"/>
                  <a:pt x="525681" y="6301636"/>
                </a:cubicBezTo>
                <a:close/>
                <a:moveTo>
                  <a:pt x="1847396" y="6292325"/>
                </a:moveTo>
                <a:lnTo>
                  <a:pt x="1847396" y="6380961"/>
                </a:lnTo>
                <a:lnTo>
                  <a:pt x="1902778" y="6380961"/>
                </a:lnTo>
                <a:lnTo>
                  <a:pt x="1902778" y="6370501"/>
                </a:lnTo>
                <a:lnTo>
                  <a:pt x="1859125" y="6370501"/>
                </a:lnTo>
                <a:lnTo>
                  <a:pt x="1859125" y="6292325"/>
                </a:lnTo>
                <a:close/>
                <a:moveTo>
                  <a:pt x="1676067" y="6292325"/>
                </a:moveTo>
                <a:lnTo>
                  <a:pt x="1676067" y="6380961"/>
                </a:lnTo>
                <a:lnTo>
                  <a:pt x="1687373" y="6380961"/>
                </a:lnTo>
                <a:lnTo>
                  <a:pt x="1687373" y="6305505"/>
                </a:lnTo>
                <a:lnTo>
                  <a:pt x="1713008" y="6380961"/>
                </a:lnTo>
                <a:lnTo>
                  <a:pt x="1723589" y="6380961"/>
                </a:lnTo>
                <a:lnTo>
                  <a:pt x="1749346" y="6306775"/>
                </a:lnTo>
                <a:lnTo>
                  <a:pt x="1749346" y="6380961"/>
                </a:lnTo>
                <a:lnTo>
                  <a:pt x="1760652" y="6380961"/>
                </a:lnTo>
                <a:lnTo>
                  <a:pt x="1760652" y="6292325"/>
                </a:lnTo>
                <a:lnTo>
                  <a:pt x="1744872" y="6292325"/>
                </a:lnTo>
                <a:lnTo>
                  <a:pt x="1723650" y="6353995"/>
                </a:lnTo>
                <a:cubicBezTo>
                  <a:pt x="1721513" y="6360243"/>
                  <a:pt x="1719941" y="6364979"/>
                  <a:pt x="1718933" y="6368204"/>
                </a:cubicBezTo>
                <a:cubicBezTo>
                  <a:pt x="1718047" y="6365302"/>
                  <a:pt x="1716636" y="6360928"/>
                  <a:pt x="1714701" y="6355084"/>
                </a:cubicBezTo>
                <a:lnTo>
                  <a:pt x="1693721" y="6292325"/>
                </a:lnTo>
                <a:close/>
                <a:moveTo>
                  <a:pt x="1560739" y="6292325"/>
                </a:moveTo>
                <a:lnTo>
                  <a:pt x="1560739" y="6380961"/>
                </a:lnTo>
                <a:lnTo>
                  <a:pt x="1571622" y="6380961"/>
                </a:lnTo>
                <a:lnTo>
                  <a:pt x="1571622" y="6345833"/>
                </a:lnTo>
                <a:cubicBezTo>
                  <a:pt x="1571622" y="6340795"/>
                  <a:pt x="1572226" y="6336845"/>
                  <a:pt x="1573435" y="6333983"/>
                </a:cubicBezTo>
                <a:cubicBezTo>
                  <a:pt x="1574645" y="6331121"/>
                  <a:pt x="1576670" y="6328854"/>
                  <a:pt x="1579512" y="6327181"/>
                </a:cubicBezTo>
                <a:cubicBezTo>
                  <a:pt x="1582354" y="6325508"/>
                  <a:pt x="1585387" y="6324672"/>
                  <a:pt x="1588611" y="6324672"/>
                </a:cubicBezTo>
                <a:cubicBezTo>
                  <a:pt x="1592924" y="6324672"/>
                  <a:pt x="1596260" y="6325911"/>
                  <a:pt x="1598618" y="6328390"/>
                </a:cubicBezTo>
                <a:cubicBezTo>
                  <a:pt x="1600976" y="6330869"/>
                  <a:pt x="1602155" y="6334829"/>
                  <a:pt x="1602155" y="6340271"/>
                </a:cubicBezTo>
                <a:lnTo>
                  <a:pt x="1602155" y="6380961"/>
                </a:lnTo>
                <a:lnTo>
                  <a:pt x="1613038" y="6380961"/>
                </a:lnTo>
                <a:lnTo>
                  <a:pt x="1613038" y="6340271"/>
                </a:lnTo>
                <a:cubicBezTo>
                  <a:pt x="1613038" y="6333983"/>
                  <a:pt x="1612282" y="6329186"/>
                  <a:pt x="1610771" y="6325881"/>
                </a:cubicBezTo>
                <a:cubicBezTo>
                  <a:pt x="1609259" y="6322576"/>
                  <a:pt x="1606750" y="6319986"/>
                  <a:pt x="1603243" y="6318112"/>
                </a:cubicBezTo>
                <a:cubicBezTo>
                  <a:pt x="1599736" y="6316237"/>
                  <a:pt x="1595605" y="6315300"/>
                  <a:pt x="1590848" y="6315300"/>
                </a:cubicBezTo>
                <a:cubicBezTo>
                  <a:pt x="1583109" y="6315300"/>
                  <a:pt x="1576700" y="6318243"/>
                  <a:pt x="1571622" y="6324128"/>
                </a:cubicBezTo>
                <a:lnTo>
                  <a:pt x="1571622" y="6292325"/>
                </a:lnTo>
                <a:close/>
                <a:moveTo>
                  <a:pt x="1285542" y="6292325"/>
                </a:moveTo>
                <a:lnTo>
                  <a:pt x="1285542" y="6380961"/>
                </a:lnTo>
                <a:lnTo>
                  <a:pt x="1296848" y="6380961"/>
                </a:lnTo>
                <a:lnTo>
                  <a:pt x="1296848" y="6305505"/>
                </a:lnTo>
                <a:lnTo>
                  <a:pt x="1322484" y="6380961"/>
                </a:lnTo>
                <a:lnTo>
                  <a:pt x="1333064" y="6380961"/>
                </a:lnTo>
                <a:lnTo>
                  <a:pt x="1358821" y="6306775"/>
                </a:lnTo>
                <a:lnTo>
                  <a:pt x="1358821" y="6380961"/>
                </a:lnTo>
                <a:lnTo>
                  <a:pt x="1370127" y="6380961"/>
                </a:lnTo>
                <a:lnTo>
                  <a:pt x="1370127" y="6292325"/>
                </a:lnTo>
                <a:lnTo>
                  <a:pt x="1354347" y="6292325"/>
                </a:lnTo>
                <a:lnTo>
                  <a:pt x="1333125" y="6353995"/>
                </a:lnTo>
                <a:cubicBezTo>
                  <a:pt x="1330988" y="6360243"/>
                  <a:pt x="1329416" y="6364979"/>
                  <a:pt x="1328409" y="6368204"/>
                </a:cubicBezTo>
                <a:cubicBezTo>
                  <a:pt x="1327522" y="6365302"/>
                  <a:pt x="1326111" y="6360928"/>
                  <a:pt x="1324176" y="6355084"/>
                </a:cubicBezTo>
                <a:lnTo>
                  <a:pt x="1303196" y="6292325"/>
                </a:lnTo>
                <a:close/>
                <a:moveTo>
                  <a:pt x="808324" y="6292325"/>
                </a:moveTo>
                <a:lnTo>
                  <a:pt x="808324" y="6304840"/>
                </a:lnTo>
                <a:lnTo>
                  <a:pt x="819207" y="6304840"/>
                </a:lnTo>
                <a:lnTo>
                  <a:pt x="819207" y="6292325"/>
                </a:lnTo>
                <a:close/>
                <a:moveTo>
                  <a:pt x="608178" y="6292325"/>
                </a:moveTo>
                <a:lnTo>
                  <a:pt x="608178" y="6380961"/>
                </a:lnTo>
                <a:lnTo>
                  <a:pt x="618275" y="6380961"/>
                </a:lnTo>
                <a:lnTo>
                  <a:pt x="618275" y="6372920"/>
                </a:lnTo>
                <a:cubicBezTo>
                  <a:pt x="622588" y="6379248"/>
                  <a:pt x="628533" y="6382412"/>
                  <a:pt x="636111" y="6382412"/>
                </a:cubicBezTo>
                <a:cubicBezTo>
                  <a:pt x="643729" y="6382412"/>
                  <a:pt x="650259" y="6379409"/>
                  <a:pt x="655701" y="6373404"/>
                </a:cubicBezTo>
                <a:cubicBezTo>
                  <a:pt x="661142" y="6367398"/>
                  <a:pt x="663863" y="6358893"/>
                  <a:pt x="663863" y="6347889"/>
                </a:cubicBezTo>
                <a:cubicBezTo>
                  <a:pt x="663863" y="6343253"/>
                  <a:pt x="663218" y="6338900"/>
                  <a:pt x="661928" y="6334829"/>
                </a:cubicBezTo>
                <a:cubicBezTo>
                  <a:pt x="660638" y="6330758"/>
                  <a:pt x="658855" y="6327282"/>
                  <a:pt x="656577" y="6324400"/>
                </a:cubicBezTo>
                <a:cubicBezTo>
                  <a:pt x="654300" y="6321518"/>
                  <a:pt x="651398" y="6319281"/>
                  <a:pt x="647871" y="6317688"/>
                </a:cubicBezTo>
                <a:cubicBezTo>
                  <a:pt x="644344" y="6316096"/>
                  <a:pt x="640606" y="6315300"/>
                  <a:pt x="636655" y="6315300"/>
                </a:cubicBezTo>
                <a:cubicBezTo>
                  <a:pt x="629521" y="6315300"/>
                  <a:pt x="623656" y="6318182"/>
                  <a:pt x="619061" y="6323946"/>
                </a:cubicBezTo>
                <a:lnTo>
                  <a:pt x="619061" y="6292325"/>
                </a:lnTo>
                <a:close/>
                <a:moveTo>
                  <a:pt x="519635" y="6292325"/>
                </a:moveTo>
                <a:lnTo>
                  <a:pt x="485595" y="6380961"/>
                </a:lnTo>
                <a:lnTo>
                  <a:pt x="498050" y="6380961"/>
                </a:lnTo>
                <a:lnTo>
                  <a:pt x="507784" y="6354116"/>
                </a:lnTo>
                <a:lnTo>
                  <a:pt x="544847" y="6354116"/>
                </a:lnTo>
                <a:lnTo>
                  <a:pt x="555186" y="6380961"/>
                </a:lnTo>
                <a:lnTo>
                  <a:pt x="568548" y="6380961"/>
                </a:lnTo>
                <a:lnTo>
                  <a:pt x="532271" y="6292325"/>
                </a:lnTo>
                <a:close/>
                <a:moveTo>
                  <a:pt x="1228689" y="6290813"/>
                </a:moveTo>
                <a:cubicBezTo>
                  <a:pt x="1223933" y="6290813"/>
                  <a:pt x="1220235" y="6291690"/>
                  <a:pt x="1217594" y="6293443"/>
                </a:cubicBezTo>
                <a:cubicBezTo>
                  <a:pt x="1214954" y="6295197"/>
                  <a:pt x="1213110" y="6297484"/>
                  <a:pt x="1212062" y="6300306"/>
                </a:cubicBezTo>
                <a:cubicBezTo>
                  <a:pt x="1211296" y="6302402"/>
                  <a:pt x="1210914" y="6305606"/>
                  <a:pt x="1210914" y="6309919"/>
                </a:cubicBezTo>
                <a:lnTo>
                  <a:pt x="1210914" y="6316751"/>
                </a:lnTo>
                <a:lnTo>
                  <a:pt x="1201300" y="6316751"/>
                </a:lnTo>
                <a:lnTo>
                  <a:pt x="1201300" y="6325216"/>
                </a:lnTo>
                <a:lnTo>
                  <a:pt x="1210914" y="6325216"/>
                </a:lnTo>
                <a:lnTo>
                  <a:pt x="1210914" y="6380961"/>
                </a:lnTo>
                <a:lnTo>
                  <a:pt x="1221736" y="6380961"/>
                </a:lnTo>
                <a:lnTo>
                  <a:pt x="1221736" y="6325216"/>
                </a:lnTo>
                <a:lnTo>
                  <a:pt x="1234252" y="6325216"/>
                </a:lnTo>
                <a:lnTo>
                  <a:pt x="1234252" y="6316751"/>
                </a:lnTo>
                <a:lnTo>
                  <a:pt x="1221736" y="6316751"/>
                </a:lnTo>
                <a:lnTo>
                  <a:pt x="1221736" y="6310826"/>
                </a:lnTo>
                <a:cubicBezTo>
                  <a:pt x="1221736" y="6306956"/>
                  <a:pt x="1222421" y="6304316"/>
                  <a:pt x="1223792" y="6302906"/>
                </a:cubicBezTo>
                <a:cubicBezTo>
                  <a:pt x="1225162" y="6301495"/>
                  <a:pt x="1227500" y="6300789"/>
                  <a:pt x="1230805" y="6300789"/>
                </a:cubicBezTo>
                <a:cubicBezTo>
                  <a:pt x="1232820" y="6300789"/>
                  <a:pt x="1234957" y="6300991"/>
                  <a:pt x="1237214" y="6301394"/>
                </a:cubicBezTo>
                <a:lnTo>
                  <a:pt x="1238847" y="6291902"/>
                </a:lnTo>
                <a:cubicBezTo>
                  <a:pt x="1235138" y="6291176"/>
                  <a:pt x="1231753" y="6290813"/>
                  <a:pt x="1228689" y="6290813"/>
                </a:cubicBezTo>
                <a:close/>
                <a:moveTo>
                  <a:pt x="7175501" y="1"/>
                </a:moveTo>
                <a:lnTo>
                  <a:pt x="12191999" y="1"/>
                </a:lnTo>
                <a:lnTo>
                  <a:pt x="12191999" y="6858001"/>
                </a:lnTo>
                <a:lnTo>
                  <a:pt x="1" y="6858001"/>
                </a:lnTo>
                <a:lnTo>
                  <a:pt x="1" y="5752619"/>
                </a:lnTo>
                <a:lnTo>
                  <a:pt x="7175501" y="5752619"/>
                </a:lnTo>
                <a:close/>
                <a:moveTo>
                  <a:pt x="0" y="0"/>
                </a:moveTo>
                <a:lnTo>
                  <a:pt x="7175501" y="0"/>
                </a:lnTo>
                <a:lnTo>
                  <a:pt x="7175501" y="1"/>
                </a:lnTo>
                <a:lnTo>
                  <a:pt x="1" y="1"/>
                </a:lnTo>
                <a:lnTo>
                  <a:pt x="1" y="5752619"/>
                </a:lnTo>
                <a:lnTo>
                  <a:pt x="0" y="5752619"/>
                </a:lnTo>
                <a:close/>
              </a:path>
            </a:pathLst>
          </a:custGeom>
          <a:solidFill>
            <a:srgbClr val="F0F0F0"/>
          </a:solidFill>
        </p:spPr>
        <p:txBody>
          <a:bodyPr wrap="square">
            <a:no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1200">
                <a:solidFill>
                  <a:srgbClr val="FF0000"/>
                </a:solidFill>
              </a:defRPr>
            </a:lvl1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t>Click on picture icon to insert picture. Reset layout.</a:t>
            </a:r>
          </a:p>
        </p:txBody>
      </p:sp>
      <p:sp>
        <p:nvSpPr>
          <p:cNvPr id="12"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extLst>
              <p:ext uri="{D42A27DB-BD31-4B8C-83A1-F6EECF244321}">
                <p14:modId xmlns:p14="http://schemas.microsoft.com/office/powerpoint/2010/main" val="42138162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609725"/>
            <a:ext cx="6485763" cy="1600200"/>
          </a:xfrm>
        </p:spPr>
        <p:txBody>
          <a:bodyPr vert="horz" anchor="b" anchorCtr="0"/>
          <a:lstStyle>
            <a:lvl1pPr>
              <a:lnSpc>
                <a:spcPct val="90000"/>
              </a:lnSpc>
              <a:defRPr lang="en-US" sz="4800" b="1" i="0" kern="1200" cap="none" baseline="0" dirty="0">
                <a:solidFill>
                  <a:schemeClr val="tx2"/>
                </a:solidFill>
                <a:latin typeface="Arial" panose="020B0604020202020204" pitchFamily="34" charset="0"/>
                <a:ea typeface="+mj-ea"/>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405820"/>
            <a:ext cx="6447769"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9" name="Text Placeholder 3">
            <a:extLst>
              <a:ext uri="{FF2B5EF4-FFF2-40B4-BE49-F238E27FC236}">
                <a16:creationId xmlns:a16="http://schemas.microsoft.com/office/drawing/2014/main" id="{408D7265-22AD-444D-9DAE-694197297FA6}"/>
              </a:ext>
            </a:extLst>
          </p:cNvPr>
          <p:cNvSpPr>
            <a:spLocks noGrp="1"/>
          </p:cNvSpPr>
          <p:nvPr>
            <p:ph type="body" sz="half" idx="2" hasCustomPrompt="1"/>
          </p:nvPr>
        </p:nvSpPr>
        <p:spPr>
          <a:xfrm>
            <a:off x="485775" y="4429126"/>
            <a:ext cx="64484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2"/>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pic>
        <p:nvPicPr>
          <p:cNvPr id="11" name="Graphic 12">
            <a:extLst>
              <a:ext uri="{FF2B5EF4-FFF2-40B4-BE49-F238E27FC236}">
                <a16:creationId xmlns:a16="http://schemas.microsoft.com/office/drawing/2014/main" id="{CB3E854A-C626-6940-8EB7-1215314D076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86803" y="341762"/>
            <a:ext cx="1623974" cy="338328"/>
          </a:xfrm>
          <a:prstGeom prst="rect">
            <a:avLst/>
          </a:prstGeom>
        </p:spPr>
      </p:pic>
    </p:spTree>
    <p:extLst>
      <p:ext uri="{BB962C8B-B14F-4D97-AF65-F5344CB8AC3E}">
        <p14:creationId xmlns:p14="http://schemas.microsoft.com/office/powerpoint/2010/main" val="4042034912"/>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p:cSld name="Title slide A">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extLst>
              <p:ext uri="{D42A27DB-BD31-4B8C-83A1-F6EECF244321}">
                <p14:modId xmlns:p14="http://schemas.microsoft.com/office/powerpoint/2010/main" val="9699997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5793"/>
            <a:ext cx="9365488" cy="1602882"/>
          </a:xfrm>
        </p:spPr>
        <p:txBody>
          <a:bodyPr vert="horz"/>
          <a:lstStyle>
            <a:lvl1pPr>
              <a:lnSpc>
                <a:spcPct val="90000"/>
              </a:lnSpc>
              <a:defRPr sz="6000" b="1" i="0" cap="none" baseline="0">
                <a:latin typeface="Arial" panose="020B0604020202020204" pitchFamily="34" charset="0"/>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60887"/>
            <a:ext cx="9310624"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pic>
        <p:nvPicPr>
          <p:cNvPr id="12" name="Graphic 11">
            <a:extLst>
              <a:ext uri="{FF2B5EF4-FFF2-40B4-BE49-F238E27FC236}">
                <a16:creationId xmlns:a16="http://schemas.microsoft.com/office/drawing/2014/main" id="{4BDA5969-2C42-8648-93E3-BF7B87CBB66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EB52CC60-D837-D647-A567-2B63058DBF94}"/>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sp>
        <p:nvSpPr>
          <p:cNvPr id="14" name="Rectangle 13">
            <a:extLst>
              <a:ext uri="{FF2B5EF4-FFF2-40B4-BE49-F238E27FC236}">
                <a16:creationId xmlns:a16="http://schemas.microsoft.com/office/drawing/2014/main" id="{8A000828-AFAC-3B45-BED9-82169A449934}"/>
              </a:ext>
            </a:extLst>
          </p:cNvPr>
          <p:cNvSpPr/>
          <p:nvPr/>
        </p:nvSpPr>
        <p:spPr>
          <a:xfrm>
            <a:off x="485775" y="6257135"/>
            <a:ext cx="1785745" cy="153888"/>
          </a:xfrm>
          <a:prstGeom prst="rect">
            <a:avLst/>
          </a:prstGeom>
        </p:spPr>
        <p:txBody>
          <a:bodyPr wrap="none" lIns="0" tIns="0" rIns="0" bIns="0">
            <a:spAutoFit/>
          </a:bodyPr>
          <a:lstStyle/>
          <a:p>
            <a:r>
              <a:rPr lang="en-US" sz="1000" dirty="0">
                <a:effectLst/>
                <a:latin typeface="Arial" panose="020B0604020202020204" pitchFamily="34" charset="0"/>
              </a:rPr>
              <a:t>A business of Marsh McLennan</a:t>
            </a:r>
            <a:endParaRPr lang="en-US" sz="1000" dirty="0"/>
          </a:p>
        </p:txBody>
      </p:sp>
    </p:spTree>
    <p:extLst>
      <p:ext uri="{BB962C8B-B14F-4D97-AF65-F5344CB8AC3E}">
        <p14:creationId xmlns:p14="http://schemas.microsoft.com/office/powerpoint/2010/main" val="1412435541"/>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p:cSld name="Title slide B: blue">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extLst>
              <p:ext uri="{D42A27DB-BD31-4B8C-83A1-F6EECF244321}">
                <p14:modId xmlns:p14="http://schemas.microsoft.com/office/powerpoint/2010/main" val="9228082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sz="6000" b="1" i="0" cap="none" baseline="0">
                <a:solidFill>
                  <a:schemeClr val="bg1"/>
                </a:solidFill>
                <a:latin typeface="Arial" panose="020B0604020202020204" pitchFamily="34" charset="0"/>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a:p>
            <a:endParaRPr lang="en-US" dirty="0"/>
          </a:p>
        </p:txBody>
      </p:sp>
      <p:pic>
        <p:nvPicPr>
          <p:cNvPr id="10" name="Graphic 9">
            <a:extLst>
              <a:ext uri="{FF2B5EF4-FFF2-40B4-BE49-F238E27FC236}">
                <a16:creationId xmlns:a16="http://schemas.microsoft.com/office/drawing/2014/main" id="{DEE86180-B41F-7848-B765-50E102B103F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21CF6247-A2E8-674A-8D8D-44D4EAEBC5F3}"/>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sp>
        <p:nvSpPr>
          <p:cNvPr id="12" name="Text Placeholder 3">
            <a:extLst>
              <a:ext uri="{FF2B5EF4-FFF2-40B4-BE49-F238E27FC236}">
                <a16:creationId xmlns:a16="http://schemas.microsoft.com/office/drawing/2014/main" id="{57A2FE8B-9C7D-A345-BB2B-099F6C5E5640}"/>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D5790EA8-AA62-F64A-8A53-EECC7CCE7712}"/>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spTree>
    <p:extLst>
      <p:ext uri="{BB962C8B-B14F-4D97-AF65-F5344CB8AC3E}">
        <p14:creationId xmlns:p14="http://schemas.microsoft.com/office/powerpoint/2010/main" val="50418280"/>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p:cSld name="Title slide B: gradi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extLst>
              <p:ext uri="{D42A27DB-BD31-4B8C-83A1-F6EECF244321}">
                <p14:modId xmlns:p14="http://schemas.microsoft.com/office/powerpoint/2010/main" val="3990343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lang="en-US" sz="6000" b="1" i="0" kern="1200" cap="none" baseline="0" dirty="0">
                <a:solidFill>
                  <a:schemeClr val="bg1"/>
                </a:solidFill>
                <a:latin typeface="+mn-lt"/>
                <a:ea typeface="+mj-ea"/>
                <a:cs typeface="Arial Narrow"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pic>
        <p:nvPicPr>
          <p:cNvPr id="11" name="Graphic 10">
            <a:extLst>
              <a:ext uri="{FF2B5EF4-FFF2-40B4-BE49-F238E27FC236}">
                <a16:creationId xmlns:a16="http://schemas.microsoft.com/office/drawing/2014/main" id="{FDA1005D-C174-6644-AA58-EB820552A19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36A2096B-1D09-3D42-BA78-B882F2057281}"/>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sp>
        <p:nvSpPr>
          <p:cNvPr id="12" name="Text Placeholder 3">
            <a:extLst>
              <a:ext uri="{FF2B5EF4-FFF2-40B4-BE49-F238E27FC236}">
                <a16:creationId xmlns:a16="http://schemas.microsoft.com/office/drawing/2014/main" id="{376AD702-0276-0141-A183-937FB3505BA2}"/>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F0B5321B-5321-A64E-90E9-3AC4B69C0ADD}"/>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spTree>
    <p:extLst>
      <p:ext uri="{BB962C8B-B14F-4D97-AF65-F5344CB8AC3E}">
        <p14:creationId xmlns:p14="http://schemas.microsoft.com/office/powerpoint/2010/main" val="27898905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x">
  <p:cSld name="Title left">
    <p:bg>
      <p:bgPr>
        <a:solidFill>
          <a:srgbClr val="FFFFFF"/>
        </a:solidFill>
        <a:effectLst/>
      </p:bgPr>
    </p:bg>
    <p:spTree>
      <p:nvGrpSpPr>
        <p:cNvPr id="1" name=""/>
        <p:cNvGrpSpPr/>
        <p:nvPr/>
      </p:nvGrpSpPr>
      <p:grpSpPr>
        <a:xfrm>
          <a:off x="0" y="0"/>
          <a:ext cx="0" cy="0"/>
          <a:chOff x="0" y="0"/>
          <a:chExt cx="0" cy="0"/>
        </a:xfrm>
      </p:grpSpPr>
      <p:sp>
        <p:nvSpPr>
          <p:cNvPr id="31" name="Shape 31"/>
          <p:cNvSpPr>
            <a:spLocks noGrp="1"/>
          </p:cNvSpPr>
          <p:nvPr>
            <p:ph type="body" sz="quarter" idx="13"/>
          </p:nvPr>
        </p:nvSpPr>
        <p:spPr>
          <a:xfrm>
            <a:off x="6210301" y="6388100"/>
            <a:ext cx="4546601" cy="247650"/>
          </a:xfrm>
          <a:prstGeom prst="rect">
            <a:avLst/>
          </a:prstGeom>
        </p:spPr>
        <p:txBody>
          <a:bodyPr anchor="b"/>
          <a:lstStyle>
            <a:lvl1pPr algn="r">
              <a:spcBef>
                <a:spcPts val="0"/>
              </a:spcBef>
              <a:defRPr sz="800"/>
            </a:lvl1pPr>
          </a:lstStyle>
          <a:p>
            <a:r>
              <a:t> </a:t>
            </a:r>
          </a:p>
        </p:txBody>
      </p:sp>
      <p:sp>
        <p:nvSpPr>
          <p:cNvPr id="32" name="Shape 32"/>
          <p:cNvSpPr>
            <a:spLocks noGrp="1"/>
          </p:cNvSpPr>
          <p:nvPr>
            <p:ph type="title"/>
          </p:nvPr>
        </p:nvSpPr>
        <p:spPr>
          <a:xfrm>
            <a:off x="458720" y="356540"/>
            <a:ext cx="3605281" cy="5770272"/>
          </a:xfrm>
          <a:prstGeom prst="rect">
            <a:avLst/>
          </a:prstGeom>
        </p:spPr>
        <p:txBody>
          <a:bodyPr>
            <a:normAutofit/>
          </a:bodyPr>
          <a:lstStyle/>
          <a:p>
            <a:r>
              <a:t>Texto del título</a:t>
            </a:r>
          </a:p>
        </p:txBody>
      </p:sp>
      <p:sp>
        <p:nvSpPr>
          <p:cNvPr id="33" name="Shape 33"/>
          <p:cNvSpPr>
            <a:spLocks noGrp="1"/>
          </p:cNvSpPr>
          <p:nvPr>
            <p:ph type="body" idx="1"/>
          </p:nvPr>
        </p:nvSpPr>
        <p:spPr>
          <a:xfrm>
            <a:off x="4305300" y="361950"/>
            <a:ext cx="7400923" cy="5756275"/>
          </a:xfrm>
          <a:prstGeom prst="rect">
            <a:avLst/>
          </a:prstGeom>
        </p:spPr>
        <p:txBody>
          <a:bodyPr>
            <a:normAutofit/>
          </a:bodyPr>
          <a:lstStyle/>
          <a:p>
            <a:r>
              <a:t>Nivel de texto 1</a:t>
            </a:r>
          </a:p>
          <a:p>
            <a:pPr lvl="1"/>
            <a:r>
              <a:t>Nivel de texto 2</a:t>
            </a:r>
          </a:p>
          <a:p>
            <a:pPr lvl="2"/>
            <a:r>
              <a:t>Nivel de texto 3</a:t>
            </a:r>
          </a:p>
          <a:p>
            <a:pPr lvl="3"/>
            <a:r>
              <a:t>Nivel de texto 4</a:t>
            </a:r>
          </a:p>
          <a:p>
            <a:pPr lvl="4"/>
            <a:r>
              <a:t>Nivel de texto 5</a:t>
            </a:r>
          </a:p>
        </p:txBody>
      </p:sp>
      <p:sp>
        <p:nvSpPr>
          <p:cNvPr id="34" name="Shape 34"/>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x">
  <p:cSld name="COVERS JOINT BUSINESS">
    <p:spTree>
      <p:nvGrpSpPr>
        <p:cNvPr id="1" name=""/>
        <p:cNvGrpSpPr/>
        <p:nvPr/>
      </p:nvGrpSpPr>
      <p:grpSpPr>
        <a:xfrm>
          <a:off x="0" y="0"/>
          <a:ext cx="0" cy="0"/>
          <a:chOff x="0" y="0"/>
          <a:chExt cx="0" cy="0"/>
        </a:xfrm>
      </p:grpSpPr>
      <p:sp>
        <p:nvSpPr>
          <p:cNvPr id="373" name="Shape 373"/>
          <p:cNvSpPr/>
          <p:nvPr/>
        </p:nvSpPr>
        <p:spPr>
          <a:xfrm>
            <a:off x="374977" y="1701329"/>
            <a:ext cx="10258773" cy="3455343"/>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p>
            <a:pPr>
              <a:defRPr sz="12000" b="1">
                <a:solidFill>
                  <a:srgbClr val="FFFFFF"/>
                </a:solidFill>
              </a:defRPr>
            </a:pPr>
            <a:r>
              <a:t>Covers for a</a:t>
            </a:r>
          </a:p>
          <a:p>
            <a:pPr>
              <a:defRPr sz="12000" b="1">
                <a:solidFill>
                  <a:srgbClr val="FFFFFF"/>
                </a:solidFill>
              </a:defRPr>
            </a:pPr>
            <a:r>
              <a:t>joint business</a:t>
            </a:r>
          </a:p>
        </p:txBody>
      </p:sp>
      <p:sp>
        <p:nvSpPr>
          <p:cNvPr id="374" name="Shape 374"/>
          <p:cNvSpPr>
            <a:spLocks noGrp="1"/>
          </p:cNvSpPr>
          <p:nvPr>
            <p:ph type="sldNum" sz="quarter" idx="2"/>
          </p:nvPr>
        </p:nvSpPr>
        <p:spPr>
          <a:prstGeom prst="rect">
            <a:avLst/>
          </a:prstGeom>
        </p:spPr>
        <p:txBody>
          <a:bodyPr/>
          <a:lstStyle/>
          <a:p>
            <a:fld id="{86CB4B4D-7CA3-9044-876B-883B54F8677D}" type="slidenum">
              <a:t>‹Nº›</a:t>
            </a:fld>
            <a:endParaRPr/>
          </a:p>
        </p:txBody>
      </p:sp>
    </p:spTree>
  </p:cSld>
  <p:clrMapOvr>
    <a:masterClrMapping/>
  </p:clrMapOvr>
  <p:transition spd="med"/>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p:cSld name="Title slide C">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extLst>
              <p:ext uri="{D42A27DB-BD31-4B8C-83A1-F6EECF244321}">
                <p14:modId xmlns:p14="http://schemas.microsoft.com/office/powerpoint/2010/main" val="10708201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08843" y="2347270"/>
            <a:ext cx="9433657" cy="1519880"/>
          </a:xfrm>
        </p:spPr>
        <p:txBody>
          <a:bodyPr vert="horz"/>
          <a:lstStyle>
            <a:lvl1pPr>
              <a:lnSpc>
                <a:spcPct val="80000"/>
              </a:lnSpc>
              <a:defRPr sz="12000" b="1" i="0" cap="none" baseline="0">
                <a:solidFill>
                  <a:schemeClr val="tx2"/>
                </a:solidFill>
                <a:latin typeface="Arial" panose="020B0604020202020204" pitchFamily="34" charset="0"/>
                <a:cs typeface="Arial" panose="020B0604020202020204" pitchFamily="34" charset="0"/>
              </a:defRPr>
            </a:lvl1pPr>
          </a:lstStyle>
          <a:p>
            <a:r>
              <a:rPr lang="en-US" dirty="0"/>
              <a:t>Heading 1</a:t>
            </a:r>
          </a:p>
        </p:txBody>
      </p:sp>
      <p:sp>
        <p:nvSpPr>
          <p:cNvPr id="3" name="Subtitle 2"/>
          <p:cNvSpPr>
            <a:spLocks noGrp="1"/>
          </p:cNvSpPr>
          <p:nvPr>
            <p:ph type="subTitle" idx="1" hasCustomPrompt="1"/>
          </p:nvPr>
        </p:nvSpPr>
        <p:spPr>
          <a:xfrm>
            <a:off x="465995" y="1784598"/>
            <a:ext cx="9313005" cy="381732"/>
          </a:xfrm>
        </p:spPr>
        <p:txBody>
          <a:bodyPr anchor="b"/>
          <a:lstStyle>
            <a:lvl1pPr marL="0" indent="0" algn="l">
              <a:buNone/>
              <a:defRPr sz="2400" b="1">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ing 2</a:t>
            </a:r>
          </a:p>
        </p:txBody>
      </p:sp>
      <p:sp>
        <p:nvSpPr>
          <p:cNvPr id="8" name="Picture Placeholder 5">
            <a:extLst>
              <a:ext uri="{FF2B5EF4-FFF2-40B4-BE49-F238E27FC236}">
                <a16:creationId xmlns:a16="http://schemas.microsoft.com/office/drawing/2014/main" id="{F83B2B48-1865-EF4B-9973-D5EE72C1B4A1}"/>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pic>
        <p:nvPicPr>
          <p:cNvPr id="13" name="Graphic 12">
            <a:extLst>
              <a:ext uri="{FF2B5EF4-FFF2-40B4-BE49-F238E27FC236}">
                <a16:creationId xmlns:a16="http://schemas.microsoft.com/office/drawing/2014/main" id="{CB3E854A-C626-6940-8EB7-1215314D076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6803" y="341762"/>
            <a:ext cx="1623974" cy="338328"/>
          </a:xfrm>
          <a:prstGeom prst="rect">
            <a:avLst/>
          </a:prstGeom>
        </p:spPr>
      </p:pic>
      <p:sp>
        <p:nvSpPr>
          <p:cNvPr id="11" name="Text Placeholder 3">
            <a:extLst>
              <a:ext uri="{FF2B5EF4-FFF2-40B4-BE49-F238E27FC236}">
                <a16:creationId xmlns:a16="http://schemas.microsoft.com/office/drawing/2014/main" id="{7DCD9D50-BDCD-8D45-9767-5C243626118C}"/>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2" name="Rectangle 11">
            <a:extLst>
              <a:ext uri="{FF2B5EF4-FFF2-40B4-BE49-F238E27FC236}">
                <a16:creationId xmlns:a16="http://schemas.microsoft.com/office/drawing/2014/main" id="{2F37011C-C36F-8D4D-96C4-15011C56AD67}"/>
              </a:ext>
            </a:extLst>
          </p:cNvPr>
          <p:cNvSpPr/>
          <p:nvPr/>
        </p:nvSpPr>
        <p:spPr>
          <a:xfrm>
            <a:off x="485775" y="6257135"/>
            <a:ext cx="1785745" cy="153888"/>
          </a:xfrm>
          <a:prstGeom prst="rect">
            <a:avLst/>
          </a:prstGeom>
        </p:spPr>
        <p:txBody>
          <a:bodyPr wrap="none" lIns="0" tIns="0" rIns="0" bIns="0">
            <a:spAutoFit/>
          </a:bodyPr>
          <a:lstStyle/>
          <a:p>
            <a:r>
              <a:rPr lang="en-US" sz="1000" dirty="0">
                <a:effectLst/>
                <a:latin typeface="Arial" panose="020B0604020202020204" pitchFamily="34" charset="0"/>
              </a:rPr>
              <a:t>A business of Marsh McLennan</a:t>
            </a:r>
            <a:endParaRPr lang="en-US" sz="1000" dirty="0"/>
          </a:p>
        </p:txBody>
      </p:sp>
    </p:spTree>
    <p:extLst>
      <p:ext uri="{BB962C8B-B14F-4D97-AF65-F5344CB8AC3E}">
        <p14:creationId xmlns:p14="http://schemas.microsoft.com/office/powerpoint/2010/main" val="475157061"/>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p:cSld name="Title slide C: blue">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extLst>
              <p:ext uri="{D42A27DB-BD31-4B8C-83A1-F6EECF244321}">
                <p14:modId xmlns:p14="http://schemas.microsoft.com/office/powerpoint/2010/main" val="39355449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09829" y="2350190"/>
            <a:ext cx="9429496" cy="1516960"/>
          </a:xfrm>
        </p:spPr>
        <p:txBody>
          <a:bodyPr vert="horz" lIns="0" tIns="0" rIns="0" bIns="0" rtlCol="0" anchor="t">
            <a:noAutofit/>
          </a:bodyPr>
          <a:lstStyle>
            <a:lvl1pPr>
              <a:defRPr lang="en-US" sz="12000" i="0" cap="none" baseline="0" dirty="0">
                <a:solidFill>
                  <a:schemeClr val="bg1"/>
                </a:solidFill>
                <a:latin typeface="Arial" panose="020B0604020202020204" pitchFamily="34" charset="0"/>
                <a:cs typeface="Arial" panose="020B0604020202020204" pitchFamily="34" charset="0"/>
              </a:defRPr>
            </a:lvl1pPr>
          </a:lstStyle>
          <a:p>
            <a:pPr lvl="0"/>
            <a:r>
              <a:rPr lang="en-US" dirty="0"/>
              <a:t>Heading 1</a:t>
            </a:r>
          </a:p>
        </p:txBody>
      </p:sp>
      <p:sp>
        <p:nvSpPr>
          <p:cNvPr id="3" name="Subtitle 2"/>
          <p:cNvSpPr>
            <a:spLocks noGrp="1"/>
          </p:cNvSpPr>
          <p:nvPr>
            <p:ph type="subTitle" idx="1" hasCustomPrompt="1"/>
          </p:nvPr>
        </p:nvSpPr>
        <p:spPr>
          <a:xfrm>
            <a:off x="465201" y="1783080"/>
            <a:ext cx="9310624" cy="384048"/>
          </a:xfrm>
        </p:spPr>
        <p:txBody>
          <a:bodyPr anchor="b"/>
          <a:lstStyle>
            <a:lvl1pPr marL="0" indent="0" algn="l">
              <a:buNone/>
              <a:defRPr sz="24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ing 2</a:t>
            </a:r>
          </a:p>
        </p:txBody>
      </p:sp>
      <p:sp>
        <p:nvSpPr>
          <p:cNvPr id="8" name="Picture Placeholder 5">
            <a:extLst>
              <a:ext uri="{FF2B5EF4-FFF2-40B4-BE49-F238E27FC236}">
                <a16:creationId xmlns:a16="http://schemas.microsoft.com/office/drawing/2014/main" id="{2443E10E-D359-3B49-9FDB-877AADFF144B}"/>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pic>
        <p:nvPicPr>
          <p:cNvPr id="13" name="Graphic 12">
            <a:extLst>
              <a:ext uri="{FF2B5EF4-FFF2-40B4-BE49-F238E27FC236}">
                <a16:creationId xmlns:a16="http://schemas.microsoft.com/office/drawing/2014/main" id="{D426043B-0359-FC46-BCF1-DAFF274E75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6803" y="341762"/>
            <a:ext cx="1623974" cy="338328"/>
          </a:xfrm>
          <a:prstGeom prst="rect">
            <a:avLst/>
          </a:prstGeom>
        </p:spPr>
      </p:pic>
      <p:sp>
        <p:nvSpPr>
          <p:cNvPr id="11" name="Text Placeholder 3">
            <a:extLst>
              <a:ext uri="{FF2B5EF4-FFF2-40B4-BE49-F238E27FC236}">
                <a16:creationId xmlns:a16="http://schemas.microsoft.com/office/drawing/2014/main" id="{07BC8A92-AD16-9240-917F-017431DBB319}"/>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2" name="Rectangle 11">
            <a:extLst>
              <a:ext uri="{FF2B5EF4-FFF2-40B4-BE49-F238E27FC236}">
                <a16:creationId xmlns:a16="http://schemas.microsoft.com/office/drawing/2014/main" id="{F751746A-3C5A-ED4C-8A74-566F52CC4087}"/>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spTree>
    <p:extLst>
      <p:ext uri="{BB962C8B-B14F-4D97-AF65-F5344CB8AC3E}">
        <p14:creationId xmlns:p14="http://schemas.microsoft.com/office/powerpoint/2010/main" val="3168192203"/>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Title slide C: gradi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extLst>
              <p:ext uri="{D42A27DB-BD31-4B8C-83A1-F6EECF244321}">
                <p14:modId xmlns:p14="http://schemas.microsoft.com/office/powerpoint/2010/main" val="41800169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09829" y="2350190"/>
            <a:ext cx="9429496" cy="1516960"/>
          </a:xfrm>
        </p:spPr>
        <p:txBody>
          <a:bodyPr vert="horz" lIns="0" tIns="0" rIns="0" bIns="0" rtlCol="0" anchor="t">
            <a:noAutofit/>
          </a:bodyPr>
          <a:lstStyle>
            <a:lvl1pPr>
              <a:defRPr lang="en-US" sz="12000" i="0" cap="none" baseline="0" dirty="0">
                <a:solidFill>
                  <a:schemeClr val="bg1"/>
                </a:solidFill>
                <a:latin typeface="Arial" panose="020B0604020202020204" pitchFamily="34" charset="0"/>
                <a:cs typeface="Arial" panose="020B0604020202020204" pitchFamily="34" charset="0"/>
              </a:defRPr>
            </a:lvl1pPr>
          </a:lstStyle>
          <a:p>
            <a:pPr lvl="0"/>
            <a:r>
              <a:rPr lang="en-US" dirty="0"/>
              <a:t>Heading 1</a:t>
            </a:r>
          </a:p>
        </p:txBody>
      </p:sp>
      <p:sp>
        <p:nvSpPr>
          <p:cNvPr id="3" name="Subtitle 2"/>
          <p:cNvSpPr>
            <a:spLocks noGrp="1"/>
          </p:cNvSpPr>
          <p:nvPr>
            <p:ph type="subTitle" idx="1" hasCustomPrompt="1"/>
          </p:nvPr>
        </p:nvSpPr>
        <p:spPr>
          <a:xfrm>
            <a:off x="465201" y="1783080"/>
            <a:ext cx="9310624" cy="384048"/>
          </a:xfrm>
        </p:spPr>
        <p:txBody>
          <a:bodyPr anchor="b"/>
          <a:lstStyle>
            <a:lvl1pPr marL="0" indent="0" algn="l">
              <a:buNone/>
              <a:defRPr sz="24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ing 2</a:t>
            </a:r>
          </a:p>
        </p:txBody>
      </p:sp>
      <p:sp>
        <p:nvSpPr>
          <p:cNvPr id="8" name="Picture Placeholder 5">
            <a:extLst>
              <a:ext uri="{FF2B5EF4-FFF2-40B4-BE49-F238E27FC236}">
                <a16:creationId xmlns:a16="http://schemas.microsoft.com/office/drawing/2014/main" id="{F55BF0EB-E95B-664F-A15D-0229B8770981}"/>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pic>
        <p:nvPicPr>
          <p:cNvPr id="13" name="Graphic 12">
            <a:extLst>
              <a:ext uri="{FF2B5EF4-FFF2-40B4-BE49-F238E27FC236}">
                <a16:creationId xmlns:a16="http://schemas.microsoft.com/office/drawing/2014/main" id="{1BA474F9-B22C-C040-A8F5-54032CC0E97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6803" y="341762"/>
            <a:ext cx="1623974" cy="338328"/>
          </a:xfrm>
          <a:prstGeom prst="rect">
            <a:avLst/>
          </a:prstGeom>
        </p:spPr>
      </p:pic>
      <p:sp>
        <p:nvSpPr>
          <p:cNvPr id="14" name="Text Placeholder 3">
            <a:extLst>
              <a:ext uri="{FF2B5EF4-FFF2-40B4-BE49-F238E27FC236}">
                <a16:creationId xmlns:a16="http://schemas.microsoft.com/office/drawing/2014/main" id="{BE2A3662-8B11-554F-91F3-6F854BB72FA3}"/>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5" name="Rectangle 14">
            <a:extLst>
              <a:ext uri="{FF2B5EF4-FFF2-40B4-BE49-F238E27FC236}">
                <a16:creationId xmlns:a16="http://schemas.microsoft.com/office/drawing/2014/main" id="{147B2DAB-CB78-D146-B818-52855D95EA0D}"/>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spTree>
    <p:extLst>
      <p:ext uri="{BB962C8B-B14F-4D97-AF65-F5344CB8AC3E}">
        <p14:creationId xmlns:p14="http://schemas.microsoft.com/office/powerpoint/2010/main" val="3642301597"/>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p:cSld name="COVERS JOINT BUSINES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1"/>
            </p:custDataLst>
            <p:extLst>
              <p:ext uri="{D42A27DB-BD31-4B8C-83A1-F6EECF244321}">
                <p14:modId xmlns:p14="http://schemas.microsoft.com/office/powerpoint/2010/main" val="248286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52E706-1FE4-5448-BF88-BDD1A5847DF0}"/>
              </a:ext>
            </a:extLst>
          </p:cNvPr>
          <p:cNvSpPr txBox="1"/>
          <p:nvPr/>
        </p:nvSpPr>
        <p:spPr>
          <a:xfrm>
            <a:off x="374977" y="1582341"/>
            <a:ext cx="10345781" cy="369331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Covers for a</a:t>
            </a:r>
          </a:p>
          <a:p>
            <a:pPr algn="l"/>
            <a:r>
              <a:rPr lang="en-US" sz="12000" b="1" i="0" dirty="0">
                <a:solidFill>
                  <a:schemeClr val="bg1"/>
                </a:solidFill>
                <a:latin typeface="Arial" panose="020B0604020202020204" pitchFamily="34" charset="0"/>
                <a:cs typeface="Arial" panose="020B0604020202020204" pitchFamily="34" charset="0"/>
              </a:rPr>
              <a:t>joint business</a:t>
            </a:r>
          </a:p>
        </p:txBody>
      </p:sp>
    </p:spTree>
    <p:extLst>
      <p:ext uri="{BB962C8B-B14F-4D97-AF65-F5344CB8AC3E}">
        <p14:creationId xmlns:p14="http://schemas.microsoft.com/office/powerpoint/2010/main" val="106167609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p:cSld name="Title slide A: stripe/log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5793"/>
            <a:ext cx="9365488" cy="1602882"/>
          </a:xfrm>
        </p:spPr>
        <p:txBody>
          <a:bodyPr vert="horz"/>
          <a:lstStyle>
            <a:lvl1pPr>
              <a:lnSpc>
                <a:spcPct val="90000"/>
              </a:lnSpc>
              <a:defRPr sz="6000" b="1" i="0" cap="none" baseline="0">
                <a:latin typeface="Arial" panose="020B0604020202020204" pitchFamily="34" charset="0"/>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60887"/>
            <a:ext cx="9310624"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8" name="Picture Placeholder 5">
            <a:extLst>
              <a:ext uri="{FF2B5EF4-FFF2-40B4-BE49-F238E27FC236}">
                <a16:creationId xmlns:a16="http://schemas.microsoft.com/office/drawing/2014/main" id="{6AA4DE2D-F68B-BB43-AF2C-40B2A7B333AD}"/>
              </a:ext>
            </a:extLst>
          </p:cNvPr>
          <p:cNvSpPr>
            <a:spLocks noGrp="1" noChangeAspect="1"/>
          </p:cNvSpPr>
          <p:nvPr>
            <p:ph type="pic" sz="quarter" idx="12" hasCustomPrompt="1"/>
          </p:nvPr>
        </p:nvSpPr>
        <p:spPr>
          <a:xfrm>
            <a:off x="2202227" y="341143"/>
            <a:ext cx="2863215" cy="342900"/>
          </a:xfrm>
          <a:noFill/>
        </p:spPr>
        <p:txBody>
          <a:bodyPr anchor="t" anchorCtr="0"/>
          <a:lstStyle>
            <a:lvl1pPr algn="l">
              <a:spcBef>
                <a:spcPts val="0"/>
              </a:spcBef>
              <a:spcAft>
                <a:spcPts val="0"/>
              </a:spcAft>
              <a:defRPr sz="1000" baseline="0">
                <a:solidFill>
                  <a:srgbClr val="FF0000"/>
                </a:solidFill>
              </a:defRPr>
            </a:lvl1pPr>
          </a:lstStyle>
          <a:p>
            <a:r>
              <a:rPr lang="en-US" dirty="0"/>
              <a:t>Placeholder for collaborator (MMC business) logo. </a:t>
            </a:r>
            <a:br>
              <a:rPr lang="en-US" dirty="0"/>
            </a:br>
            <a:r>
              <a:rPr lang="en-US" dirty="0"/>
              <a:t>Delete box if not used.</a:t>
            </a:r>
          </a:p>
        </p:txBody>
      </p:sp>
      <p:pic>
        <p:nvPicPr>
          <p:cNvPr id="11" name="Graphic 10">
            <a:extLst>
              <a:ext uri="{FF2B5EF4-FFF2-40B4-BE49-F238E27FC236}">
                <a16:creationId xmlns:a16="http://schemas.microsoft.com/office/drawing/2014/main" id="{4D8D969B-1ECE-2C44-8889-FF09503BD87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6803" y="341762"/>
            <a:ext cx="1623974" cy="338328"/>
          </a:xfrm>
          <a:prstGeom prst="rect">
            <a:avLst/>
          </a:prstGeom>
        </p:spPr>
      </p:pic>
      <p:sp>
        <p:nvSpPr>
          <p:cNvPr id="12" name="Picture Placeholder 5">
            <a:extLst>
              <a:ext uri="{FF2B5EF4-FFF2-40B4-BE49-F238E27FC236}">
                <a16:creationId xmlns:a16="http://schemas.microsoft.com/office/drawing/2014/main" id="{080A16FD-0635-534B-8EF0-AC82A24FE50A}"/>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sp>
        <p:nvSpPr>
          <p:cNvPr id="13" name="Text Placeholder 3">
            <a:extLst>
              <a:ext uri="{FF2B5EF4-FFF2-40B4-BE49-F238E27FC236}">
                <a16:creationId xmlns:a16="http://schemas.microsoft.com/office/drawing/2014/main" id="{7731C4F9-CCD2-1349-A6C5-1F63598D3F2C}"/>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779E8AEE-4750-3448-90BB-1CA12B7B33ED}"/>
              </a:ext>
            </a:extLst>
          </p:cNvPr>
          <p:cNvSpPr/>
          <p:nvPr/>
        </p:nvSpPr>
        <p:spPr>
          <a:xfrm>
            <a:off x="485775" y="6257135"/>
            <a:ext cx="1814599" cy="153888"/>
          </a:xfrm>
          <a:prstGeom prst="rect">
            <a:avLst/>
          </a:prstGeom>
        </p:spPr>
        <p:txBody>
          <a:bodyPr wrap="none" lIns="0" tIns="0" rIns="0" bIns="0">
            <a:spAutoFit/>
          </a:bodyPr>
          <a:lstStyle/>
          <a:p>
            <a:r>
              <a:rPr lang="en-US" sz="1000" dirty="0">
                <a:solidFill>
                  <a:schemeClr val="tx1"/>
                </a:solidFill>
                <a:effectLst/>
                <a:latin typeface="Arial" panose="020B0604020202020204" pitchFamily="34" charset="0"/>
              </a:rPr>
              <a:t>Businesses of Marsh McLennan</a:t>
            </a:r>
            <a:endParaRPr lang="en-US" sz="1000" dirty="0">
              <a:solidFill>
                <a:schemeClr val="tx1"/>
              </a:solidFill>
            </a:endParaRPr>
          </a:p>
        </p:txBody>
      </p:sp>
    </p:spTree>
    <p:extLst>
      <p:ext uri="{BB962C8B-B14F-4D97-AF65-F5344CB8AC3E}">
        <p14:creationId xmlns:p14="http://schemas.microsoft.com/office/powerpoint/2010/main" val="332429315"/>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p:cSld name="Title slide A: blue - stripe/logo">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extLst>
              <p:ext uri="{D42A27DB-BD31-4B8C-83A1-F6EECF244321}">
                <p14:modId xmlns:p14="http://schemas.microsoft.com/office/powerpoint/2010/main" val="6858612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sz="6000" b="1" i="0" cap="none" baseline="0">
                <a:solidFill>
                  <a:schemeClr val="bg1"/>
                </a:solidFill>
                <a:latin typeface="Arial" panose="020B0604020202020204" pitchFamily="34" charset="0"/>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a:p>
            <a:endParaRPr lang="en-US" dirty="0"/>
          </a:p>
        </p:txBody>
      </p:sp>
      <p:sp>
        <p:nvSpPr>
          <p:cNvPr id="10" name="Picture Placeholder 5">
            <a:extLst>
              <a:ext uri="{FF2B5EF4-FFF2-40B4-BE49-F238E27FC236}">
                <a16:creationId xmlns:a16="http://schemas.microsoft.com/office/drawing/2014/main" id="{CD55AD5D-7D50-4F42-A265-20F46833B070}"/>
              </a:ext>
            </a:extLst>
          </p:cNvPr>
          <p:cNvSpPr>
            <a:spLocks noGrp="1" noChangeAspect="1"/>
          </p:cNvSpPr>
          <p:nvPr>
            <p:ph type="pic" sz="quarter" idx="12" hasCustomPrompt="1"/>
          </p:nvPr>
        </p:nvSpPr>
        <p:spPr>
          <a:xfrm>
            <a:off x="2202227" y="341143"/>
            <a:ext cx="2863215" cy="342900"/>
          </a:xfrm>
          <a:noFill/>
        </p:spPr>
        <p:txBody>
          <a:bodyPr anchor="t" anchorCtr="0"/>
          <a:lstStyle>
            <a:lvl1pPr algn="l">
              <a:spcBef>
                <a:spcPts val="0"/>
              </a:spcBef>
              <a:spcAft>
                <a:spcPts val="0"/>
              </a:spcAft>
              <a:defRPr sz="1000">
                <a:solidFill>
                  <a:srgbClr val="FF0000"/>
                </a:solidFill>
              </a:defRPr>
            </a:lvl1pPr>
          </a:lstStyle>
          <a:p>
            <a:r>
              <a:rPr lang="en-US" dirty="0"/>
              <a:t>Placeholder for collaborator (MMC business) logo. </a:t>
            </a:r>
            <a:br>
              <a:rPr lang="en-US" dirty="0"/>
            </a:br>
            <a:r>
              <a:rPr lang="en-US" dirty="0"/>
              <a:t>Delete box if not used.</a:t>
            </a:r>
          </a:p>
        </p:txBody>
      </p:sp>
      <p:pic>
        <p:nvPicPr>
          <p:cNvPr id="11" name="Graphic 10">
            <a:extLst>
              <a:ext uri="{FF2B5EF4-FFF2-40B4-BE49-F238E27FC236}">
                <a16:creationId xmlns:a16="http://schemas.microsoft.com/office/drawing/2014/main" id="{8592E6A1-8C6D-B446-81B7-94340E3547D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047A2875-C8A1-A446-8F58-D4B2DE1E532B}"/>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sp>
        <p:nvSpPr>
          <p:cNvPr id="14" name="Text Placeholder 3">
            <a:extLst>
              <a:ext uri="{FF2B5EF4-FFF2-40B4-BE49-F238E27FC236}">
                <a16:creationId xmlns:a16="http://schemas.microsoft.com/office/drawing/2014/main" id="{2E6207F1-15CB-6546-A549-DF244E46D6F3}"/>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5" name="Rectangle 14">
            <a:extLst>
              <a:ext uri="{FF2B5EF4-FFF2-40B4-BE49-F238E27FC236}">
                <a16:creationId xmlns:a16="http://schemas.microsoft.com/office/drawing/2014/main" id="{35F05B11-D474-A04D-8E61-5AEFD7224969}"/>
              </a:ext>
            </a:extLst>
          </p:cNvPr>
          <p:cNvSpPr/>
          <p:nvPr/>
        </p:nvSpPr>
        <p:spPr>
          <a:xfrm>
            <a:off x="485775" y="6257135"/>
            <a:ext cx="1814599"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Businesses of Marsh McLennan</a:t>
            </a:r>
            <a:endParaRPr lang="en-US" sz="1000" dirty="0">
              <a:solidFill>
                <a:schemeClr val="bg1"/>
              </a:solidFill>
            </a:endParaRPr>
          </a:p>
        </p:txBody>
      </p:sp>
    </p:spTree>
    <p:extLst>
      <p:ext uri="{BB962C8B-B14F-4D97-AF65-F5344CB8AC3E}">
        <p14:creationId xmlns:p14="http://schemas.microsoft.com/office/powerpoint/2010/main" val="53025146"/>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p:cSld name="AGENDA + CONTENT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extLst>
              <p:ext uri="{D42A27DB-BD31-4B8C-83A1-F6EECF244321}">
                <p14:modId xmlns:p14="http://schemas.microsoft.com/office/powerpoint/2010/main" val="9489628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5064E14D-7EB8-984D-B09A-CDFF8DFEAAB9}"/>
              </a:ext>
            </a:extLst>
          </p:cNvPr>
          <p:cNvSpPr txBox="1"/>
          <p:nvPr/>
        </p:nvSpPr>
        <p:spPr>
          <a:xfrm>
            <a:off x="374977" y="1582341"/>
            <a:ext cx="7824258" cy="369331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Agendas +</a:t>
            </a:r>
          </a:p>
          <a:p>
            <a:pPr algn="l"/>
            <a:r>
              <a:rPr lang="en-US" sz="12000" b="1" i="0" dirty="0">
                <a:solidFill>
                  <a:schemeClr val="bg1"/>
                </a:solidFill>
                <a:latin typeface="Arial" panose="020B0604020202020204" pitchFamily="34" charset="0"/>
                <a:cs typeface="Arial" panose="020B0604020202020204" pitchFamily="34" charset="0"/>
              </a:rPr>
              <a:t>Contents</a:t>
            </a:r>
          </a:p>
        </p:txBody>
      </p:sp>
    </p:spTree>
    <p:extLst>
      <p:ext uri="{BB962C8B-B14F-4D97-AF65-F5344CB8AC3E}">
        <p14:creationId xmlns:p14="http://schemas.microsoft.com/office/powerpoint/2010/main" val="326405372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extLst>
              <p:ext uri="{D42A27DB-BD31-4B8C-83A1-F6EECF244321}">
                <p14:modId xmlns:p14="http://schemas.microsoft.com/office/powerpoint/2010/main" val="29252416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1950"/>
            <a:ext cx="5495925" cy="5759450"/>
          </a:xfrm>
        </p:spPr>
        <p:txBody>
          <a:bodyPr/>
          <a:lstStyle>
            <a:lvl1pPr marL="233363" indent="-233363">
              <a:lnSpc>
                <a:spcPct val="90000"/>
              </a:lnSpc>
              <a:spcBef>
                <a:spcPts val="600"/>
              </a:spcBef>
              <a:buFont typeface="+mj-lt"/>
              <a:buAutoNum type="arabicPeriod"/>
              <a:tabLst/>
              <a:defRPr/>
            </a:lvl1pPr>
            <a:lvl2pPr marL="461963" indent="-230188">
              <a:buFont typeface="Arial" panose="020B0604020202020204" pitchFamily="34" charset="0"/>
              <a:buChar char="•"/>
              <a:defRPr baseline="0"/>
            </a:lvl2pPr>
            <a:lvl3pPr marL="685800" indent="-228600">
              <a:defRPr baseline="0"/>
            </a:lvl3pPr>
            <a:lvl4pPr marL="914400" indent="-228600">
              <a:defRPr baseline="0"/>
            </a:lvl4pPr>
            <a:lvl5pPr marL="1143000" indent="-228600">
              <a:defRPr baseline="0"/>
            </a:lvl5pPr>
            <a:lvl6pPr marL="1371600" indent="-227013">
              <a:defRPr baseline="0"/>
            </a:lvl6pPr>
            <a:lvl7pPr marL="1600200" indent="-228600">
              <a:defRPr baseline="0"/>
            </a:lvl7pPr>
            <a:lvl8pPr marL="1828800" indent="-227013">
              <a:defRPr/>
            </a:lvl8pPr>
            <a:lvl9pPr marL="1828800" indent="0">
              <a:buFont typeface="Arial" panose="020B0604020202020204" pitchFamily="34" charset="0"/>
              <a:buNone/>
              <a:defRPr baseline="0"/>
            </a:lvl9pPr>
          </a:lstStyle>
          <a:p>
            <a:pPr lvl="0"/>
            <a:r>
              <a:rPr lang="en-US" dirty="0"/>
              <a:t>Click to add topic</a:t>
            </a:r>
          </a:p>
        </p:txBody>
      </p:sp>
      <p:sp>
        <p:nvSpPr>
          <p:cNvPr id="7"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85775" y="4901386"/>
            <a:ext cx="11223626" cy="1846659"/>
          </a:xfrm>
        </p:spPr>
        <p:txBody>
          <a:bodyPr vert="horz" wrap="square">
            <a:spAutoFit/>
          </a:bodyPr>
          <a:lstStyle>
            <a:lvl1pPr algn="r">
              <a:lnSpc>
                <a:spcPct val="100000"/>
              </a:lnSpc>
              <a:defRPr sz="12000"/>
            </a:lvl1pPr>
          </a:lstStyle>
          <a:p>
            <a:r>
              <a:rPr lang="en-US" dirty="0"/>
              <a:t>Add title</a:t>
            </a:r>
          </a:p>
        </p:txBody>
      </p:sp>
    </p:spTree>
    <p:extLst>
      <p:ext uri="{BB962C8B-B14F-4D97-AF65-F5344CB8AC3E}">
        <p14:creationId xmlns:p14="http://schemas.microsoft.com/office/powerpoint/2010/main" val="2541212866"/>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Agenda: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extLst>
              <p:ext uri="{D42A27DB-BD31-4B8C-83A1-F6EECF244321}">
                <p14:modId xmlns:p14="http://schemas.microsoft.com/office/powerpoint/2010/main" val="24102159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1950"/>
            <a:ext cx="5495925" cy="5759450"/>
          </a:xfrm>
        </p:spPr>
        <p:txBody>
          <a:bodyPr/>
          <a:lstStyle>
            <a:lvl1pPr marL="233363" indent="-233363">
              <a:lnSpc>
                <a:spcPct val="90000"/>
              </a:lnSpc>
              <a:spcBef>
                <a:spcPts val="600"/>
              </a:spcBef>
              <a:buFont typeface="+mj-lt"/>
              <a:buAutoNum type="arabicPeriod"/>
              <a:tabLst/>
              <a:defRPr>
                <a:solidFill>
                  <a:schemeClr val="bg1"/>
                </a:solidFill>
              </a:defRPr>
            </a:lvl1pPr>
            <a:lvl2pPr marL="512763" indent="-285750">
              <a:buFont typeface="Arial" panose="020B0604020202020204" pitchFamily="34" charset="0"/>
              <a:buChar char="•"/>
              <a:defRPr>
                <a:solidFill>
                  <a:schemeClr val="bg1"/>
                </a:solidFill>
              </a:defRPr>
            </a:lvl2pPr>
            <a:lvl3pPr marL="685800" indent="-228600">
              <a:defRPr>
                <a:solidFill>
                  <a:schemeClr val="bg1"/>
                </a:solidFill>
              </a:defRPr>
            </a:lvl3pPr>
            <a:lvl4pPr marL="914400" indent="-228600">
              <a:defRPr>
                <a:solidFill>
                  <a:schemeClr val="bg1"/>
                </a:solidFill>
              </a:defRPr>
            </a:lvl4pPr>
            <a:lvl5pPr marL="1143000" indent="-228600">
              <a:defRPr baseline="0">
                <a:solidFill>
                  <a:schemeClr val="bg1"/>
                </a:solidFill>
              </a:defRPr>
            </a:lvl5pPr>
            <a:lvl6pPr marL="1371600" indent="-227013">
              <a:defRPr baseline="0">
                <a:solidFill>
                  <a:schemeClr val="bg1"/>
                </a:solidFill>
              </a:defRPr>
            </a:lvl6pPr>
            <a:lvl7pPr marL="1600200" indent="-228600">
              <a:defRPr baseline="0">
                <a:solidFill>
                  <a:schemeClr val="bg1"/>
                </a:solidFill>
              </a:defRPr>
            </a:lvl7pPr>
            <a:lvl8pPr marL="1828800" indent="-227013">
              <a:defRPr baseline="0">
                <a:solidFill>
                  <a:schemeClr val="bg1"/>
                </a:solidFill>
              </a:defRPr>
            </a:lvl8pPr>
            <a:lvl9pPr marL="2057400" indent="-219075">
              <a:defRPr baseline="0">
                <a:solidFill>
                  <a:schemeClr val="bg1"/>
                </a:solidFill>
              </a:defRPr>
            </a:lvl9pPr>
          </a:lstStyle>
          <a:p>
            <a:pPr lvl="0"/>
            <a:r>
              <a:rPr lang="en-US" dirty="0"/>
              <a:t>Click to add topic</a:t>
            </a:r>
          </a:p>
        </p:txBody>
      </p:sp>
      <p:sp>
        <p:nvSpPr>
          <p:cNvPr id="7"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85775" y="4901386"/>
            <a:ext cx="11223626" cy="1846659"/>
          </a:xfrm>
        </p:spPr>
        <p:txBody>
          <a:bodyPr vert="horz" wrap="square">
            <a:spAutoFit/>
          </a:bodyPr>
          <a:lstStyle>
            <a:lvl1pPr algn="r">
              <a:lnSpc>
                <a:spcPct val="100000"/>
              </a:lnSpc>
              <a:defRPr sz="12000">
                <a:solidFill>
                  <a:schemeClr val="bg1"/>
                </a:solidFill>
              </a:defRPr>
            </a:lvl1pPr>
          </a:lstStyle>
          <a:p>
            <a:r>
              <a:rPr lang="en-US" dirty="0"/>
              <a:t>Add title</a:t>
            </a:r>
          </a:p>
        </p:txBody>
      </p:sp>
    </p:spTree>
    <p:extLst>
      <p:ext uri="{BB962C8B-B14F-4D97-AF65-F5344CB8AC3E}">
        <p14:creationId xmlns:p14="http://schemas.microsoft.com/office/powerpoint/2010/main" val="1242382218"/>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p:cSld name="DIVID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5064E14D-7EB8-984D-B09A-CDFF8DFEAAB9}"/>
              </a:ext>
            </a:extLst>
          </p:cNvPr>
          <p:cNvSpPr txBox="1"/>
          <p:nvPr/>
        </p:nvSpPr>
        <p:spPr>
          <a:xfrm>
            <a:off x="374977" y="2505671"/>
            <a:ext cx="6073779" cy="184665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Dividers</a:t>
            </a:r>
          </a:p>
        </p:txBody>
      </p:sp>
    </p:spTree>
    <p:extLst>
      <p:ext uri="{BB962C8B-B14F-4D97-AF65-F5344CB8AC3E}">
        <p14:creationId xmlns:p14="http://schemas.microsoft.com/office/powerpoint/2010/main" val="29922646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x">
  <p:cSld name="Title slide A: stripe/logo">
    <p:bg>
      <p:bgPr>
        <a:solidFill>
          <a:srgbClr val="FFFFFF"/>
        </a:solidFill>
        <a:effectLst/>
      </p:bgPr>
    </p:bg>
    <p:spTree>
      <p:nvGrpSpPr>
        <p:cNvPr id="1" name=""/>
        <p:cNvGrpSpPr/>
        <p:nvPr/>
      </p:nvGrpSpPr>
      <p:grpSpPr>
        <a:xfrm>
          <a:off x="0" y="0"/>
          <a:ext cx="0" cy="0"/>
          <a:chOff x="0" y="0"/>
          <a:chExt cx="0" cy="0"/>
        </a:xfrm>
      </p:grpSpPr>
      <p:pic>
        <p:nvPicPr>
          <p:cNvPr id="381" name="image2.png"/>
          <p:cNvPicPr>
            <a:picLocks noChangeAspect="1"/>
          </p:cNvPicPr>
          <p:nvPr/>
        </p:nvPicPr>
        <p:blipFill>
          <a:blip r:embed="rId2"/>
          <a:stretch>
            <a:fillRect/>
          </a:stretch>
        </p:blipFill>
        <p:spPr>
          <a:xfrm>
            <a:off x="486802" y="341761"/>
            <a:ext cx="1623976" cy="338329"/>
          </a:xfrm>
          <a:prstGeom prst="rect">
            <a:avLst/>
          </a:prstGeom>
          <a:ln w="12700">
            <a:miter lim="400000"/>
          </a:ln>
        </p:spPr>
      </p:pic>
      <p:sp>
        <p:nvSpPr>
          <p:cNvPr id="382" name="Shape 382"/>
          <p:cNvSpPr/>
          <p:nvPr/>
        </p:nvSpPr>
        <p:spPr>
          <a:xfrm>
            <a:off x="485775" y="6257135"/>
            <a:ext cx="1819846" cy="1397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lvl1pPr>
              <a:defRPr sz="1000"/>
            </a:lvl1pPr>
          </a:lstStyle>
          <a:p>
            <a:r>
              <a:t>Businesses of Marsh McLennan</a:t>
            </a:r>
          </a:p>
        </p:txBody>
      </p:sp>
      <p:sp>
        <p:nvSpPr>
          <p:cNvPr id="383" name="Shape 383"/>
          <p:cNvSpPr>
            <a:spLocks noGrp="1"/>
          </p:cNvSpPr>
          <p:nvPr>
            <p:ph type="pic" sz="quarter" idx="13"/>
          </p:nvPr>
        </p:nvSpPr>
        <p:spPr>
          <a:xfrm>
            <a:off x="2202227" y="341143"/>
            <a:ext cx="2863215" cy="342901"/>
          </a:xfrm>
          <a:prstGeom prst="rect">
            <a:avLst/>
          </a:prstGeom>
        </p:spPr>
        <p:txBody>
          <a:bodyPr lIns="91439" tIns="45719" rIns="91439" bIns="45719"/>
          <a:lstStyle/>
          <a:p>
            <a:endParaRPr/>
          </a:p>
        </p:txBody>
      </p:sp>
      <p:sp>
        <p:nvSpPr>
          <p:cNvPr id="384" name="Shape 384"/>
          <p:cNvSpPr>
            <a:spLocks noGrp="1"/>
          </p:cNvSpPr>
          <p:nvPr>
            <p:ph type="pic" sz="quarter" idx="14"/>
          </p:nvPr>
        </p:nvSpPr>
        <p:spPr>
          <a:xfrm>
            <a:off x="8133618" y="361950"/>
            <a:ext cx="3575783" cy="495301"/>
          </a:xfrm>
          <a:prstGeom prst="rect">
            <a:avLst/>
          </a:prstGeom>
        </p:spPr>
        <p:txBody>
          <a:bodyPr lIns="91439" tIns="45719" rIns="91439" bIns="45719"/>
          <a:lstStyle/>
          <a:p>
            <a:endParaRPr/>
          </a:p>
        </p:txBody>
      </p:sp>
      <p:sp>
        <p:nvSpPr>
          <p:cNvPr id="385" name="Shape 385"/>
          <p:cNvSpPr>
            <a:spLocks noGrp="1"/>
          </p:cNvSpPr>
          <p:nvPr>
            <p:ph type="body" sz="quarter" idx="15"/>
          </p:nvPr>
        </p:nvSpPr>
        <p:spPr>
          <a:xfrm>
            <a:off x="485775" y="4870889"/>
            <a:ext cx="7400925" cy="1038526"/>
          </a:xfrm>
          <a:prstGeom prst="rect">
            <a:avLst/>
          </a:prstGeom>
        </p:spPr>
        <p:txBody>
          <a:bodyPr anchor="b"/>
          <a:lstStyle>
            <a:lvl1pPr>
              <a:spcBef>
                <a:spcPts val="0"/>
              </a:spcBef>
              <a:defRPr sz="1400"/>
            </a:lvl1pPr>
          </a:lstStyle>
          <a:p>
            <a:r>
              <a:t> </a:t>
            </a:r>
          </a:p>
        </p:txBody>
      </p:sp>
      <p:sp>
        <p:nvSpPr>
          <p:cNvPr id="386" name="Shape 386"/>
          <p:cNvSpPr>
            <a:spLocks noGrp="1"/>
          </p:cNvSpPr>
          <p:nvPr>
            <p:ph type="title"/>
          </p:nvPr>
        </p:nvSpPr>
        <p:spPr>
          <a:xfrm>
            <a:off x="448437" y="1765792"/>
            <a:ext cx="9365489" cy="1602883"/>
          </a:xfrm>
          <a:prstGeom prst="rect">
            <a:avLst/>
          </a:prstGeom>
        </p:spPr>
        <p:txBody>
          <a:bodyPr>
            <a:normAutofit/>
          </a:bodyPr>
          <a:lstStyle>
            <a:lvl1pPr>
              <a:lnSpc>
                <a:spcPct val="90000"/>
              </a:lnSpc>
              <a:defRPr sz="6000"/>
            </a:lvl1pPr>
          </a:lstStyle>
          <a:p>
            <a:r>
              <a:t>Texto del título</a:t>
            </a:r>
          </a:p>
        </p:txBody>
      </p:sp>
      <p:sp>
        <p:nvSpPr>
          <p:cNvPr id="387" name="Shape 387"/>
          <p:cNvSpPr>
            <a:spLocks noGrp="1"/>
          </p:cNvSpPr>
          <p:nvPr>
            <p:ph type="body" sz="quarter" idx="1"/>
          </p:nvPr>
        </p:nvSpPr>
        <p:spPr>
          <a:xfrm>
            <a:off x="462026" y="3560886"/>
            <a:ext cx="9310624" cy="807914"/>
          </a:xfrm>
          <a:prstGeom prst="rect">
            <a:avLst/>
          </a:prstGeom>
        </p:spPr>
        <p:txBody>
          <a:bodyPr>
            <a:normAutofit/>
          </a:bodyPr>
          <a:lstStyle>
            <a:lvl1pPr>
              <a:defRPr sz="2400">
                <a:solidFill>
                  <a:srgbClr val="002C77"/>
                </a:solidFill>
              </a:defRPr>
            </a:lvl1pPr>
            <a:lvl2pPr marL="0" indent="457200">
              <a:buSzTx/>
              <a:buNone/>
              <a:defRPr sz="2400">
                <a:solidFill>
                  <a:srgbClr val="002C77"/>
                </a:solidFill>
              </a:defRPr>
            </a:lvl2pPr>
            <a:lvl3pPr marL="0" indent="914400">
              <a:buSzTx/>
              <a:buNone/>
              <a:defRPr sz="2400">
                <a:solidFill>
                  <a:srgbClr val="002C77"/>
                </a:solidFill>
              </a:defRPr>
            </a:lvl3pPr>
            <a:lvl4pPr marL="0" indent="1371600">
              <a:buSzTx/>
              <a:buNone/>
              <a:defRPr sz="2400">
                <a:solidFill>
                  <a:srgbClr val="002C77"/>
                </a:solidFill>
              </a:defRPr>
            </a:lvl4pPr>
            <a:lvl5pPr marL="0" indent="1828800">
              <a:buSzTx/>
              <a:buNone/>
              <a:defRPr sz="2400">
                <a:solidFill>
                  <a:srgbClr val="002C77"/>
                </a:solidFill>
              </a:defRPr>
            </a:lvl5pPr>
          </a:lstStyle>
          <a:p>
            <a:r>
              <a:t>Nivel de texto 1</a:t>
            </a:r>
          </a:p>
          <a:p>
            <a:pPr lvl="1"/>
            <a:r>
              <a:t>Nivel de texto 2</a:t>
            </a:r>
          </a:p>
          <a:p>
            <a:pPr lvl="2"/>
            <a:r>
              <a:t>Nivel de texto 3</a:t>
            </a:r>
          </a:p>
          <a:p>
            <a:pPr lvl="3"/>
            <a:r>
              <a:t>Nivel de texto 4</a:t>
            </a:r>
          </a:p>
          <a:p>
            <a:pPr lvl="4"/>
            <a:r>
              <a:t>Nivel de texto 5</a:t>
            </a:r>
          </a:p>
        </p:txBody>
      </p:sp>
      <p:sp>
        <p:nvSpPr>
          <p:cNvPr id="388" name="Shape 388"/>
          <p:cNvSpPr>
            <a:spLocks noGrp="1"/>
          </p:cNvSpPr>
          <p:nvPr>
            <p:ph type="sldNum" sz="quarter" idx="2"/>
          </p:nvPr>
        </p:nvSpPr>
        <p:spPr>
          <a:prstGeom prst="rect">
            <a:avLst/>
          </a:prstGeom>
        </p:spPr>
        <p:txBody>
          <a:bodyPr/>
          <a:lstStyle/>
          <a:p>
            <a:fld id="{86CB4B4D-7CA3-9044-876B-883B54F8677D}" type="slidenum">
              <a:t>‹Nº›</a:t>
            </a:fld>
            <a:endParaRPr/>
          </a:p>
        </p:txBody>
      </p:sp>
    </p:spTree>
  </p:cSld>
  <p:clrMapOvr>
    <a:masterClrMapping/>
  </p:clrMapOvr>
  <p:transition spd="med"/>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1"/>
            </p:custDataLst>
            <p:extLst>
              <p:ext uri="{D42A27DB-BD31-4B8C-83A1-F6EECF244321}">
                <p14:modId xmlns:p14="http://schemas.microsoft.com/office/powerpoint/2010/main" val="19102434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1"/>
          <p:cNvSpPr>
            <a:spLocks noGrp="1"/>
          </p:cNvSpPr>
          <p:nvPr>
            <p:ph type="title" hasCustomPrompt="1"/>
          </p:nvPr>
        </p:nvSpPr>
        <p:spPr>
          <a:xfrm>
            <a:off x="482600" y="265694"/>
            <a:ext cx="8356600" cy="5855705"/>
          </a:xfrm>
        </p:spPr>
        <p:txBody>
          <a:bodyPr/>
          <a:lstStyle>
            <a:lvl1pPr>
              <a:lnSpc>
                <a:spcPct val="90000"/>
              </a:lnSpc>
              <a:defRPr sz="5400"/>
            </a:lvl1pPr>
          </a:lstStyle>
          <a:p>
            <a:pPr lvl="0"/>
            <a:r>
              <a:rPr lang="en-US" dirty="0"/>
              <a:t>This slide is for </a:t>
            </a:r>
            <a:br>
              <a:rPr lang="en-US" dirty="0"/>
            </a:br>
            <a:r>
              <a:rPr lang="en-US" dirty="0"/>
              <a:t>divider, statement </a:t>
            </a:r>
            <a:br>
              <a:rPr lang="en-US" dirty="0"/>
            </a:br>
            <a:r>
              <a:rPr lang="en-US" dirty="0"/>
              <a:t>or takeaway.</a:t>
            </a:r>
          </a:p>
        </p:txBody>
      </p:sp>
    </p:spTree>
    <p:extLst>
      <p:ext uri="{BB962C8B-B14F-4D97-AF65-F5344CB8AC3E}">
        <p14:creationId xmlns:p14="http://schemas.microsoft.com/office/powerpoint/2010/main" val="2796135709"/>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1"/>
            </p:custDataLst>
            <p:extLst>
              <p:ext uri="{D42A27DB-BD31-4B8C-83A1-F6EECF244321}">
                <p14:modId xmlns:p14="http://schemas.microsoft.com/office/powerpoint/2010/main" val="28874665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1"/>
          <p:cNvSpPr>
            <a:spLocks noGrp="1"/>
          </p:cNvSpPr>
          <p:nvPr>
            <p:ph type="title" hasCustomPrompt="1"/>
          </p:nvPr>
        </p:nvSpPr>
        <p:spPr>
          <a:xfrm>
            <a:off x="482600" y="265694"/>
            <a:ext cx="8356600" cy="5855705"/>
          </a:xfrm>
        </p:spPr>
        <p:txBody>
          <a:bodyPr/>
          <a:lstStyle>
            <a:lvl1pPr>
              <a:lnSpc>
                <a:spcPct val="90000"/>
              </a:lnSpc>
              <a:defRPr sz="5400">
                <a:solidFill>
                  <a:schemeClr val="bg1"/>
                </a:solidFill>
              </a:defRPr>
            </a:lvl1pPr>
          </a:lstStyle>
          <a:p>
            <a:pPr lvl="0"/>
            <a:r>
              <a:rPr lang="en-US" dirty="0"/>
              <a:t>This slide is for </a:t>
            </a:r>
            <a:br>
              <a:rPr lang="en-US" dirty="0"/>
            </a:br>
            <a:r>
              <a:rPr lang="en-US" dirty="0"/>
              <a:t>divider, statement </a:t>
            </a:r>
            <a:br>
              <a:rPr lang="en-US" dirty="0"/>
            </a:br>
            <a:r>
              <a:rPr lang="en-US" dirty="0"/>
              <a:t>or takeaway.</a:t>
            </a:r>
          </a:p>
        </p:txBody>
      </p:sp>
    </p:spTree>
    <p:extLst>
      <p:ext uri="{BB962C8B-B14F-4D97-AF65-F5344CB8AC3E}">
        <p14:creationId xmlns:p14="http://schemas.microsoft.com/office/powerpoint/2010/main" val="4083743309"/>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Divider: gradient teal">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Title 1"/>
          <p:cNvSpPr>
            <a:spLocks noGrp="1"/>
          </p:cNvSpPr>
          <p:nvPr>
            <p:ph type="title" hasCustomPrompt="1"/>
          </p:nvPr>
        </p:nvSpPr>
        <p:spPr>
          <a:xfrm>
            <a:off x="482600" y="265694"/>
            <a:ext cx="8356600" cy="5855705"/>
          </a:xfrm>
        </p:spPr>
        <p:txBody>
          <a:bodyPr/>
          <a:lstStyle>
            <a:lvl1pPr>
              <a:lnSpc>
                <a:spcPct val="90000"/>
              </a:lnSpc>
              <a:defRPr sz="5400">
                <a:solidFill>
                  <a:schemeClr val="bg1"/>
                </a:solidFill>
              </a:defRPr>
            </a:lvl1pPr>
          </a:lstStyle>
          <a:p>
            <a:pPr lvl="0"/>
            <a:r>
              <a:rPr lang="en-US" dirty="0"/>
              <a:t>This slide is for </a:t>
            </a:r>
            <a:br>
              <a:rPr lang="en-US" dirty="0"/>
            </a:br>
            <a:r>
              <a:rPr lang="en-US" dirty="0"/>
              <a:t>divider, statement </a:t>
            </a:r>
            <a:br>
              <a:rPr lang="en-US" dirty="0"/>
            </a:br>
            <a:r>
              <a:rPr lang="en-US" dirty="0"/>
              <a:t>or takeaway.</a:t>
            </a:r>
          </a:p>
        </p:txBody>
      </p:sp>
    </p:spTree>
    <p:extLst>
      <p:ext uri="{BB962C8B-B14F-4D97-AF65-F5344CB8AC3E}">
        <p14:creationId xmlns:p14="http://schemas.microsoft.com/office/powerpoint/2010/main" val="2839228635"/>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p:cSld name="BIOS + PRESENT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extLst>
              <p:ext uri="{D42A27DB-BD31-4B8C-83A1-F6EECF244321}">
                <p14:modId xmlns:p14="http://schemas.microsoft.com/office/powerpoint/2010/main" val="32561160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54EA0D7-47B3-5149-B51A-CABC5742FBE7}"/>
              </a:ext>
            </a:extLst>
          </p:cNvPr>
          <p:cNvSpPr txBox="1"/>
          <p:nvPr/>
        </p:nvSpPr>
        <p:spPr>
          <a:xfrm>
            <a:off x="374977" y="1582341"/>
            <a:ext cx="7870744" cy="369331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Bios</a:t>
            </a:r>
            <a:r>
              <a:rPr lang="en-US" sz="12000" b="1" i="0" baseline="0" dirty="0">
                <a:solidFill>
                  <a:schemeClr val="bg1"/>
                </a:solidFill>
                <a:latin typeface="Arial" panose="020B0604020202020204" pitchFamily="34" charset="0"/>
                <a:cs typeface="Arial" panose="020B0604020202020204" pitchFamily="34" charset="0"/>
              </a:rPr>
              <a:t> + </a:t>
            </a:r>
          </a:p>
          <a:p>
            <a:pPr algn="l"/>
            <a:r>
              <a:rPr lang="en-US" sz="12000" b="1" i="0" baseline="0" dirty="0">
                <a:solidFill>
                  <a:schemeClr val="bg1"/>
                </a:solidFill>
                <a:latin typeface="Arial" panose="020B0604020202020204" pitchFamily="34" charset="0"/>
                <a:cs typeface="Arial" panose="020B0604020202020204" pitchFamily="34" charset="0"/>
              </a:rPr>
              <a:t>presenter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43490634"/>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1 Squar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extLst>
              <p:ext uri="{D42A27DB-BD31-4B8C-83A1-F6EECF244321}">
                <p14:modId xmlns:p14="http://schemas.microsoft.com/office/powerpoint/2010/main" val="33025800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3578224" cy="3578224"/>
          </a:xfrm>
          <a:prstGeom prst="rect">
            <a:avLst/>
          </a:prstGeom>
          <a:solidFill>
            <a:srgbClr val="F0F0F0"/>
          </a:solidFill>
        </p:spPr>
        <p:txBody>
          <a:bodyPr/>
          <a:lstStyle>
            <a:lvl1pPr algn="l">
              <a:defRPr sz="1200" baseline="0">
                <a:solidFill>
                  <a:srgbClr val="FF0000"/>
                </a:solidFill>
              </a:defRPr>
            </a:lvl1pPr>
          </a:lstStyle>
          <a:p>
            <a:r>
              <a:rPr lang="en-US" dirty="0"/>
              <a:t>Click icon to add picture. Use “Crop” feature on “Format” tab to resize or reposition picture once added. Reset slide layout if needed.</a:t>
            </a:r>
          </a:p>
        </p:txBody>
      </p:sp>
      <p:sp>
        <p:nvSpPr>
          <p:cNvPr id="11" name="Subtitle 2">
            <a:extLst>
              <a:ext uri="{FF2B5EF4-FFF2-40B4-BE49-F238E27FC236}">
                <a16:creationId xmlns:a16="http://schemas.microsoft.com/office/drawing/2014/main" id="{8FB48F80-0958-024B-9A43-F726B5006EF6}"/>
              </a:ext>
            </a:extLst>
          </p:cNvPr>
          <p:cNvSpPr>
            <a:spLocks noGrp="1"/>
          </p:cNvSpPr>
          <p:nvPr>
            <p:ph type="subTitle" idx="1" hasCustomPrompt="1"/>
          </p:nvPr>
        </p:nvSpPr>
        <p:spPr>
          <a:xfrm>
            <a:off x="4312994" y="1557463"/>
            <a:ext cx="7396407" cy="318476"/>
          </a:xfrm>
        </p:spPr>
        <p:txBody>
          <a:bodyPr anchor="t"/>
          <a:lstStyle>
            <a:lvl1pPr marL="0" indent="0" algn="l">
              <a:spcBef>
                <a:spcPts val="0"/>
              </a:spcBef>
              <a:spcAft>
                <a:spcPts val="0"/>
              </a:spcAft>
              <a:buNone/>
              <a:defRPr sz="18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4312994" y="2308118"/>
            <a:ext cx="7396406" cy="3813282"/>
          </a:xfrm>
        </p:spPr>
        <p:txBody>
          <a:bodyPr/>
          <a:lstStyle>
            <a:lvl1pPr>
              <a:defRPr sz="1500"/>
            </a:lvl1pPr>
            <a:lvl2pPr>
              <a:spcBef>
                <a:spcPts val="600"/>
              </a:spcBef>
              <a:defRPr sz="1500"/>
            </a:lvl2pPr>
            <a:lvl3pPr>
              <a:defRPr sz="1500"/>
            </a:lvl3pPr>
            <a:lvl4pPr>
              <a:defRPr sz="1500"/>
            </a:lvl4pPr>
            <a:lvl5pPr>
              <a:defRPr sz="1500"/>
            </a:lvl5pPr>
            <a:lvl6pPr>
              <a:defRPr/>
            </a:lvl6pPr>
            <a:lvl7pPr>
              <a:defRPr/>
            </a:lvl7pPr>
            <a:lvl8pPr>
              <a:defRPr/>
            </a:lvl8pPr>
          </a:lstStyle>
          <a:p>
            <a:pPr lvl="0"/>
            <a:r>
              <a:rPr lang="en-US"/>
              <a:t>Edit Master text styles</a:t>
            </a:r>
          </a:p>
          <a:p>
            <a:pPr lvl="1"/>
            <a:r>
              <a:rPr lang="en-US"/>
              <a:t>Second level</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4312995" y="1875118"/>
            <a:ext cx="7396406"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9" name="Title 1">
            <a:extLst>
              <a:ext uri="{FF2B5EF4-FFF2-40B4-BE49-F238E27FC236}">
                <a16:creationId xmlns:a16="http://schemas.microsoft.com/office/drawing/2014/main" id="{07528AAB-5505-3B4E-8BF6-F6444612DEDF}"/>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D0AFCE9C-2323-C542-8AB3-51D29AAD0400}"/>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45982787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2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extLst>
              <p:ext uri="{D42A27DB-BD31-4B8C-83A1-F6EECF244321}">
                <p14:modId xmlns:p14="http://schemas.microsoft.com/office/powerpoint/2010/main" val="41775710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F1E2AC-3027-3048-8FE1-F9832E4FA9E1}"/>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6" name="Text Placeholder 3">
            <a:extLst>
              <a:ext uri="{FF2B5EF4-FFF2-40B4-BE49-F238E27FC236}">
                <a16:creationId xmlns:a16="http://schemas.microsoft.com/office/drawing/2014/main" id="{478E7F30-C13D-CC4E-B648-9CE1EDF3C6B8}"/>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224" cy="1704974"/>
          </a:xfrm>
          <a:prstGeom prst="rect">
            <a:avLst/>
          </a:prstGeom>
          <a:solidFill>
            <a:srgbClr val="F0F0F0"/>
          </a:solidFill>
        </p:spPr>
        <p:txBody>
          <a:bodyPr/>
          <a:lstStyle>
            <a:lvl1pPr algn="l">
              <a:defRPr sz="1200" baseline="0">
                <a:solidFill>
                  <a:srgbClr val="FF0000"/>
                </a:solidFill>
              </a:defRPr>
            </a:lvl1pPr>
          </a:lstStyle>
          <a:p>
            <a:r>
              <a:rPr lang="en-US" dirty="0"/>
              <a:t>Click icon to add picture. Use “Crop” feature on “Format” tab to resize or reposition picture once added. Reset slide layout if needed.</a:t>
            </a:r>
          </a:p>
        </p:txBody>
      </p:sp>
      <p:sp>
        <p:nvSpPr>
          <p:cNvPr id="13"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6217381" y="1620838"/>
            <a:ext cx="1669319"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6226174" y="3548674"/>
            <a:ext cx="5495924"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485777" y="3548674"/>
            <a:ext cx="5495924"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6226176" y="4319152"/>
            <a:ext cx="5495922" cy="1802248"/>
          </a:xfrm>
        </p:spPr>
        <p:txBody>
          <a:bodyPr/>
          <a:lstStyle>
            <a:lvl1pPr>
              <a:defRPr sz="1500"/>
            </a:lvl1pPr>
            <a:lvl2pPr>
              <a:spcBef>
                <a:spcPts val="600"/>
              </a:spcBef>
              <a:defRPr sz="1500"/>
            </a:lvl2pPr>
            <a:lvl3pPr>
              <a:defRPr sz="1500"/>
            </a:lvl3pPr>
            <a:lvl4pPr>
              <a:defRPr sz="1500"/>
            </a:lvl4pPr>
            <a:lvl5pPr>
              <a:defRPr sz="1500"/>
            </a:lvl5pPr>
            <a:lvl6pPr>
              <a:defRPr/>
            </a:lvl6pPr>
          </a:lstStyle>
          <a:p>
            <a:pPr lvl="0"/>
            <a:r>
              <a:rPr lang="en-US"/>
              <a:t>Edit Master text styles</a:t>
            </a:r>
          </a:p>
          <a:p>
            <a:pPr lvl="1"/>
            <a:r>
              <a:rPr lang="en-US"/>
              <a:t>Second level</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6226174" y="3866329"/>
            <a:ext cx="5495924"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17" name="Text Placeholder 13">
            <a:extLst>
              <a:ext uri="{FF2B5EF4-FFF2-40B4-BE49-F238E27FC236}">
                <a16:creationId xmlns:a16="http://schemas.microsoft.com/office/drawing/2014/main" id="{FA11E823-0F61-B144-9A65-89A2F749C474}"/>
              </a:ext>
            </a:extLst>
          </p:cNvPr>
          <p:cNvSpPr>
            <a:spLocks noGrp="1"/>
          </p:cNvSpPr>
          <p:nvPr>
            <p:ph type="body" sz="quarter" idx="14"/>
          </p:nvPr>
        </p:nvSpPr>
        <p:spPr>
          <a:xfrm>
            <a:off x="485779" y="4319152"/>
            <a:ext cx="5495922" cy="1802248"/>
          </a:xfrm>
        </p:spPr>
        <p:txBody>
          <a:bodyPr/>
          <a:lstStyle>
            <a:lvl1pPr>
              <a:defRPr sz="1500"/>
            </a:lvl1pPr>
            <a:lvl2pPr>
              <a:spcBef>
                <a:spcPts val="600"/>
              </a:spcBef>
              <a:defRPr sz="1500"/>
            </a:lvl2pPr>
            <a:lvl3pPr>
              <a:defRPr sz="1500"/>
            </a:lvl3pPr>
            <a:lvl4pPr>
              <a:defRPr sz="1500"/>
            </a:lvl4pPr>
            <a:lvl5pPr>
              <a:defRPr sz="1500"/>
            </a:lvl5pPr>
          </a:lstStyle>
          <a:p>
            <a:pPr lvl="0"/>
            <a:r>
              <a:rPr lang="en-US"/>
              <a:t>Edit Master text styles</a:t>
            </a:r>
          </a:p>
          <a:p>
            <a:pPr lvl="1"/>
            <a:r>
              <a:rPr lang="en-US"/>
              <a:t>Second level</a:t>
            </a:r>
          </a:p>
        </p:txBody>
      </p:sp>
      <p:sp>
        <p:nvSpPr>
          <p:cNvPr id="1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485777" y="3866329"/>
            <a:ext cx="5495924"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Tree>
    <p:extLst>
      <p:ext uri="{BB962C8B-B14F-4D97-AF65-F5344CB8AC3E}">
        <p14:creationId xmlns:p14="http://schemas.microsoft.com/office/powerpoint/2010/main" val="1168354144"/>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3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extLst>
              <p:ext uri="{D42A27DB-BD31-4B8C-83A1-F6EECF244321}">
                <p14:modId xmlns:p14="http://schemas.microsoft.com/office/powerpoint/2010/main" val="37947608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224"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3"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4308478" y="1620838"/>
            <a:ext cx="1673222" cy="1704974"/>
          </a:xfrm>
          <a:prstGeom prst="rect">
            <a:avLst/>
          </a:prstGeom>
          <a:solidFill>
            <a:srgbClr val="F0F0F0"/>
          </a:solidFill>
        </p:spPr>
        <p:txBody>
          <a:bodyPr/>
          <a:lstStyle>
            <a:lvl1pPr marL="0" marR="0" indent="0" algn="l" defTabSz="457200" rtl="0" eaLnBrk="1" fontAlgn="auto" latinLnBrk="0" hangingPunct="1">
              <a:lnSpc>
                <a:spcPct val="100000"/>
              </a:lnSpc>
              <a:spcBef>
                <a:spcPts val="1200"/>
              </a:spcBef>
              <a:spcAft>
                <a:spcPts val="600"/>
              </a:spcAft>
              <a:buClrTx/>
              <a:buSzTx/>
              <a:buFont typeface="Arial"/>
              <a:buNone/>
              <a:tabLst/>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4305301" y="3548674"/>
            <a:ext cx="3581400"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485777" y="3548674"/>
            <a:ext cx="3578223"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4305303" y="4319152"/>
            <a:ext cx="3581399" cy="1802248"/>
          </a:xfrm>
        </p:spPr>
        <p:txBody>
          <a:bodyPr/>
          <a:lstStyle>
            <a:lvl1pPr>
              <a:defRPr sz="1500"/>
            </a:lvl1pPr>
            <a:lvl2pPr>
              <a:spcBef>
                <a:spcPts val="600"/>
              </a:spcBef>
              <a:defRPr sz="1500"/>
            </a:lvl2pPr>
            <a:lvl3pPr>
              <a:defRPr sz="1500"/>
            </a:lvl3pPr>
            <a:lvl4pPr>
              <a:defRPr sz="1500"/>
            </a:lvl4pPr>
            <a:lvl5pPr>
              <a:defRPr sz="1500"/>
            </a:lvl5pPr>
            <a:lvl6pPr marL="919162" indent="0">
              <a:buNone/>
              <a:defRPr/>
            </a:lvl6pPr>
          </a:lstStyle>
          <a:p>
            <a:pPr lvl="0"/>
            <a:r>
              <a:rPr lang="en-US"/>
              <a:t>Edit Master text styles</a:t>
            </a:r>
          </a:p>
          <a:p>
            <a:pPr lvl="1"/>
            <a:r>
              <a:rPr lang="en-US"/>
              <a:t>Second level</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4305301" y="3866329"/>
            <a:ext cx="3581400" cy="318476"/>
          </a:xfrm>
        </p:spPr>
        <p:txBody>
          <a:bodyPr/>
          <a:lstStyle>
            <a:lvl1pPr marL="0" indent="0">
              <a:spcBef>
                <a:spcPts val="0"/>
              </a:spcBef>
              <a:spcAft>
                <a:spcPts val="0"/>
              </a:spcAft>
              <a:buNone/>
              <a:defRPr sz="20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17" name="Text Placeholder 13">
            <a:extLst>
              <a:ext uri="{FF2B5EF4-FFF2-40B4-BE49-F238E27FC236}">
                <a16:creationId xmlns:a16="http://schemas.microsoft.com/office/drawing/2014/main" id="{FA11E823-0F61-B144-9A65-89A2F749C474}"/>
              </a:ext>
            </a:extLst>
          </p:cNvPr>
          <p:cNvSpPr>
            <a:spLocks noGrp="1"/>
          </p:cNvSpPr>
          <p:nvPr>
            <p:ph type="body" sz="quarter" idx="14"/>
          </p:nvPr>
        </p:nvSpPr>
        <p:spPr>
          <a:xfrm>
            <a:off x="485779" y="4319152"/>
            <a:ext cx="3578222" cy="1802248"/>
          </a:xfrm>
        </p:spPr>
        <p:txBody>
          <a:bodyPr/>
          <a:lstStyle>
            <a:lvl1pPr>
              <a:defRPr sz="1500"/>
            </a:lvl1pPr>
            <a:lvl2pPr>
              <a:spcBef>
                <a:spcPts val="600"/>
              </a:spcBef>
              <a:defRPr sz="1500"/>
            </a:lvl2pPr>
            <a:lvl3pPr>
              <a:defRPr sz="1500"/>
            </a:lvl3pPr>
            <a:lvl4pPr>
              <a:defRPr sz="1500"/>
            </a:lvl4pPr>
            <a:lvl5pPr>
              <a:defRPr sz="1500"/>
            </a:lvl5pPr>
            <a:lvl6pPr>
              <a:defRPr/>
            </a:lvl6pPr>
          </a:lstStyle>
          <a:p>
            <a:pPr lvl="0"/>
            <a:r>
              <a:rPr lang="en-US"/>
              <a:t>Edit Master text styles</a:t>
            </a:r>
          </a:p>
          <a:p>
            <a:pPr lvl="1"/>
            <a:r>
              <a:rPr lang="en-US"/>
              <a:t>Second level</a:t>
            </a:r>
          </a:p>
        </p:txBody>
      </p:sp>
      <p:sp>
        <p:nvSpPr>
          <p:cNvPr id="1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485777" y="3866329"/>
            <a:ext cx="3578223"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1" name="Text Placeholder 3">
            <a:extLst>
              <a:ext uri="{FF2B5EF4-FFF2-40B4-BE49-F238E27FC236}">
                <a16:creationId xmlns:a16="http://schemas.microsoft.com/office/drawing/2014/main" id="{AC0CDF27-1ADD-8342-879D-707AFEFCFEF8}"/>
              </a:ext>
            </a:extLst>
          </p:cNvPr>
          <p:cNvSpPr>
            <a:spLocks noGrp="1"/>
          </p:cNvSpPr>
          <p:nvPr>
            <p:ph type="body" sz="half" idx="18" hasCustomPrompt="1"/>
          </p:nvPr>
        </p:nvSpPr>
        <p:spPr>
          <a:xfrm>
            <a:off x="8130667" y="3548674"/>
            <a:ext cx="3578733"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2" name="Text Placeholder 13">
            <a:extLst>
              <a:ext uri="{FF2B5EF4-FFF2-40B4-BE49-F238E27FC236}">
                <a16:creationId xmlns:a16="http://schemas.microsoft.com/office/drawing/2014/main" id="{E53B07F7-1C0A-6047-A541-C601FCBCE8EF}"/>
              </a:ext>
            </a:extLst>
          </p:cNvPr>
          <p:cNvSpPr>
            <a:spLocks noGrp="1"/>
          </p:cNvSpPr>
          <p:nvPr>
            <p:ph type="body" sz="quarter" idx="19"/>
          </p:nvPr>
        </p:nvSpPr>
        <p:spPr>
          <a:xfrm>
            <a:off x="8130670" y="4319152"/>
            <a:ext cx="3578732" cy="1802248"/>
          </a:xfrm>
        </p:spPr>
        <p:txBody>
          <a:bodyPr/>
          <a:lstStyle>
            <a:lvl1pPr>
              <a:defRPr sz="1500"/>
            </a:lvl1pPr>
            <a:lvl2pPr>
              <a:spcBef>
                <a:spcPts val="600"/>
              </a:spcBef>
              <a:defRPr sz="1500"/>
            </a:lvl2pPr>
            <a:lvl3pPr>
              <a:defRPr sz="1500"/>
            </a:lvl3pPr>
            <a:lvl4pPr>
              <a:defRPr sz="1500"/>
            </a:lvl4pPr>
            <a:lvl5pPr>
              <a:defRPr sz="1500"/>
            </a:lvl5pPr>
            <a:lvl6pPr marL="919162" indent="0">
              <a:buNone/>
              <a:defRPr/>
            </a:lvl6pPr>
          </a:lstStyle>
          <a:p>
            <a:pPr lvl="0"/>
            <a:r>
              <a:rPr lang="en-US"/>
              <a:t>Edit Master text styles</a:t>
            </a:r>
          </a:p>
          <a:p>
            <a:pPr lvl="1"/>
            <a:r>
              <a:rPr lang="en-US"/>
              <a:t>Second level</a:t>
            </a:r>
          </a:p>
        </p:txBody>
      </p:sp>
      <p:sp>
        <p:nvSpPr>
          <p:cNvPr id="23" name="Text Placeholder 3">
            <a:extLst>
              <a:ext uri="{FF2B5EF4-FFF2-40B4-BE49-F238E27FC236}">
                <a16:creationId xmlns:a16="http://schemas.microsoft.com/office/drawing/2014/main" id="{94746E12-3EC2-5141-8C5F-4B4265F409C4}"/>
              </a:ext>
            </a:extLst>
          </p:cNvPr>
          <p:cNvSpPr>
            <a:spLocks noGrp="1"/>
          </p:cNvSpPr>
          <p:nvPr>
            <p:ph type="body" sz="half" idx="20" hasCustomPrompt="1"/>
          </p:nvPr>
        </p:nvSpPr>
        <p:spPr>
          <a:xfrm>
            <a:off x="8130667" y="3866329"/>
            <a:ext cx="3578733"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4" name="Picture Placeholder 9">
            <a:extLst>
              <a:ext uri="{FF2B5EF4-FFF2-40B4-BE49-F238E27FC236}">
                <a16:creationId xmlns:a16="http://schemas.microsoft.com/office/drawing/2014/main" id="{FF57ADCE-A8E0-014E-9057-FA914AC44AB6}"/>
              </a:ext>
            </a:extLst>
          </p:cNvPr>
          <p:cNvSpPr>
            <a:spLocks noGrp="1" noChangeAspect="1"/>
          </p:cNvSpPr>
          <p:nvPr>
            <p:ph type="pic" sz="quarter" idx="21" hasCustomPrompt="1"/>
          </p:nvPr>
        </p:nvSpPr>
        <p:spPr>
          <a:xfrm>
            <a:off x="8128001" y="1620838"/>
            <a:ext cx="1676399"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25" name="Title 1">
            <a:extLst>
              <a:ext uri="{FF2B5EF4-FFF2-40B4-BE49-F238E27FC236}">
                <a16:creationId xmlns:a16="http://schemas.microsoft.com/office/drawing/2014/main" id="{1A557E69-B948-EE4F-8D3C-094A819B91FC}"/>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26" name="Text Placeholder 3">
            <a:extLst>
              <a:ext uri="{FF2B5EF4-FFF2-40B4-BE49-F238E27FC236}">
                <a16:creationId xmlns:a16="http://schemas.microsoft.com/office/drawing/2014/main" id="{E15F6C54-7BEE-0A47-9C13-2AD0DEE8A17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3840723317"/>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4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extLst>
              <p:ext uri="{D42A27DB-BD31-4B8C-83A1-F6EECF244321}">
                <p14:modId xmlns:p14="http://schemas.microsoft.com/office/powerpoint/2010/main" val="10601335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224"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3"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6226173" y="1620838"/>
            <a:ext cx="1660527"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8127999" y="3800320"/>
            <a:ext cx="35814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2387599" y="3800320"/>
            <a:ext cx="35941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hasCustomPrompt="1"/>
          </p:nvPr>
        </p:nvSpPr>
        <p:spPr>
          <a:xfrm>
            <a:off x="8128001" y="4502460"/>
            <a:ext cx="35814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8127999" y="4117975"/>
            <a:ext cx="35814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17" name="Text Placeholder 13">
            <a:extLst>
              <a:ext uri="{FF2B5EF4-FFF2-40B4-BE49-F238E27FC236}">
                <a16:creationId xmlns:a16="http://schemas.microsoft.com/office/drawing/2014/main" id="{FA11E823-0F61-B144-9A65-89A2F749C474}"/>
              </a:ext>
            </a:extLst>
          </p:cNvPr>
          <p:cNvSpPr>
            <a:spLocks noGrp="1"/>
          </p:cNvSpPr>
          <p:nvPr>
            <p:ph type="body" sz="quarter" idx="14" hasCustomPrompt="1"/>
          </p:nvPr>
        </p:nvSpPr>
        <p:spPr>
          <a:xfrm>
            <a:off x="2387601" y="4502460"/>
            <a:ext cx="35941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1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2387599" y="4117975"/>
            <a:ext cx="35941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1" name="Text Placeholder 3">
            <a:extLst>
              <a:ext uri="{FF2B5EF4-FFF2-40B4-BE49-F238E27FC236}">
                <a16:creationId xmlns:a16="http://schemas.microsoft.com/office/drawing/2014/main" id="{5F7713A0-A151-AC43-ADBC-57561531851D}"/>
              </a:ext>
            </a:extLst>
          </p:cNvPr>
          <p:cNvSpPr>
            <a:spLocks noGrp="1"/>
          </p:cNvSpPr>
          <p:nvPr>
            <p:ph type="body" sz="half" idx="18" hasCustomPrompt="1"/>
          </p:nvPr>
        </p:nvSpPr>
        <p:spPr>
          <a:xfrm>
            <a:off x="8127999" y="1564115"/>
            <a:ext cx="35814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2" name="Text Placeholder 3">
            <a:extLst>
              <a:ext uri="{FF2B5EF4-FFF2-40B4-BE49-F238E27FC236}">
                <a16:creationId xmlns:a16="http://schemas.microsoft.com/office/drawing/2014/main" id="{36990999-1C86-3C4A-9E86-512FFE509F06}"/>
              </a:ext>
            </a:extLst>
          </p:cNvPr>
          <p:cNvSpPr>
            <a:spLocks noGrp="1"/>
          </p:cNvSpPr>
          <p:nvPr>
            <p:ph type="body" sz="half" idx="19" hasCustomPrompt="1"/>
          </p:nvPr>
        </p:nvSpPr>
        <p:spPr>
          <a:xfrm>
            <a:off x="2387599" y="1564115"/>
            <a:ext cx="35941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3" name="Text Placeholder 13">
            <a:extLst>
              <a:ext uri="{FF2B5EF4-FFF2-40B4-BE49-F238E27FC236}">
                <a16:creationId xmlns:a16="http://schemas.microsoft.com/office/drawing/2014/main" id="{A71029AB-D37D-2644-A741-0C081A0EFD23}"/>
              </a:ext>
            </a:extLst>
          </p:cNvPr>
          <p:cNvSpPr>
            <a:spLocks noGrp="1"/>
          </p:cNvSpPr>
          <p:nvPr>
            <p:ph type="body" sz="quarter" idx="20" hasCustomPrompt="1"/>
          </p:nvPr>
        </p:nvSpPr>
        <p:spPr>
          <a:xfrm>
            <a:off x="8128001" y="2266255"/>
            <a:ext cx="35814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24" name="Text Placeholder 3">
            <a:extLst>
              <a:ext uri="{FF2B5EF4-FFF2-40B4-BE49-F238E27FC236}">
                <a16:creationId xmlns:a16="http://schemas.microsoft.com/office/drawing/2014/main" id="{C8BA4402-6CAF-594E-89D2-451CACAEAF49}"/>
              </a:ext>
            </a:extLst>
          </p:cNvPr>
          <p:cNvSpPr>
            <a:spLocks noGrp="1"/>
          </p:cNvSpPr>
          <p:nvPr>
            <p:ph type="body" sz="half" idx="21" hasCustomPrompt="1"/>
          </p:nvPr>
        </p:nvSpPr>
        <p:spPr>
          <a:xfrm>
            <a:off x="8127999" y="1881770"/>
            <a:ext cx="35814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5" name="Text Placeholder 13">
            <a:extLst>
              <a:ext uri="{FF2B5EF4-FFF2-40B4-BE49-F238E27FC236}">
                <a16:creationId xmlns:a16="http://schemas.microsoft.com/office/drawing/2014/main" id="{265C0D49-3234-5E4D-894F-6B46C7FB1261}"/>
              </a:ext>
            </a:extLst>
          </p:cNvPr>
          <p:cNvSpPr>
            <a:spLocks noGrp="1"/>
          </p:cNvSpPr>
          <p:nvPr>
            <p:ph type="body" sz="quarter" idx="22" hasCustomPrompt="1"/>
          </p:nvPr>
        </p:nvSpPr>
        <p:spPr>
          <a:xfrm>
            <a:off x="2387601" y="2266255"/>
            <a:ext cx="35941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26" name="Text Placeholder 3">
            <a:extLst>
              <a:ext uri="{FF2B5EF4-FFF2-40B4-BE49-F238E27FC236}">
                <a16:creationId xmlns:a16="http://schemas.microsoft.com/office/drawing/2014/main" id="{0257D817-539C-DD4E-AE71-8174AB5D41C0}"/>
              </a:ext>
            </a:extLst>
          </p:cNvPr>
          <p:cNvSpPr>
            <a:spLocks noGrp="1"/>
          </p:cNvSpPr>
          <p:nvPr>
            <p:ph type="body" sz="half" idx="23" hasCustomPrompt="1"/>
          </p:nvPr>
        </p:nvSpPr>
        <p:spPr>
          <a:xfrm>
            <a:off x="2387599" y="1881770"/>
            <a:ext cx="35941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7" name="Picture Placeholder 9">
            <a:extLst>
              <a:ext uri="{FF2B5EF4-FFF2-40B4-BE49-F238E27FC236}">
                <a16:creationId xmlns:a16="http://schemas.microsoft.com/office/drawing/2014/main" id="{6BD28324-F3EB-BE41-9D0C-98C0D13B4016}"/>
              </a:ext>
            </a:extLst>
          </p:cNvPr>
          <p:cNvSpPr>
            <a:spLocks noGrp="1" noChangeAspect="1"/>
          </p:cNvSpPr>
          <p:nvPr>
            <p:ph type="pic" sz="quarter" idx="24" hasCustomPrompt="1"/>
          </p:nvPr>
        </p:nvSpPr>
        <p:spPr>
          <a:xfrm>
            <a:off x="485776" y="3879092"/>
            <a:ext cx="1673224"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28" name="Picture Placeholder 9">
            <a:extLst>
              <a:ext uri="{FF2B5EF4-FFF2-40B4-BE49-F238E27FC236}">
                <a16:creationId xmlns:a16="http://schemas.microsoft.com/office/drawing/2014/main" id="{F9D2F30B-E1C7-574E-BAC9-2FA330852737}"/>
              </a:ext>
            </a:extLst>
          </p:cNvPr>
          <p:cNvSpPr>
            <a:spLocks noGrp="1" noChangeAspect="1"/>
          </p:cNvSpPr>
          <p:nvPr>
            <p:ph type="pic" sz="quarter" idx="25" hasCustomPrompt="1"/>
          </p:nvPr>
        </p:nvSpPr>
        <p:spPr>
          <a:xfrm>
            <a:off x="6226173" y="3879092"/>
            <a:ext cx="1660527"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29" name="Title 1">
            <a:extLst>
              <a:ext uri="{FF2B5EF4-FFF2-40B4-BE49-F238E27FC236}">
                <a16:creationId xmlns:a16="http://schemas.microsoft.com/office/drawing/2014/main" id="{7AA2A475-59E8-7C47-A042-7D18D3F485F0}"/>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30" name="Text Placeholder 3">
            <a:extLst>
              <a:ext uri="{FF2B5EF4-FFF2-40B4-BE49-F238E27FC236}">
                <a16:creationId xmlns:a16="http://schemas.microsoft.com/office/drawing/2014/main" id="{89251D6D-CA0A-B446-980B-987AD095401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850684176"/>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8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22" name="Text Placeholder 3">
            <a:extLst>
              <a:ext uri="{FF2B5EF4-FFF2-40B4-BE49-F238E27FC236}">
                <a16:creationId xmlns:a16="http://schemas.microsoft.com/office/drawing/2014/main" id="{36990999-1C86-3C4A-9E86-512FFE509F06}"/>
              </a:ext>
            </a:extLst>
          </p:cNvPr>
          <p:cNvSpPr>
            <a:spLocks noGrp="1"/>
          </p:cNvSpPr>
          <p:nvPr>
            <p:ph type="body" sz="half" idx="19" hasCustomPrompt="1"/>
          </p:nvPr>
        </p:nvSpPr>
        <p:spPr>
          <a:xfrm>
            <a:off x="48577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6" name="Text Placeholder 3">
            <a:extLst>
              <a:ext uri="{FF2B5EF4-FFF2-40B4-BE49-F238E27FC236}">
                <a16:creationId xmlns:a16="http://schemas.microsoft.com/office/drawing/2014/main" id="{0257D817-539C-DD4E-AE71-8174AB5D41C0}"/>
              </a:ext>
            </a:extLst>
          </p:cNvPr>
          <p:cNvSpPr>
            <a:spLocks noGrp="1"/>
          </p:cNvSpPr>
          <p:nvPr>
            <p:ph type="body" sz="half" idx="23" hasCustomPrompt="1"/>
          </p:nvPr>
        </p:nvSpPr>
        <p:spPr>
          <a:xfrm>
            <a:off x="48577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9" name="Title 1">
            <a:extLst>
              <a:ext uri="{FF2B5EF4-FFF2-40B4-BE49-F238E27FC236}">
                <a16:creationId xmlns:a16="http://schemas.microsoft.com/office/drawing/2014/main" id="{7AA2A475-59E8-7C47-A042-7D18D3F485F0}"/>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30" name="Text Placeholder 3">
            <a:extLst>
              <a:ext uri="{FF2B5EF4-FFF2-40B4-BE49-F238E27FC236}">
                <a16:creationId xmlns:a16="http://schemas.microsoft.com/office/drawing/2014/main" id="{89251D6D-CA0A-B446-980B-987AD095401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32"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4" hasCustomPrompt="1"/>
          </p:nvPr>
        </p:nvSpPr>
        <p:spPr>
          <a:xfrm>
            <a:off x="3361056" y="162083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33"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5" hasCustomPrompt="1"/>
          </p:nvPr>
        </p:nvSpPr>
        <p:spPr>
          <a:xfrm>
            <a:off x="6210300" y="162083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34"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6" hasCustomPrompt="1"/>
          </p:nvPr>
        </p:nvSpPr>
        <p:spPr>
          <a:xfrm>
            <a:off x="9080500" y="162083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35" name="Text Placeholder 3">
            <a:extLst>
              <a:ext uri="{FF2B5EF4-FFF2-40B4-BE49-F238E27FC236}">
                <a16:creationId xmlns:a16="http://schemas.microsoft.com/office/drawing/2014/main" id="{36990999-1C86-3C4A-9E86-512FFE509F06}"/>
              </a:ext>
            </a:extLst>
          </p:cNvPr>
          <p:cNvSpPr>
            <a:spLocks noGrp="1"/>
          </p:cNvSpPr>
          <p:nvPr>
            <p:ph type="body" sz="half" idx="27" hasCustomPrompt="1"/>
          </p:nvPr>
        </p:nvSpPr>
        <p:spPr>
          <a:xfrm>
            <a:off x="336105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36" name="Text Placeholder 3">
            <a:extLst>
              <a:ext uri="{FF2B5EF4-FFF2-40B4-BE49-F238E27FC236}">
                <a16:creationId xmlns:a16="http://schemas.microsoft.com/office/drawing/2014/main" id="{0257D817-539C-DD4E-AE71-8174AB5D41C0}"/>
              </a:ext>
            </a:extLst>
          </p:cNvPr>
          <p:cNvSpPr>
            <a:spLocks noGrp="1"/>
          </p:cNvSpPr>
          <p:nvPr>
            <p:ph type="body" sz="half" idx="28" hasCustomPrompt="1"/>
          </p:nvPr>
        </p:nvSpPr>
        <p:spPr>
          <a:xfrm>
            <a:off x="336105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37" name="Text Placeholder 3">
            <a:extLst>
              <a:ext uri="{FF2B5EF4-FFF2-40B4-BE49-F238E27FC236}">
                <a16:creationId xmlns:a16="http://schemas.microsoft.com/office/drawing/2014/main" id="{36990999-1C86-3C4A-9E86-512FFE509F06}"/>
              </a:ext>
            </a:extLst>
          </p:cNvPr>
          <p:cNvSpPr>
            <a:spLocks noGrp="1"/>
          </p:cNvSpPr>
          <p:nvPr>
            <p:ph type="body" sz="half" idx="29" hasCustomPrompt="1"/>
          </p:nvPr>
        </p:nvSpPr>
        <p:spPr>
          <a:xfrm>
            <a:off x="620585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38" name="Text Placeholder 3">
            <a:extLst>
              <a:ext uri="{FF2B5EF4-FFF2-40B4-BE49-F238E27FC236}">
                <a16:creationId xmlns:a16="http://schemas.microsoft.com/office/drawing/2014/main" id="{0257D817-539C-DD4E-AE71-8174AB5D41C0}"/>
              </a:ext>
            </a:extLst>
          </p:cNvPr>
          <p:cNvSpPr>
            <a:spLocks noGrp="1"/>
          </p:cNvSpPr>
          <p:nvPr>
            <p:ph type="body" sz="half" idx="30" hasCustomPrompt="1"/>
          </p:nvPr>
        </p:nvSpPr>
        <p:spPr>
          <a:xfrm>
            <a:off x="620585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39" name="Text Placeholder 3">
            <a:extLst>
              <a:ext uri="{FF2B5EF4-FFF2-40B4-BE49-F238E27FC236}">
                <a16:creationId xmlns:a16="http://schemas.microsoft.com/office/drawing/2014/main" id="{36990999-1C86-3C4A-9E86-512FFE509F06}"/>
              </a:ext>
            </a:extLst>
          </p:cNvPr>
          <p:cNvSpPr>
            <a:spLocks noGrp="1"/>
          </p:cNvSpPr>
          <p:nvPr>
            <p:ph type="body" sz="half" idx="31" hasCustomPrompt="1"/>
          </p:nvPr>
        </p:nvSpPr>
        <p:spPr>
          <a:xfrm>
            <a:off x="908113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40" name="Text Placeholder 3">
            <a:extLst>
              <a:ext uri="{FF2B5EF4-FFF2-40B4-BE49-F238E27FC236}">
                <a16:creationId xmlns:a16="http://schemas.microsoft.com/office/drawing/2014/main" id="{0257D817-539C-DD4E-AE71-8174AB5D41C0}"/>
              </a:ext>
            </a:extLst>
          </p:cNvPr>
          <p:cNvSpPr>
            <a:spLocks noGrp="1"/>
          </p:cNvSpPr>
          <p:nvPr>
            <p:ph type="body" sz="half" idx="32" hasCustomPrompt="1"/>
          </p:nvPr>
        </p:nvSpPr>
        <p:spPr>
          <a:xfrm>
            <a:off x="908113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41"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3" hasCustomPrompt="1"/>
          </p:nvPr>
        </p:nvSpPr>
        <p:spPr>
          <a:xfrm>
            <a:off x="485776" y="391699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42" name="Text Placeholder 3">
            <a:extLst>
              <a:ext uri="{FF2B5EF4-FFF2-40B4-BE49-F238E27FC236}">
                <a16:creationId xmlns:a16="http://schemas.microsoft.com/office/drawing/2014/main" id="{36990999-1C86-3C4A-9E86-512FFE509F06}"/>
              </a:ext>
            </a:extLst>
          </p:cNvPr>
          <p:cNvSpPr>
            <a:spLocks noGrp="1"/>
          </p:cNvSpPr>
          <p:nvPr>
            <p:ph type="body" sz="half" idx="34" hasCustomPrompt="1"/>
          </p:nvPr>
        </p:nvSpPr>
        <p:spPr>
          <a:xfrm>
            <a:off x="48577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43" name="Text Placeholder 3">
            <a:extLst>
              <a:ext uri="{FF2B5EF4-FFF2-40B4-BE49-F238E27FC236}">
                <a16:creationId xmlns:a16="http://schemas.microsoft.com/office/drawing/2014/main" id="{0257D817-539C-DD4E-AE71-8174AB5D41C0}"/>
              </a:ext>
            </a:extLst>
          </p:cNvPr>
          <p:cNvSpPr>
            <a:spLocks noGrp="1"/>
          </p:cNvSpPr>
          <p:nvPr>
            <p:ph type="body" sz="half" idx="35" hasCustomPrompt="1"/>
          </p:nvPr>
        </p:nvSpPr>
        <p:spPr>
          <a:xfrm>
            <a:off x="48577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44"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6" hasCustomPrompt="1"/>
          </p:nvPr>
        </p:nvSpPr>
        <p:spPr>
          <a:xfrm>
            <a:off x="3361056" y="391699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45"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7" hasCustomPrompt="1"/>
          </p:nvPr>
        </p:nvSpPr>
        <p:spPr>
          <a:xfrm>
            <a:off x="6210300" y="391699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46"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8" hasCustomPrompt="1"/>
          </p:nvPr>
        </p:nvSpPr>
        <p:spPr>
          <a:xfrm>
            <a:off x="9080500" y="391699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47" name="Text Placeholder 3">
            <a:extLst>
              <a:ext uri="{FF2B5EF4-FFF2-40B4-BE49-F238E27FC236}">
                <a16:creationId xmlns:a16="http://schemas.microsoft.com/office/drawing/2014/main" id="{36990999-1C86-3C4A-9E86-512FFE509F06}"/>
              </a:ext>
            </a:extLst>
          </p:cNvPr>
          <p:cNvSpPr>
            <a:spLocks noGrp="1"/>
          </p:cNvSpPr>
          <p:nvPr>
            <p:ph type="body" sz="half" idx="39" hasCustomPrompt="1"/>
          </p:nvPr>
        </p:nvSpPr>
        <p:spPr>
          <a:xfrm>
            <a:off x="336105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48" name="Text Placeholder 3">
            <a:extLst>
              <a:ext uri="{FF2B5EF4-FFF2-40B4-BE49-F238E27FC236}">
                <a16:creationId xmlns:a16="http://schemas.microsoft.com/office/drawing/2014/main" id="{0257D817-539C-DD4E-AE71-8174AB5D41C0}"/>
              </a:ext>
            </a:extLst>
          </p:cNvPr>
          <p:cNvSpPr>
            <a:spLocks noGrp="1"/>
          </p:cNvSpPr>
          <p:nvPr>
            <p:ph type="body" sz="half" idx="40" hasCustomPrompt="1"/>
          </p:nvPr>
        </p:nvSpPr>
        <p:spPr>
          <a:xfrm>
            <a:off x="336105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49" name="Text Placeholder 3">
            <a:extLst>
              <a:ext uri="{FF2B5EF4-FFF2-40B4-BE49-F238E27FC236}">
                <a16:creationId xmlns:a16="http://schemas.microsoft.com/office/drawing/2014/main" id="{36990999-1C86-3C4A-9E86-512FFE509F06}"/>
              </a:ext>
            </a:extLst>
          </p:cNvPr>
          <p:cNvSpPr>
            <a:spLocks noGrp="1"/>
          </p:cNvSpPr>
          <p:nvPr>
            <p:ph type="body" sz="half" idx="41" hasCustomPrompt="1"/>
          </p:nvPr>
        </p:nvSpPr>
        <p:spPr>
          <a:xfrm>
            <a:off x="620585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50" name="Text Placeholder 3">
            <a:extLst>
              <a:ext uri="{FF2B5EF4-FFF2-40B4-BE49-F238E27FC236}">
                <a16:creationId xmlns:a16="http://schemas.microsoft.com/office/drawing/2014/main" id="{0257D817-539C-DD4E-AE71-8174AB5D41C0}"/>
              </a:ext>
            </a:extLst>
          </p:cNvPr>
          <p:cNvSpPr>
            <a:spLocks noGrp="1"/>
          </p:cNvSpPr>
          <p:nvPr>
            <p:ph type="body" sz="half" idx="42" hasCustomPrompt="1"/>
          </p:nvPr>
        </p:nvSpPr>
        <p:spPr>
          <a:xfrm>
            <a:off x="620585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51" name="Text Placeholder 3">
            <a:extLst>
              <a:ext uri="{FF2B5EF4-FFF2-40B4-BE49-F238E27FC236}">
                <a16:creationId xmlns:a16="http://schemas.microsoft.com/office/drawing/2014/main" id="{36990999-1C86-3C4A-9E86-512FFE509F06}"/>
              </a:ext>
            </a:extLst>
          </p:cNvPr>
          <p:cNvSpPr>
            <a:spLocks noGrp="1"/>
          </p:cNvSpPr>
          <p:nvPr>
            <p:ph type="body" sz="half" idx="43" hasCustomPrompt="1"/>
          </p:nvPr>
        </p:nvSpPr>
        <p:spPr>
          <a:xfrm>
            <a:off x="908113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52" name="Text Placeholder 3">
            <a:extLst>
              <a:ext uri="{FF2B5EF4-FFF2-40B4-BE49-F238E27FC236}">
                <a16:creationId xmlns:a16="http://schemas.microsoft.com/office/drawing/2014/main" id="{0257D817-539C-DD4E-AE71-8174AB5D41C0}"/>
              </a:ext>
            </a:extLst>
          </p:cNvPr>
          <p:cNvSpPr>
            <a:spLocks noGrp="1"/>
          </p:cNvSpPr>
          <p:nvPr>
            <p:ph type="body" sz="half" idx="44" hasCustomPrompt="1"/>
          </p:nvPr>
        </p:nvSpPr>
        <p:spPr>
          <a:xfrm>
            <a:off x="908113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Tree>
    <p:extLst>
      <p:ext uri="{BB962C8B-B14F-4D97-AF65-F5344CB8AC3E}">
        <p14:creationId xmlns:p14="http://schemas.microsoft.com/office/powerpoint/2010/main" val="3751731652"/>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QUOT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54EA0D7-47B3-5149-B51A-CABC5742FBE7}"/>
              </a:ext>
            </a:extLst>
          </p:cNvPr>
          <p:cNvSpPr txBox="1"/>
          <p:nvPr/>
        </p:nvSpPr>
        <p:spPr>
          <a:xfrm>
            <a:off x="374977" y="2505671"/>
            <a:ext cx="5301131" cy="184665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Quotes</a:t>
            </a:r>
          </a:p>
        </p:txBody>
      </p:sp>
    </p:spTree>
    <p:extLst>
      <p:ext uri="{BB962C8B-B14F-4D97-AF65-F5344CB8AC3E}">
        <p14:creationId xmlns:p14="http://schemas.microsoft.com/office/powerpoint/2010/main" val="218522899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x">
  <p:cSld name="Title slide A: blue - stripe/logo">
    <p:bg>
      <p:bgPr>
        <a:solidFill>
          <a:srgbClr val="002C77"/>
        </a:solidFill>
        <a:effectLst/>
      </p:bgPr>
    </p:bg>
    <p:spTree>
      <p:nvGrpSpPr>
        <p:cNvPr id="1" name=""/>
        <p:cNvGrpSpPr/>
        <p:nvPr/>
      </p:nvGrpSpPr>
      <p:grpSpPr>
        <a:xfrm>
          <a:off x="0" y="0"/>
          <a:ext cx="0" cy="0"/>
          <a:chOff x="0" y="0"/>
          <a:chExt cx="0" cy="0"/>
        </a:xfrm>
      </p:grpSpPr>
      <p:pic>
        <p:nvPicPr>
          <p:cNvPr id="395" name="image11.png"/>
          <p:cNvPicPr>
            <a:picLocks noChangeAspect="1"/>
          </p:cNvPicPr>
          <p:nvPr/>
        </p:nvPicPr>
        <p:blipFill>
          <a:blip r:embed="rId2"/>
          <a:stretch>
            <a:fillRect/>
          </a:stretch>
        </p:blipFill>
        <p:spPr>
          <a:xfrm>
            <a:off x="486802" y="341761"/>
            <a:ext cx="1623976" cy="338329"/>
          </a:xfrm>
          <a:prstGeom prst="rect">
            <a:avLst/>
          </a:prstGeom>
          <a:ln w="12700">
            <a:miter lim="400000"/>
          </a:ln>
        </p:spPr>
      </p:pic>
      <p:sp>
        <p:nvSpPr>
          <p:cNvPr id="396" name="Shape 396"/>
          <p:cNvSpPr/>
          <p:nvPr/>
        </p:nvSpPr>
        <p:spPr>
          <a:xfrm>
            <a:off x="485775" y="6257135"/>
            <a:ext cx="1819846" cy="1397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lvl1pPr>
              <a:defRPr sz="1000">
                <a:solidFill>
                  <a:srgbClr val="FFFFFF"/>
                </a:solidFill>
              </a:defRPr>
            </a:lvl1pPr>
          </a:lstStyle>
          <a:p>
            <a:r>
              <a:t>Businesses of Marsh McLennan</a:t>
            </a:r>
          </a:p>
        </p:txBody>
      </p:sp>
      <p:sp>
        <p:nvSpPr>
          <p:cNvPr id="397" name="Shape 397"/>
          <p:cNvSpPr>
            <a:spLocks noGrp="1"/>
          </p:cNvSpPr>
          <p:nvPr>
            <p:ph type="pic" sz="quarter" idx="13"/>
          </p:nvPr>
        </p:nvSpPr>
        <p:spPr>
          <a:xfrm>
            <a:off x="2202227" y="341143"/>
            <a:ext cx="2863215" cy="342901"/>
          </a:xfrm>
          <a:prstGeom prst="rect">
            <a:avLst/>
          </a:prstGeom>
        </p:spPr>
        <p:txBody>
          <a:bodyPr lIns="91439" tIns="45719" rIns="91439" bIns="45719"/>
          <a:lstStyle/>
          <a:p>
            <a:endParaRPr/>
          </a:p>
        </p:txBody>
      </p:sp>
      <p:sp>
        <p:nvSpPr>
          <p:cNvPr id="398" name="Shape 398"/>
          <p:cNvSpPr>
            <a:spLocks noGrp="1"/>
          </p:cNvSpPr>
          <p:nvPr>
            <p:ph type="pic" sz="quarter" idx="14"/>
          </p:nvPr>
        </p:nvSpPr>
        <p:spPr>
          <a:xfrm>
            <a:off x="8133618" y="361950"/>
            <a:ext cx="3575783" cy="495301"/>
          </a:xfrm>
          <a:prstGeom prst="rect">
            <a:avLst/>
          </a:prstGeom>
        </p:spPr>
        <p:txBody>
          <a:bodyPr lIns="91439" tIns="45719" rIns="91439" bIns="45719"/>
          <a:lstStyle/>
          <a:p>
            <a:endParaRPr/>
          </a:p>
        </p:txBody>
      </p:sp>
      <p:sp>
        <p:nvSpPr>
          <p:cNvPr id="399" name="Shape 399"/>
          <p:cNvSpPr>
            <a:spLocks noGrp="1"/>
          </p:cNvSpPr>
          <p:nvPr>
            <p:ph type="body" sz="quarter" idx="15"/>
          </p:nvPr>
        </p:nvSpPr>
        <p:spPr>
          <a:xfrm>
            <a:off x="485775" y="4870889"/>
            <a:ext cx="7400925" cy="1038526"/>
          </a:xfrm>
          <a:prstGeom prst="rect">
            <a:avLst/>
          </a:prstGeom>
        </p:spPr>
        <p:txBody>
          <a:bodyPr anchor="b"/>
          <a:lstStyle>
            <a:lvl1pPr>
              <a:spcBef>
                <a:spcPts val="0"/>
              </a:spcBef>
              <a:defRPr sz="1400">
                <a:solidFill>
                  <a:srgbClr val="FFFFFF"/>
                </a:solidFill>
              </a:defRPr>
            </a:lvl1pPr>
          </a:lstStyle>
          <a:p>
            <a:r>
              <a:t> </a:t>
            </a:r>
          </a:p>
        </p:txBody>
      </p:sp>
      <p:sp>
        <p:nvSpPr>
          <p:cNvPr id="400" name="Shape 400"/>
          <p:cNvSpPr>
            <a:spLocks noGrp="1"/>
          </p:cNvSpPr>
          <p:nvPr>
            <p:ph type="title"/>
          </p:nvPr>
        </p:nvSpPr>
        <p:spPr>
          <a:xfrm>
            <a:off x="448437" y="1764792"/>
            <a:ext cx="9365489" cy="1600201"/>
          </a:xfrm>
          <a:prstGeom prst="rect">
            <a:avLst/>
          </a:prstGeom>
        </p:spPr>
        <p:txBody>
          <a:bodyPr>
            <a:normAutofit/>
          </a:bodyPr>
          <a:lstStyle>
            <a:lvl1pPr>
              <a:lnSpc>
                <a:spcPct val="90000"/>
              </a:lnSpc>
              <a:defRPr sz="6000">
                <a:solidFill>
                  <a:srgbClr val="FFFFFF"/>
                </a:solidFill>
              </a:defRPr>
            </a:lvl1pPr>
          </a:lstStyle>
          <a:p>
            <a:r>
              <a:t>Texto del título</a:t>
            </a:r>
          </a:p>
        </p:txBody>
      </p:sp>
      <p:sp>
        <p:nvSpPr>
          <p:cNvPr id="401" name="Shape 401"/>
          <p:cNvSpPr>
            <a:spLocks noGrp="1"/>
          </p:cNvSpPr>
          <p:nvPr>
            <p:ph type="body" sz="quarter" idx="1"/>
          </p:nvPr>
        </p:nvSpPr>
        <p:spPr>
          <a:xfrm>
            <a:off x="462026" y="3557015"/>
            <a:ext cx="9310624" cy="788378"/>
          </a:xfrm>
          <a:prstGeom prst="rect">
            <a:avLst/>
          </a:prstGeom>
        </p:spPr>
        <p:txBody>
          <a:bodyPr>
            <a:normAutofit/>
          </a:bodyPr>
          <a:lstStyle>
            <a:lvl1pPr>
              <a:defRPr sz="2400">
                <a:solidFill>
                  <a:srgbClr val="FFFFFF"/>
                </a:solidFill>
              </a:defRPr>
            </a:lvl1pPr>
            <a:lvl2pPr marL="0" indent="457200">
              <a:buSzTx/>
              <a:buNone/>
              <a:defRPr sz="2400">
                <a:solidFill>
                  <a:srgbClr val="FFFFFF"/>
                </a:solidFill>
              </a:defRPr>
            </a:lvl2pPr>
            <a:lvl3pPr marL="0" indent="914400">
              <a:buSzTx/>
              <a:buNone/>
              <a:defRPr sz="2400">
                <a:solidFill>
                  <a:srgbClr val="FFFFFF"/>
                </a:solidFill>
              </a:defRPr>
            </a:lvl3pPr>
            <a:lvl4pPr marL="0" indent="1371600">
              <a:buSzTx/>
              <a:buNone/>
              <a:defRPr sz="2400">
                <a:solidFill>
                  <a:srgbClr val="FFFFFF"/>
                </a:solidFill>
              </a:defRPr>
            </a:lvl4pPr>
            <a:lvl5pPr marL="0" indent="1828800">
              <a:buSzTx/>
              <a:buNone/>
              <a:defRPr sz="2400">
                <a:solidFill>
                  <a:srgbClr val="FFFFFF"/>
                </a:solidFill>
              </a:defRPr>
            </a:lvl5pPr>
          </a:lstStyle>
          <a:p>
            <a:r>
              <a:t>Nivel de texto 1</a:t>
            </a:r>
          </a:p>
          <a:p>
            <a:pPr lvl="1"/>
            <a:r>
              <a:t>Nivel de texto 2</a:t>
            </a:r>
          </a:p>
          <a:p>
            <a:pPr lvl="2"/>
            <a:r>
              <a:t>Nivel de texto 3</a:t>
            </a:r>
          </a:p>
          <a:p>
            <a:pPr lvl="3"/>
            <a:r>
              <a:t>Nivel de texto 4</a:t>
            </a:r>
          </a:p>
          <a:p>
            <a:pPr lvl="4"/>
            <a:r>
              <a:t>Nivel de texto 5</a:t>
            </a:r>
          </a:p>
        </p:txBody>
      </p:sp>
      <p:sp>
        <p:nvSpPr>
          <p:cNvPr id="402" name="Shape 402"/>
          <p:cNvSpPr>
            <a:spLocks noGrp="1"/>
          </p:cNvSpPr>
          <p:nvPr>
            <p:ph type="sldNum" sz="quarter" idx="2"/>
          </p:nvPr>
        </p:nvSpPr>
        <p:spPr>
          <a:prstGeom prst="rect">
            <a:avLst/>
          </a:prstGeom>
        </p:spPr>
        <p:txBody>
          <a:bodyPr/>
          <a:lstStyle/>
          <a:p>
            <a:fld id="{86CB4B4D-7CA3-9044-876B-883B54F8677D}" type="slidenum">
              <a:t>‹Nº›</a:t>
            </a:fld>
            <a:endParaRPr/>
          </a:p>
        </p:txBody>
      </p:sp>
    </p:spTree>
  </p:cSld>
  <p:clrMapOvr>
    <a:masterClrMapping/>
  </p:clrMapOvr>
  <p:transition spd="med"/>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160A2B-5371-CA41-BD2F-F42585E23A68}"/>
              </a:ext>
            </a:extLst>
          </p:cNvPr>
          <p:cNvGraphicFramePr>
            <a:graphicFrameLocks noChangeAspect="1"/>
          </p:cNvGraphicFramePr>
          <p:nvPr>
            <p:custDataLst>
              <p:tags r:id="rId1"/>
            </p:custDataLst>
            <p:extLst>
              <p:ext uri="{D42A27DB-BD31-4B8C-83A1-F6EECF244321}">
                <p14:modId xmlns:p14="http://schemas.microsoft.com/office/powerpoint/2010/main" val="33384891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7B160A2B-5371-CA41-BD2F-F42585E23A6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3">
            <a:extLst>
              <a:ext uri="{FF2B5EF4-FFF2-40B4-BE49-F238E27FC236}">
                <a16:creationId xmlns:a16="http://schemas.microsoft.com/office/drawing/2014/main" id="{2C68D909-7F77-144F-A778-CADD0466B483}"/>
              </a:ext>
            </a:extLst>
          </p:cNvPr>
          <p:cNvSpPr>
            <a:spLocks noGrp="1"/>
          </p:cNvSpPr>
          <p:nvPr>
            <p:ph type="body" sz="half" idx="2" hasCustomPrompt="1"/>
          </p:nvPr>
        </p:nvSpPr>
        <p:spPr>
          <a:xfrm>
            <a:off x="485776" y="4979815"/>
            <a:ext cx="3578224" cy="803619"/>
          </a:xfrm>
        </p:spPr>
        <p:txBody>
          <a:bodyPr anchor="t"/>
          <a:lstStyle>
            <a:lvl1pPr marL="179388" indent="-179388">
              <a:lnSpc>
                <a:spcPct val="100000"/>
              </a:lnSpc>
              <a:spcBef>
                <a:spcPts val="0"/>
              </a:spcBef>
              <a:spcAft>
                <a:spcPts val="0"/>
              </a:spcAft>
              <a:buFont typeface="System Font Regular"/>
              <a:buChar char="–"/>
              <a:tabLst/>
              <a:defRPr lang="en-US" sz="1600" smtClean="0">
                <a:solidFill>
                  <a:schemeClr val="tx2"/>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dirty="0">
                <a:effectLst/>
                <a:latin typeface="Arial" panose="020B0604020202020204" pitchFamily="34" charset="0"/>
              </a:rPr>
              <a:t>Click to add author</a:t>
            </a:r>
          </a:p>
        </p:txBody>
      </p:sp>
      <p:sp>
        <p:nvSpPr>
          <p:cNvPr id="6" name="Title 1"/>
          <p:cNvSpPr>
            <a:spLocks noGrp="1"/>
          </p:cNvSpPr>
          <p:nvPr>
            <p:ph type="title" hasCustomPrompt="1"/>
          </p:nvPr>
        </p:nvSpPr>
        <p:spPr>
          <a:xfrm>
            <a:off x="482600" y="1807779"/>
            <a:ext cx="7404101" cy="3061084"/>
          </a:xfrm>
        </p:spPr>
        <p:txBody>
          <a:bodyPr/>
          <a:lstStyle>
            <a:lvl1pPr>
              <a:defRPr sz="5400">
                <a:solidFill>
                  <a:schemeClr val="tx2"/>
                </a:solidFill>
              </a:defRPr>
            </a:lvl1pPr>
          </a:lstStyle>
          <a:p>
            <a:r>
              <a:rPr lang="en-US" dirty="0"/>
              <a:t>Click to add quote</a:t>
            </a:r>
          </a:p>
        </p:txBody>
      </p:sp>
    </p:spTree>
    <p:extLst>
      <p:ext uri="{BB962C8B-B14F-4D97-AF65-F5344CB8AC3E}">
        <p14:creationId xmlns:p14="http://schemas.microsoft.com/office/powerpoint/2010/main" val="850655839"/>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160A2B-5371-CA41-BD2F-F42585E23A68}"/>
              </a:ext>
            </a:extLst>
          </p:cNvPr>
          <p:cNvGraphicFramePr>
            <a:graphicFrameLocks noChangeAspect="1"/>
          </p:cNvGraphicFramePr>
          <p:nvPr>
            <p:custDataLst>
              <p:tags r:id="rId1"/>
            </p:custDataLst>
            <p:extLst>
              <p:ext uri="{D42A27DB-BD31-4B8C-83A1-F6EECF244321}">
                <p14:modId xmlns:p14="http://schemas.microsoft.com/office/powerpoint/2010/main" val="15392296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7B160A2B-5371-CA41-BD2F-F42585E23A6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3">
            <a:extLst>
              <a:ext uri="{FF2B5EF4-FFF2-40B4-BE49-F238E27FC236}">
                <a16:creationId xmlns:a16="http://schemas.microsoft.com/office/drawing/2014/main" id="{2C68D909-7F77-144F-A778-CADD0466B483}"/>
              </a:ext>
            </a:extLst>
          </p:cNvPr>
          <p:cNvSpPr>
            <a:spLocks noGrp="1"/>
          </p:cNvSpPr>
          <p:nvPr>
            <p:ph type="body" sz="half" idx="2" hasCustomPrompt="1"/>
          </p:nvPr>
        </p:nvSpPr>
        <p:spPr>
          <a:xfrm>
            <a:off x="485776" y="4979815"/>
            <a:ext cx="3578224" cy="803619"/>
          </a:xfrm>
        </p:spPr>
        <p:txBody>
          <a:bodyPr anchor="t"/>
          <a:lstStyle>
            <a:lvl1pPr marL="179388" indent="-179388">
              <a:lnSpc>
                <a:spcPct val="100000"/>
              </a:lnSpc>
              <a:spcBef>
                <a:spcPts val="0"/>
              </a:spcBef>
              <a:spcAft>
                <a:spcPts val="0"/>
              </a:spcAft>
              <a:buFont typeface="System Font Regular"/>
              <a:buChar char="–"/>
              <a:tabLst/>
              <a:defRPr lang="en-US" sz="1600" smtClean="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dirty="0">
                <a:effectLst/>
                <a:latin typeface="Arial" panose="020B0604020202020204" pitchFamily="34" charset="0"/>
              </a:rPr>
              <a:t>Click to add author</a:t>
            </a:r>
          </a:p>
        </p:txBody>
      </p:sp>
      <p:sp>
        <p:nvSpPr>
          <p:cNvPr id="9" name="TextBox 8">
            <a:extLst>
              <a:ext uri="{FF2B5EF4-FFF2-40B4-BE49-F238E27FC236}">
                <a16:creationId xmlns:a16="http://schemas.microsoft.com/office/drawing/2014/main" id="{02A92D50-B69F-614A-9C8F-D600BB0D9EB1}"/>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Nº›</a:t>
            </a:fld>
            <a:endParaRPr lang="en-US" sz="800" kern="1200" dirty="0">
              <a:solidFill>
                <a:schemeClr val="bg1"/>
              </a:solidFill>
              <a:effectLst/>
              <a:latin typeface="+mn-lt"/>
              <a:ea typeface="+mn-ea"/>
              <a:cs typeface="+mn-cs"/>
            </a:endParaRPr>
          </a:p>
        </p:txBody>
      </p:sp>
      <p:sp>
        <p:nvSpPr>
          <p:cNvPr id="6" name="Title 1"/>
          <p:cNvSpPr>
            <a:spLocks noGrp="1"/>
          </p:cNvSpPr>
          <p:nvPr>
            <p:ph type="title" hasCustomPrompt="1"/>
          </p:nvPr>
        </p:nvSpPr>
        <p:spPr>
          <a:xfrm>
            <a:off x="482600" y="1807779"/>
            <a:ext cx="7404101" cy="3061084"/>
          </a:xfrm>
        </p:spPr>
        <p:txBody>
          <a:bodyPr/>
          <a:lstStyle>
            <a:lvl1pPr>
              <a:defRPr sz="5400">
                <a:solidFill>
                  <a:schemeClr val="bg1"/>
                </a:solidFill>
              </a:defRPr>
            </a:lvl1pPr>
          </a:lstStyle>
          <a:p>
            <a:r>
              <a:rPr lang="en-US" dirty="0"/>
              <a:t>Click to add quote</a:t>
            </a:r>
          </a:p>
        </p:txBody>
      </p:sp>
    </p:spTree>
    <p:extLst>
      <p:ext uri="{BB962C8B-B14F-4D97-AF65-F5344CB8AC3E}">
        <p14:creationId xmlns:p14="http://schemas.microsoft.com/office/powerpoint/2010/main" val="2551205470"/>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p:cSld name="INTERACTIVE ELEMENT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52E706-1FE4-5448-BF88-BDD1A5847DF0}"/>
              </a:ext>
            </a:extLst>
          </p:cNvPr>
          <p:cNvSpPr txBox="1"/>
          <p:nvPr/>
        </p:nvSpPr>
        <p:spPr>
          <a:xfrm>
            <a:off x="374977" y="1582341"/>
            <a:ext cx="7700826" cy="369331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Interactive</a:t>
            </a:r>
          </a:p>
          <a:p>
            <a:pPr algn="l"/>
            <a:r>
              <a:rPr lang="en-US" sz="12000" b="1" i="0" dirty="0">
                <a:solidFill>
                  <a:schemeClr val="bg1"/>
                </a:solidFill>
                <a:latin typeface="Arial" panose="020B0604020202020204" pitchFamily="34" charset="0"/>
                <a:cs typeface="Arial" panose="020B0604020202020204" pitchFamily="34" charset="0"/>
              </a:rPr>
              <a:t>elements</a:t>
            </a:r>
          </a:p>
        </p:txBody>
      </p:sp>
    </p:spTree>
    <p:extLst>
      <p:ext uri="{BB962C8B-B14F-4D97-AF65-F5344CB8AC3E}">
        <p14:creationId xmlns:p14="http://schemas.microsoft.com/office/powerpoint/2010/main" val="2842201113"/>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Interactive top">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485776" y="866775"/>
            <a:ext cx="11461750"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6394451"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p:ph type="body" sz="half" idx="2" hasCustomPrompt="1"/>
          </p:nvPr>
        </p:nvSpPr>
        <p:spPr>
          <a:xfrm>
            <a:off x="485776" y="1311632"/>
            <a:ext cx="11461750"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3" name="Rectangle 2"/>
          <p:cNvSpPr/>
          <p:nvPr userDrawn="1"/>
        </p:nvSpPr>
        <p:spPr>
          <a:xfrm>
            <a:off x="2815" y="-1"/>
            <a:ext cx="12189185" cy="61370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 name="Rectangle 6"/>
          <p:cNvSpPr/>
          <p:nvPr userDrawn="1"/>
        </p:nvSpPr>
        <p:spPr>
          <a:xfrm>
            <a:off x="485776"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1</a:t>
            </a:r>
            <a:endParaRPr lang="en-GB" sz="1400" dirty="0"/>
          </a:p>
        </p:txBody>
      </p:sp>
      <p:sp>
        <p:nvSpPr>
          <p:cNvPr id="8" name="Rectangle 7"/>
          <p:cNvSpPr/>
          <p:nvPr userDrawn="1"/>
        </p:nvSpPr>
        <p:spPr>
          <a:xfrm>
            <a:off x="2437449"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2</a:t>
            </a:r>
            <a:endParaRPr lang="en-GB" sz="1400" dirty="0"/>
          </a:p>
        </p:txBody>
      </p:sp>
      <p:sp>
        <p:nvSpPr>
          <p:cNvPr id="9" name="Rectangle 8"/>
          <p:cNvSpPr/>
          <p:nvPr userDrawn="1"/>
        </p:nvSpPr>
        <p:spPr>
          <a:xfrm>
            <a:off x="4389122"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3</a:t>
            </a:r>
            <a:endParaRPr lang="en-GB" sz="1400" dirty="0"/>
          </a:p>
        </p:txBody>
      </p:sp>
      <p:sp>
        <p:nvSpPr>
          <p:cNvPr id="10" name="Rectangle 9"/>
          <p:cNvSpPr/>
          <p:nvPr userDrawn="1"/>
        </p:nvSpPr>
        <p:spPr>
          <a:xfrm>
            <a:off x="6340795"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4</a:t>
            </a:r>
            <a:endParaRPr lang="en-GB" sz="1400" dirty="0"/>
          </a:p>
        </p:txBody>
      </p:sp>
      <p:sp>
        <p:nvSpPr>
          <p:cNvPr id="11" name="Rectangle 10"/>
          <p:cNvSpPr/>
          <p:nvPr userDrawn="1"/>
        </p:nvSpPr>
        <p:spPr>
          <a:xfrm>
            <a:off x="8292468"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5</a:t>
            </a:r>
            <a:endParaRPr lang="en-GB" sz="1400" dirty="0"/>
          </a:p>
        </p:txBody>
      </p:sp>
      <p:sp>
        <p:nvSpPr>
          <p:cNvPr id="12" name="Rectangle 11"/>
          <p:cNvSpPr/>
          <p:nvPr userDrawn="1"/>
        </p:nvSpPr>
        <p:spPr>
          <a:xfrm>
            <a:off x="10244138"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6</a:t>
            </a:r>
            <a:endParaRPr lang="en-GB" sz="1400" dirty="0"/>
          </a:p>
        </p:txBody>
      </p:sp>
      <p:cxnSp>
        <p:nvCxnSpPr>
          <p:cNvPr id="14" name="Straight Connector 13"/>
          <p:cNvCxnSpPr/>
          <p:nvPr userDrawn="1"/>
        </p:nvCxnSpPr>
        <p:spPr>
          <a:xfrm>
            <a:off x="2314099"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4265772"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6217445"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8169118"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0120791"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Box 12"/>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a:solidFill>
                  <a:srgbClr val="FF0000"/>
                </a:solidFill>
              </a:rPr>
              <a:t>These slides provide</a:t>
            </a:r>
            <a:r>
              <a:rPr lang="en-US" sz="1050" baseline="0" dirty="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a:solidFill>
                <a:srgbClr val="FF0000"/>
              </a:solidFill>
            </a:endParaRPr>
          </a:p>
          <a:p>
            <a:pPr algn="l"/>
            <a:r>
              <a:rPr lang="en-US" sz="1050" baseline="0" dirty="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281456540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Interactive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485776" y="361950"/>
            <a:ext cx="9509124"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5429250"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p:ph type="body" sz="half" idx="2" hasCustomPrompt="1"/>
          </p:nvPr>
        </p:nvSpPr>
        <p:spPr>
          <a:xfrm>
            <a:off x="485776" y="806807"/>
            <a:ext cx="9509124"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8" name="Rectangle 7"/>
          <p:cNvSpPr/>
          <p:nvPr userDrawn="1"/>
        </p:nvSpPr>
        <p:spPr>
          <a:xfrm>
            <a:off x="10239375" y="3176"/>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a:t>
            </a:r>
            <a:r>
              <a:rPr lang="en-GB" sz="1400" baseline="0" dirty="0"/>
              <a:t> 1</a:t>
            </a:r>
            <a:endParaRPr lang="en-GB" sz="1400" dirty="0"/>
          </a:p>
        </p:txBody>
      </p:sp>
      <p:sp>
        <p:nvSpPr>
          <p:cNvPr id="9" name="Rectangle 8"/>
          <p:cNvSpPr/>
          <p:nvPr userDrawn="1"/>
        </p:nvSpPr>
        <p:spPr>
          <a:xfrm>
            <a:off x="10239375" y="1146251"/>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 </a:t>
            </a:r>
            <a:r>
              <a:rPr lang="en-GB" sz="1400" baseline="0" dirty="0"/>
              <a:t>2</a:t>
            </a:r>
            <a:endParaRPr lang="en-GB" sz="1400" dirty="0"/>
          </a:p>
        </p:txBody>
      </p:sp>
      <p:sp>
        <p:nvSpPr>
          <p:cNvPr id="10" name="Rectangle 9"/>
          <p:cNvSpPr/>
          <p:nvPr userDrawn="1"/>
        </p:nvSpPr>
        <p:spPr>
          <a:xfrm>
            <a:off x="10239375" y="2289325"/>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a:t>
            </a:r>
            <a:r>
              <a:rPr lang="en-GB" sz="1400" baseline="0" dirty="0"/>
              <a:t> 3</a:t>
            </a:r>
            <a:endParaRPr lang="en-GB" sz="1400" dirty="0"/>
          </a:p>
        </p:txBody>
      </p:sp>
      <p:sp>
        <p:nvSpPr>
          <p:cNvPr id="11" name="Rectangle 10"/>
          <p:cNvSpPr/>
          <p:nvPr userDrawn="1"/>
        </p:nvSpPr>
        <p:spPr>
          <a:xfrm>
            <a:off x="10239375" y="3432400"/>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a:t>
            </a:r>
            <a:r>
              <a:rPr lang="en-GB" sz="1400" baseline="0" dirty="0"/>
              <a:t> 4</a:t>
            </a:r>
            <a:endParaRPr lang="en-GB" sz="1400" dirty="0"/>
          </a:p>
        </p:txBody>
      </p:sp>
      <p:sp>
        <p:nvSpPr>
          <p:cNvPr id="12" name="Rectangle 11"/>
          <p:cNvSpPr/>
          <p:nvPr userDrawn="1"/>
        </p:nvSpPr>
        <p:spPr>
          <a:xfrm>
            <a:off x="10239375" y="4575475"/>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a:t>
            </a:r>
            <a:r>
              <a:rPr lang="en-GB" sz="1400" baseline="0" dirty="0"/>
              <a:t> 5</a:t>
            </a:r>
            <a:endParaRPr lang="en-GB" sz="1400" dirty="0"/>
          </a:p>
        </p:txBody>
      </p:sp>
      <p:sp>
        <p:nvSpPr>
          <p:cNvPr id="14" name="Rectangle 13"/>
          <p:cNvSpPr/>
          <p:nvPr userDrawn="1"/>
        </p:nvSpPr>
        <p:spPr>
          <a:xfrm>
            <a:off x="10239375" y="5718547"/>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a:t>
            </a:r>
            <a:r>
              <a:rPr lang="en-GB" sz="1400" baseline="0" dirty="0"/>
              <a:t> 6</a:t>
            </a:r>
            <a:endParaRPr lang="en-GB" sz="1400" dirty="0"/>
          </a:p>
        </p:txBody>
      </p:sp>
      <p:sp>
        <p:nvSpPr>
          <p:cNvPr id="18" name="Freeform 10"/>
          <p:cNvSpPr>
            <a:spLocks noEditPoints="1"/>
          </p:cNvSpPr>
          <p:nvPr userDrawn="1"/>
        </p:nvSpPr>
        <p:spPr bwMode="auto">
          <a:xfrm>
            <a:off x="11069333" y="1424425"/>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23"/>
          <p:cNvSpPr>
            <a:spLocks noEditPoints="1"/>
          </p:cNvSpPr>
          <p:nvPr userDrawn="1"/>
        </p:nvSpPr>
        <p:spPr bwMode="auto">
          <a:xfrm>
            <a:off x="11081842" y="4837714"/>
            <a:ext cx="267691" cy="317727"/>
          </a:xfrm>
          <a:custGeom>
            <a:avLst/>
            <a:gdLst>
              <a:gd name="T0" fmla="*/ 76 w 80"/>
              <a:gd name="T1" fmla="*/ 96 h 96"/>
              <a:gd name="T2" fmla="*/ 40 w 80"/>
              <a:gd name="T3" fmla="*/ 96 h 96"/>
              <a:gd name="T4" fmla="*/ 36 w 80"/>
              <a:gd name="T5" fmla="*/ 92 h 96"/>
              <a:gd name="T6" fmla="*/ 36 w 80"/>
              <a:gd name="T7" fmla="*/ 76 h 96"/>
              <a:gd name="T8" fmla="*/ 40 w 80"/>
              <a:gd name="T9" fmla="*/ 72 h 96"/>
              <a:gd name="T10" fmla="*/ 76 w 80"/>
              <a:gd name="T11" fmla="*/ 72 h 96"/>
              <a:gd name="T12" fmla="*/ 80 w 80"/>
              <a:gd name="T13" fmla="*/ 76 h 96"/>
              <a:gd name="T14" fmla="*/ 80 w 80"/>
              <a:gd name="T15" fmla="*/ 92 h 96"/>
              <a:gd name="T16" fmla="*/ 76 w 80"/>
              <a:gd name="T17" fmla="*/ 96 h 96"/>
              <a:gd name="T18" fmla="*/ 44 w 80"/>
              <a:gd name="T19" fmla="*/ 88 h 96"/>
              <a:gd name="T20" fmla="*/ 72 w 80"/>
              <a:gd name="T21" fmla="*/ 88 h 96"/>
              <a:gd name="T22" fmla="*/ 72 w 80"/>
              <a:gd name="T23" fmla="*/ 80 h 96"/>
              <a:gd name="T24" fmla="*/ 44 w 80"/>
              <a:gd name="T25" fmla="*/ 80 h 96"/>
              <a:gd name="T26" fmla="*/ 44 w 80"/>
              <a:gd name="T27" fmla="*/ 88 h 96"/>
              <a:gd name="T28" fmla="*/ 76 w 80"/>
              <a:gd name="T29" fmla="*/ 64 h 96"/>
              <a:gd name="T30" fmla="*/ 4 w 80"/>
              <a:gd name="T31" fmla="*/ 64 h 96"/>
              <a:gd name="T32" fmla="*/ 0 w 80"/>
              <a:gd name="T33" fmla="*/ 60 h 96"/>
              <a:gd name="T34" fmla="*/ 0 w 80"/>
              <a:gd name="T35" fmla="*/ 4 h 96"/>
              <a:gd name="T36" fmla="*/ 4 w 80"/>
              <a:gd name="T37" fmla="*/ 0 h 96"/>
              <a:gd name="T38" fmla="*/ 76 w 80"/>
              <a:gd name="T39" fmla="*/ 0 h 96"/>
              <a:gd name="T40" fmla="*/ 80 w 80"/>
              <a:gd name="T41" fmla="*/ 4 h 96"/>
              <a:gd name="T42" fmla="*/ 80 w 80"/>
              <a:gd name="T43" fmla="*/ 60 h 96"/>
              <a:gd name="T44" fmla="*/ 76 w 80"/>
              <a:gd name="T45" fmla="*/ 64 h 96"/>
              <a:gd name="T46" fmla="*/ 8 w 80"/>
              <a:gd name="T47" fmla="*/ 56 h 96"/>
              <a:gd name="T48" fmla="*/ 72 w 80"/>
              <a:gd name="T49" fmla="*/ 56 h 96"/>
              <a:gd name="T50" fmla="*/ 72 w 80"/>
              <a:gd name="T51" fmla="*/ 24 h 96"/>
              <a:gd name="T52" fmla="*/ 8 w 80"/>
              <a:gd name="T53" fmla="*/ 24 h 96"/>
              <a:gd name="T54" fmla="*/ 8 w 80"/>
              <a:gd name="T55" fmla="*/ 56 h 96"/>
              <a:gd name="T56" fmla="*/ 8 w 80"/>
              <a:gd name="T57" fmla="*/ 16 h 96"/>
              <a:gd name="T58" fmla="*/ 72 w 80"/>
              <a:gd name="T59" fmla="*/ 16 h 96"/>
              <a:gd name="T60" fmla="*/ 72 w 80"/>
              <a:gd name="T61" fmla="*/ 8 h 96"/>
              <a:gd name="T62" fmla="*/ 8 w 80"/>
              <a:gd name="T63" fmla="*/ 8 h 96"/>
              <a:gd name="T64" fmla="*/ 8 w 80"/>
              <a:gd name="T65"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96">
                <a:moveTo>
                  <a:pt x="76" y="96"/>
                </a:moveTo>
                <a:cubicBezTo>
                  <a:pt x="40" y="96"/>
                  <a:pt x="40" y="96"/>
                  <a:pt x="40" y="96"/>
                </a:cubicBezTo>
                <a:cubicBezTo>
                  <a:pt x="38" y="96"/>
                  <a:pt x="36" y="94"/>
                  <a:pt x="36" y="92"/>
                </a:cubicBezTo>
                <a:cubicBezTo>
                  <a:pt x="36" y="76"/>
                  <a:pt x="36" y="76"/>
                  <a:pt x="36" y="76"/>
                </a:cubicBezTo>
                <a:cubicBezTo>
                  <a:pt x="36" y="74"/>
                  <a:pt x="38" y="72"/>
                  <a:pt x="40" y="72"/>
                </a:cubicBezTo>
                <a:cubicBezTo>
                  <a:pt x="76" y="72"/>
                  <a:pt x="76" y="72"/>
                  <a:pt x="76" y="72"/>
                </a:cubicBezTo>
                <a:cubicBezTo>
                  <a:pt x="78" y="72"/>
                  <a:pt x="80" y="74"/>
                  <a:pt x="80" y="76"/>
                </a:cubicBezTo>
                <a:cubicBezTo>
                  <a:pt x="80" y="92"/>
                  <a:pt x="80" y="92"/>
                  <a:pt x="80" y="92"/>
                </a:cubicBezTo>
                <a:cubicBezTo>
                  <a:pt x="80" y="94"/>
                  <a:pt x="78" y="96"/>
                  <a:pt x="76" y="96"/>
                </a:cubicBezTo>
                <a:close/>
                <a:moveTo>
                  <a:pt x="44" y="88"/>
                </a:moveTo>
                <a:cubicBezTo>
                  <a:pt x="72" y="88"/>
                  <a:pt x="72" y="88"/>
                  <a:pt x="72" y="88"/>
                </a:cubicBezTo>
                <a:cubicBezTo>
                  <a:pt x="72" y="80"/>
                  <a:pt x="72" y="80"/>
                  <a:pt x="72" y="80"/>
                </a:cubicBezTo>
                <a:cubicBezTo>
                  <a:pt x="44" y="80"/>
                  <a:pt x="44" y="80"/>
                  <a:pt x="44" y="80"/>
                </a:cubicBezTo>
                <a:lnTo>
                  <a:pt x="44" y="88"/>
                </a:lnTo>
                <a:close/>
                <a:moveTo>
                  <a:pt x="76" y="64"/>
                </a:moveTo>
                <a:cubicBezTo>
                  <a:pt x="4" y="64"/>
                  <a:pt x="4" y="64"/>
                  <a:pt x="4" y="64"/>
                </a:cubicBezTo>
                <a:cubicBezTo>
                  <a:pt x="2" y="64"/>
                  <a:pt x="0" y="62"/>
                  <a:pt x="0" y="60"/>
                </a:cubicBezTo>
                <a:cubicBezTo>
                  <a:pt x="0" y="4"/>
                  <a:pt x="0" y="4"/>
                  <a:pt x="0" y="4"/>
                </a:cubicBezTo>
                <a:cubicBezTo>
                  <a:pt x="0" y="2"/>
                  <a:pt x="2" y="0"/>
                  <a:pt x="4" y="0"/>
                </a:cubicBezTo>
                <a:cubicBezTo>
                  <a:pt x="76" y="0"/>
                  <a:pt x="76" y="0"/>
                  <a:pt x="76" y="0"/>
                </a:cubicBezTo>
                <a:cubicBezTo>
                  <a:pt x="78" y="0"/>
                  <a:pt x="80" y="2"/>
                  <a:pt x="80" y="4"/>
                </a:cubicBezTo>
                <a:cubicBezTo>
                  <a:pt x="80" y="60"/>
                  <a:pt x="80" y="60"/>
                  <a:pt x="80" y="60"/>
                </a:cubicBezTo>
                <a:cubicBezTo>
                  <a:pt x="80" y="62"/>
                  <a:pt x="78" y="64"/>
                  <a:pt x="76" y="64"/>
                </a:cubicBezTo>
                <a:close/>
                <a:moveTo>
                  <a:pt x="8" y="56"/>
                </a:moveTo>
                <a:cubicBezTo>
                  <a:pt x="72" y="56"/>
                  <a:pt x="72" y="56"/>
                  <a:pt x="72" y="56"/>
                </a:cubicBezTo>
                <a:cubicBezTo>
                  <a:pt x="72" y="24"/>
                  <a:pt x="72" y="24"/>
                  <a:pt x="72" y="24"/>
                </a:cubicBezTo>
                <a:cubicBezTo>
                  <a:pt x="8" y="24"/>
                  <a:pt x="8" y="24"/>
                  <a:pt x="8" y="24"/>
                </a:cubicBezTo>
                <a:lnTo>
                  <a:pt x="8" y="56"/>
                </a:lnTo>
                <a:close/>
                <a:moveTo>
                  <a:pt x="8" y="16"/>
                </a:moveTo>
                <a:cubicBezTo>
                  <a:pt x="72" y="16"/>
                  <a:pt x="72" y="16"/>
                  <a:pt x="72" y="16"/>
                </a:cubicBezTo>
                <a:cubicBezTo>
                  <a:pt x="72" y="8"/>
                  <a:pt x="72" y="8"/>
                  <a:pt x="72" y="8"/>
                </a:cubicBezTo>
                <a:cubicBezTo>
                  <a:pt x="8" y="8"/>
                  <a:pt x="8" y="8"/>
                  <a:pt x="8" y="8"/>
                </a:cubicBezTo>
                <a:lnTo>
                  <a:pt x="8"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0" name="Group 13"/>
          <p:cNvGrpSpPr>
            <a:grpSpLocks noChangeAspect="1"/>
          </p:cNvGrpSpPr>
          <p:nvPr userDrawn="1"/>
        </p:nvGrpSpPr>
        <p:grpSpPr bwMode="auto">
          <a:xfrm>
            <a:off x="11081216" y="2554763"/>
            <a:ext cx="268942" cy="323982"/>
            <a:chOff x="292" y="2131"/>
            <a:chExt cx="215" cy="259"/>
          </a:xfrm>
          <a:solidFill>
            <a:schemeClr val="bg1"/>
          </a:solidFill>
        </p:grpSpPr>
        <p:sp>
          <p:nvSpPr>
            <p:cNvPr id="21"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 name="Group 26"/>
          <p:cNvGrpSpPr>
            <a:grpSpLocks noChangeAspect="1"/>
          </p:cNvGrpSpPr>
          <p:nvPr userDrawn="1"/>
        </p:nvGrpSpPr>
        <p:grpSpPr bwMode="auto">
          <a:xfrm>
            <a:off x="11081841" y="5970546"/>
            <a:ext cx="267692" cy="317727"/>
            <a:chOff x="3091" y="1784"/>
            <a:chExt cx="214" cy="254"/>
          </a:xfrm>
          <a:solidFill>
            <a:schemeClr val="bg1"/>
          </a:solidFill>
        </p:grpSpPr>
        <p:sp>
          <p:nvSpPr>
            <p:cNvPr id="24" name="Freeform 27"/>
            <p:cNvSpPr>
              <a:spLocks noEditPoints="1"/>
            </p:cNvSpPr>
            <p:nvPr/>
          </p:nvSpPr>
          <p:spPr bwMode="auto">
            <a:xfrm>
              <a:off x="3091" y="1784"/>
              <a:ext cx="214" cy="254"/>
            </a:xfrm>
            <a:custGeom>
              <a:avLst/>
              <a:gdLst>
                <a:gd name="T0" fmla="*/ 76 w 80"/>
                <a:gd name="T1" fmla="*/ 96 h 96"/>
                <a:gd name="T2" fmla="*/ 4 w 80"/>
                <a:gd name="T3" fmla="*/ 96 h 96"/>
                <a:gd name="T4" fmla="*/ 0 w 80"/>
                <a:gd name="T5" fmla="*/ 92 h 96"/>
                <a:gd name="T6" fmla="*/ 0 w 80"/>
                <a:gd name="T7" fmla="*/ 4 h 96"/>
                <a:gd name="T8" fmla="*/ 4 w 80"/>
                <a:gd name="T9" fmla="*/ 0 h 96"/>
                <a:gd name="T10" fmla="*/ 76 w 80"/>
                <a:gd name="T11" fmla="*/ 0 h 96"/>
                <a:gd name="T12" fmla="*/ 80 w 80"/>
                <a:gd name="T13" fmla="*/ 4 h 96"/>
                <a:gd name="T14" fmla="*/ 80 w 80"/>
                <a:gd name="T15" fmla="*/ 92 h 96"/>
                <a:gd name="T16" fmla="*/ 76 w 80"/>
                <a:gd name="T17" fmla="*/ 96 h 96"/>
                <a:gd name="T18" fmla="*/ 8 w 80"/>
                <a:gd name="T19" fmla="*/ 88 h 96"/>
                <a:gd name="T20" fmla="*/ 72 w 80"/>
                <a:gd name="T21" fmla="*/ 88 h 96"/>
                <a:gd name="T22" fmla="*/ 72 w 80"/>
                <a:gd name="T23" fmla="*/ 8 h 96"/>
                <a:gd name="T24" fmla="*/ 8 w 80"/>
                <a:gd name="T25" fmla="*/ 8 h 96"/>
                <a:gd name="T26" fmla="*/ 8 w 80"/>
                <a:gd name="T27" fmla="*/ 88 h 96"/>
                <a:gd name="T28" fmla="*/ 40 w 80"/>
                <a:gd name="T29" fmla="*/ 80 h 96"/>
                <a:gd name="T30" fmla="*/ 36 w 80"/>
                <a:gd name="T31" fmla="*/ 76 h 96"/>
                <a:gd name="T32" fmla="*/ 36 w 80"/>
                <a:gd name="T33" fmla="*/ 20 h 96"/>
                <a:gd name="T34" fmla="*/ 40 w 80"/>
                <a:gd name="T35" fmla="*/ 16 h 96"/>
                <a:gd name="T36" fmla="*/ 44 w 80"/>
                <a:gd name="T37" fmla="*/ 20 h 96"/>
                <a:gd name="T38" fmla="*/ 44 w 80"/>
                <a:gd name="T39" fmla="*/ 76 h 96"/>
                <a:gd name="T40" fmla="*/ 40 w 80"/>
                <a:gd name="T41" fmla="*/ 8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96">
                  <a:moveTo>
                    <a:pt x="76" y="96"/>
                  </a:moveTo>
                  <a:cubicBezTo>
                    <a:pt x="4" y="96"/>
                    <a:pt x="4" y="96"/>
                    <a:pt x="4" y="96"/>
                  </a:cubicBezTo>
                  <a:cubicBezTo>
                    <a:pt x="2" y="96"/>
                    <a:pt x="0" y="94"/>
                    <a:pt x="0" y="92"/>
                  </a:cubicBezTo>
                  <a:cubicBezTo>
                    <a:pt x="0" y="4"/>
                    <a:pt x="0" y="4"/>
                    <a:pt x="0" y="4"/>
                  </a:cubicBezTo>
                  <a:cubicBezTo>
                    <a:pt x="0" y="2"/>
                    <a:pt x="2" y="0"/>
                    <a:pt x="4" y="0"/>
                  </a:cubicBezTo>
                  <a:cubicBezTo>
                    <a:pt x="76" y="0"/>
                    <a:pt x="76" y="0"/>
                    <a:pt x="76" y="0"/>
                  </a:cubicBezTo>
                  <a:cubicBezTo>
                    <a:pt x="78" y="0"/>
                    <a:pt x="80" y="2"/>
                    <a:pt x="80" y="4"/>
                  </a:cubicBezTo>
                  <a:cubicBezTo>
                    <a:pt x="80" y="92"/>
                    <a:pt x="80" y="92"/>
                    <a:pt x="80" y="92"/>
                  </a:cubicBezTo>
                  <a:cubicBezTo>
                    <a:pt x="80" y="94"/>
                    <a:pt x="78" y="96"/>
                    <a:pt x="76" y="96"/>
                  </a:cubicBezTo>
                  <a:close/>
                  <a:moveTo>
                    <a:pt x="8" y="88"/>
                  </a:moveTo>
                  <a:cubicBezTo>
                    <a:pt x="72" y="88"/>
                    <a:pt x="72" y="88"/>
                    <a:pt x="72" y="88"/>
                  </a:cubicBezTo>
                  <a:cubicBezTo>
                    <a:pt x="72" y="8"/>
                    <a:pt x="72" y="8"/>
                    <a:pt x="72" y="8"/>
                  </a:cubicBezTo>
                  <a:cubicBezTo>
                    <a:pt x="8" y="8"/>
                    <a:pt x="8" y="8"/>
                    <a:pt x="8" y="8"/>
                  </a:cubicBezTo>
                  <a:lnTo>
                    <a:pt x="8" y="88"/>
                  </a:lnTo>
                  <a:close/>
                  <a:moveTo>
                    <a:pt x="40" y="80"/>
                  </a:moveTo>
                  <a:cubicBezTo>
                    <a:pt x="38" y="80"/>
                    <a:pt x="36" y="78"/>
                    <a:pt x="36" y="76"/>
                  </a:cubicBezTo>
                  <a:cubicBezTo>
                    <a:pt x="36" y="20"/>
                    <a:pt x="36" y="20"/>
                    <a:pt x="36" y="20"/>
                  </a:cubicBezTo>
                  <a:cubicBezTo>
                    <a:pt x="36" y="18"/>
                    <a:pt x="38" y="16"/>
                    <a:pt x="40" y="16"/>
                  </a:cubicBezTo>
                  <a:cubicBezTo>
                    <a:pt x="42" y="16"/>
                    <a:pt x="44" y="18"/>
                    <a:pt x="44" y="20"/>
                  </a:cubicBezTo>
                  <a:cubicBezTo>
                    <a:pt x="44" y="76"/>
                    <a:pt x="44" y="76"/>
                    <a:pt x="44" y="76"/>
                  </a:cubicBezTo>
                  <a:cubicBezTo>
                    <a:pt x="44" y="78"/>
                    <a:pt x="42"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8"/>
            <p:cNvSpPr>
              <a:spLocks/>
            </p:cNvSpPr>
            <p:nvPr/>
          </p:nvSpPr>
          <p:spPr bwMode="auto">
            <a:xfrm>
              <a:off x="3145" y="1837"/>
              <a:ext cx="101" cy="138"/>
            </a:xfrm>
            <a:custGeom>
              <a:avLst/>
              <a:gdLst>
                <a:gd name="T0" fmla="*/ 19 w 38"/>
                <a:gd name="T1" fmla="*/ 52 h 52"/>
                <a:gd name="T2" fmla="*/ 3 w 38"/>
                <a:gd name="T3" fmla="*/ 49 h 52"/>
                <a:gd name="T4" fmla="*/ 1 w 38"/>
                <a:gd name="T5" fmla="*/ 43 h 52"/>
                <a:gd name="T6" fmla="*/ 6 w 38"/>
                <a:gd name="T7" fmla="*/ 41 h 52"/>
                <a:gd name="T8" fmla="*/ 27 w 38"/>
                <a:gd name="T9" fmla="*/ 42 h 52"/>
                <a:gd name="T10" fmla="*/ 29 w 38"/>
                <a:gd name="T11" fmla="*/ 37 h 52"/>
                <a:gd name="T12" fmla="*/ 19 w 38"/>
                <a:gd name="T13" fmla="*/ 31 h 52"/>
                <a:gd name="T14" fmla="*/ 3 w 38"/>
                <a:gd name="T15" fmla="*/ 15 h 52"/>
                <a:gd name="T16" fmla="*/ 9 w 38"/>
                <a:gd name="T17" fmla="*/ 4 h 52"/>
                <a:gd name="T18" fmla="*/ 36 w 38"/>
                <a:gd name="T19" fmla="*/ 5 h 52"/>
                <a:gd name="T20" fmla="*/ 37 w 38"/>
                <a:gd name="T21" fmla="*/ 11 h 52"/>
                <a:gd name="T22" fmla="*/ 32 w 38"/>
                <a:gd name="T23" fmla="*/ 12 h 52"/>
                <a:gd name="T24" fmla="*/ 13 w 38"/>
                <a:gd name="T25" fmla="*/ 11 h 52"/>
                <a:gd name="T26" fmla="*/ 11 w 38"/>
                <a:gd name="T27" fmla="*/ 15 h 52"/>
                <a:gd name="T28" fmla="*/ 22 w 38"/>
                <a:gd name="T29" fmla="*/ 23 h 52"/>
                <a:gd name="T30" fmla="*/ 37 w 38"/>
                <a:gd name="T31" fmla="*/ 37 h 52"/>
                <a:gd name="T32" fmla="*/ 31 w 38"/>
                <a:gd name="T33" fmla="*/ 49 h 52"/>
                <a:gd name="T34" fmla="*/ 19 w 38"/>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2">
                  <a:moveTo>
                    <a:pt x="19" y="52"/>
                  </a:moveTo>
                  <a:cubicBezTo>
                    <a:pt x="14" y="52"/>
                    <a:pt x="8" y="50"/>
                    <a:pt x="3" y="49"/>
                  </a:cubicBezTo>
                  <a:cubicBezTo>
                    <a:pt x="1" y="48"/>
                    <a:pt x="0" y="45"/>
                    <a:pt x="1" y="43"/>
                  </a:cubicBezTo>
                  <a:cubicBezTo>
                    <a:pt x="1" y="41"/>
                    <a:pt x="4" y="40"/>
                    <a:pt x="6" y="41"/>
                  </a:cubicBezTo>
                  <a:cubicBezTo>
                    <a:pt x="14" y="44"/>
                    <a:pt x="23" y="45"/>
                    <a:pt x="27" y="42"/>
                  </a:cubicBezTo>
                  <a:cubicBezTo>
                    <a:pt x="28" y="41"/>
                    <a:pt x="29" y="40"/>
                    <a:pt x="29" y="37"/>
                  </a:cubicBezTo>
                  <a:cubicBezTo>
                    <a:pt x="29" y="34"/>
                    <a:pt x="26" y="33"/>
                    <a:pt x="19" y="31"/>
                  </a:cubicBezTo>
                  <a:cubicBezTo>
                    <a:pt x="12" y="28"/>
                    <a:pt x="3" y="25"/>
                    <a:pt x="3" y="15"/>
                  </a:cubicBezTo>
                  <a:cubicBezTo>
                    <a:pt x="3" y="10"/>
                    <a:pt x="5" y="6"/>
                    <a:pt x="9" y="4"/>
                  </a:cubicBezTo>
                  <a:cubicBezTo>
                    <a:pt x="17" y="0"/>
                    <a:pt x="30" y="2"/>
                    <a:pt x="36" y="5"/>
                  </a:cubicBezTo>
                  <a:cubicBezTo>
                    <a:pt x="37" y="6"/>
                    <a:pt x="38" y="9"/>
                    <a:pt x="37" y="11"/>
                  </a:cubicBezTo>
                  <a:cubicBezTo>
                    <a:pt x="36" y="13"/>
                    <a:pt x="34" y="13"/>
                    <a:pt x="32" y="12"/>
                  </a:cubicBezTo>
                  <a:cubicBezTo>
                    <a:pt x="28" y="10"/>
                    <a:pt x="18" y="8"/>
                    <a:pt x="13" y="11"/>
                  </a:cubicBezTo>
                  <a:cubicBezTo>
                    <a:pt x="11" y="12"/>
                    <a:pt x="11" y="13"/>
                    <a:pt x="11" y="15"/>
                  </a:cubicBezTo>
                  <a:cubicBezTo>
                    <a:pt x="11" y="19"/>
                    <a:pt x="14" y="21"/>
                    <a:pt x="22" y="23"/>
                  </a:cubicBezTo>
                  <a:cubicBezTo>
                    <a:pt x="28" y="25"/>
                    <a:pt x="37" y="28"/>
                    <a:pt x="37" y="37"/>
                  </a:cubicBezTo>
                  <a:cubicBezTo>
                    <a:pt x="37" y="43"/>
                    <a:pt x="34" y="47"/>
                    <a:pt x="31" y="49"/>
                  </a:cubicBezTo>
                  <a:cubicBezTo>
                    <a:pt x="28" y="51"/>
                    <a:pt x="24" y="52"/>
                    <a:pt x="1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4"/>
          <p:cNvGrpSpPr>
            <a:grpSpLocks noChangeAspect="1"/>
          </p:cNvGrpSpPr>
          <p:nvPr userDrawn="1"/>
        </p:nvGrpSpPr>
        <p:grpSpPr bwMode="auto">
          <a:xfrm>
            <a:off x="11055573" y="291565"/>
            <a:ext cx="320229" cy="292709"/>
            <a:chOff x="293" y="695"/>
            <a:chExt cx="256" cy="234"/>
          </a:xfrm>
          <a:solidFill>
            <a:schemeClr val="bg1"/>
          </a:solidFill>
        </p:grpSpPr>
        <p:sp>
          <p:nvSpPr>
            <p:cNvPr id="27"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9" name="Freeform 19"/>
          <p:cNvSpPr>
            <a:spLocks noEditPoints="1"/>
          </p:cNvSpPr>
          <p:nvPr userDrawn="1"/>
        </p:nvSpPr>
        <p:spPr bwMode="auto">
          <a:xfrm>
            <a:off x="11063704" y="3701460"/>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0" name="TextBox 29"/>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a:solidFill>
                  <a:srgbClr val="FF0000"/>
                </a:solidFill>
              </a:rPr>
              <a:t>These slides provide</a:t>
            </a:r>
            <a:r>
              <a:rPr lang="en-US" sz="1050" baseline="0" dirty="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a:solidFill>
                <a:srgbClr val="FF0000"/>
              </a:solidFill>
            </a:endParaRPr>
          </a:p>
          <a:p>
            <a:pPr algn="l"/>
            <a:r>
              <a:rPr lang="en-US" sz="1050" baseline="0" dirty="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591240182"/>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Interactive right condensed">
    <p:spTree>
      <p:nvGrpSpPr>
        <p:cNvPr id="1" name=""/>
        <p:cNvGrpSpPr/>
        <p:nvPr/>
      </p:nvGrpSpPr>
      <p:grpSpPr>
        <a:xfrm>
          <a:off x="0" y="0"/>
          <a:ext cx="0" cy="0"/>
          <a:chOff x="0" y="0"/>
          <a:chExt cx="0" cy="0"/>
        </a:xfrm>
      </p:grpSpPr>
      <p:sp>
        <p:nvSpPr>
          <p:cNvPr id="88" name="Rectangle 87"/>
          <p:cNvSpPr/>
          <p:nvPr userDrawn="1"/>
        </p:nvSpPr>
        <p:spPr>
          <a:xfrm>
            <a:off x="10033000" y="0"/>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6" name="Rectangle 65"/>
          <p:cNvSpPr/>
          <p:nvPr userDrawn="1"/>
        </p:nvSpPr>
        <p:spPr>
          <a:xfrm>
            <a:off x="10033000" y="685682"/>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7" name="Rectangle 66"/>
          <p:cNvSpPr/>
          <p:nvPr userDrawn="1"/>
        </p:nvSpPr>
        <p:spPr>
          <a:xfrm>
            <a:off x="10033000" y="1371364"/>
            <a:ext cx="2159000" cy="68685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3" name="Rectangle 102"/>
          <p:cNvSpPr/>
          <p:nvPr userDrawn="1"/>
        </p:nvSpPr>
        <p:spPr>
          <a:xfrm>
            <a:off x="10033000" y="2057046"/>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4" name="Rectangle 103"/>
          <p:cNvSpPr/>
          <p:nvPr userDrawn="1"/>
        </p:nvSpPr>
        <p:spPr>
          <a:xfrm>
            <a:off x="10033000" y="2742728"/>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5" name="Rectangle 104"/>
          <p:cNvSpPr/>
          <p:nvPr userDrawn="1"/>
        </p:nvSpPr>
        <p:spPr>
          <a:xfrm>
            <a:off x="10033000" y="3428410"/>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6" name="Rectangle 105"/>
          <p:cNvSpPr/>
          <p:nvPr userDrawn="1"/>
        </p:nvSpPr>
        <p:spPr>
          <a:xfrm>
            <a:off x="10033000" y="4114092"/>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7" name="Rectangle 106"/>
          <p:cNvSpPr/>
          <p:nvPr userDrawn="1"/>
        </p:nvSpPr>
        <p:spPr>
          <a:xfrm>
            <a:off x="10033000" y="4799774"/>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8" name="Rectangle 107"/>
          <p:cNvSpPr/>
          <p:nvPr userDrawn="1"/>
        </p:nvSpPr>
        <p:spPr>
          <a:xfrm>
            <a:off x="10033000" y="5485456"/>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9" name="Rectangle 108"/>
          <p:cNvSpPr/>
          <p:nvPr userDrawn="1"/>
        </p:nvSpPr>
        <p:spPr>
          <a:xfrm>
            <a:off x="10033000" y="6171142"/>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userDrawn="1">
            <p:ph type="title" hasCustomPrompt="1"/>
          </p:nvPr>
        </p:nvSpPr>
        <p:spPr>
          <a:xfrm>
            <a:off x="485776" y="361950"/>
            <a:ext cx="9509124"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userDrawn="1">
            <p:ph type="body" sz="half" idx="15" hasCustomPrompt="1"/>
          </p:nvPr>
        </p:nvSpPr>
        <p:spPr>
          <a:xfrm>
            <a:off x="5200650"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userDrawn="1">
            <p:ph type="body" sz="half" idx="2" hasCustomPrompt="1"/>
          </p:nvPr>
        </p:nvSpPr>
        <p:spPr>
          <a:xfrm>
            <a:off x="485776" y="806807"/>
            <a:ext cx="9509124"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grpSp>
        <p:nvGrpSpPr>
          <p:cNvPr id="100" name="Group 99"/>
          <p:cNvGrpSpPr/>
          <p:nvPr userDrawn="1"/>
        </p:nvGrpSpPr>
        <p:grpSpPr>
          <a:xfrm>
            <a:off x="10460877" y="866671"/>
            <a:ext cx="1208299" cy="268942"/>
            <a:chOff x="10460877" y="887251"/>
            <a:chExt cx="1208299" cy="268942"/>
          </a:xfrm>
        </p:grpSpPr>
        <p:sp>
          <p:nvSpPr>
            <p:cNvPr id="9" name="Rectangle 8"/>
            <p:cNvSpPr/>
            <p:nvPr userDrawn="1"/>
          </p:nvSpPr>
          <p:spPr>
            <a:xfrm>
              <a:off x="10922177" y="913999"/>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 </a:t>
              </a:r>
              <a:r>
                <a:rPr lang="en-GB" sz="1400" baseline="0" dirty="0">
                  <a:solidFill>
                    <a:schemeClr val="accent2"/>
                  </a:solidFill>
                </a:rPr>
                <a:t>2</a:t>
              </a:r>
              <a:endParaRPr lang="en-GB" sz="1400" dirty="0">
                <a:solidFill>
                  <a:schemeClr val="accent2"/>
                </a:solidFill>
              </a:endParaRPr>
            </a:p>
          </p:txBody>
        </p:sp>
        <p:sp>
          <p:nvSpPr>
            <p:cNvPr id="68" name="Freeform 10"/>
            <p:cNvSpPr>
              <a:spLocks noEditPoints="1"/>
            </p:cNvSpPr>
            <p:nvPr userDrawn="1"/>
          </p:nvSpPr>
          <p:spPr bwMode="auto">
            <a:xfrm>
              <a:off x="10460877" y="887251"/>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5" name="Group 24"/>
          <p:cNvGrpSpPr/>
          <p:nvPr userDrawn="1"/>
        </p:nvGrpSpPr>
        <p:grpSpPr>
          <a:xfrm>
            <a:off x="10473386" y="2911468"/>
            <a:ext cx="1195790" cy="317727"/>
            <a:chOff x="10473386" y="2964687"/>
            <a:chExt cx="1195790" cy="317727"/>
          </a:xfrm>
        </p:grpSpPr>
        <p:sp>
          <p:nvSpPr>
            <p:cNvPr id="12" name="Rectangle 11"/>
            <p:cNvSpPr/>
            <p:nvPr userDrawn="1"/>
          </p:nvSpPr>
          <p:spPr>
            <a:xfrm>
              <a:off x="10922177" y="2977382"/>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5</a:t>
              </a:r>
              <a:endParaRPr lang="en-GB" sz="1400" dirty="0">
                <a:solidFill>
                  <a:schemeClr val="accent2"/>
                </a:solidFill>
              </a:endParaRPr>
            </a:p>
          </p:txBody>
        </p:sp>
        <p:sp>
          <p:nvSpPr>
            <p:cNvPr id="69" name="Freeform 23"/>
            <p:cNvSpPr>
              <a:spLocks noEditPoints="1"/>
            </p:cNvSpPr>
            <p:nvPr userDrawn="1"/>
          </p:nvSpPr>
          <p:spPr bwMode="auto">
            <a:xfrm>
              <a:off x="10473386" y="2964687"/>
              <a:ext cx="267691" cy="317727"/>
            </a:xfrm>
            <a:custGeom>
              <a:avLst/>
              <a:gdLst>
                <a:gd name="T0" fmla="*/ 76 w 80"/>
                <a:gd name="T1" fmla="*/ 96 h 96"/>
                <a:gd name="T2" fmla="*/ 40 w 80"/>
                <a:gd name="T3" fmla="*/ 96 h 96"/>
                <a:gd name="T4" fmla="*/ 36 w 80"/>
                <a:gd name="T5" fmla="*/ 92 h 96"/>
                <a:gd name="T6" fmla="*/ 36 w 80"/>
                <a:gd name="T7" fmla="*/ 76 h 96"/>
                <a:gd name="T8" fmla="*/ 40 w 80"/>
                <a:gd name="T9" fmla="*/ 72 h 96"/>
                <a:gd name="T10" fmla="*/ 76 w 80"/>
                <a:gd name="T11" fmla="*/ 72 h 96"/>
                <a:gd name="T12" fmla="*/ 80 w 80"/>
                <a:gd name="T13" fmla="*/ 76 h 96"/>
                <a:gd name="T14" fmla="*/ 80 w 80"/>
                <a:gd name="T15" fmla="*/ 92 h 96"/>
                <a:gd name="T16" fmla="*/ 76 w 80"/>
                <a:gd name="T17" fmla="*/ 96 h 96"/>
                <a:gd name="T18" fmla="*/ 44 w 80"/>
                <a:gd name="T19" fmla="*/ 88 h 96"/>
                <a:gd name="T20" fmla="*/ 72 w 80"/>
                <a:gd name="T21" fmla="*/ 88 h 96"/>
                <a:gd name="T22" fmla="*/ 72 w 80"/>
                <a:gd name="T23" fmla="*/ 80 h 96"/>
                <a:gd name="T24" fmla="*/ 44 w 80"/>
                <a:gd name="T25" fmla="*/ 80 h 96"/>
                <a:gd name="T26" fmla="*/ 44 w 80"/>
                <a:gd name="T27" fmla="*/ 88 h 96"/>
                <a:gd name="T28" fmla="*/ 76 w 80"/>
                <a:gd name="T29" fmla="*/ 64 h 96"/>
                <a:gd name="T30" fmla="*/ 4 w 80"/>
                <a:gd name="T31" fmla="*/ 64 h 96"/>
                <a:gd name="T32" fmla="*/ 0 w 80"/>
                <a:gd name="T33" fmla="*/ 60 h 96"/>
                <a:gd name="T34" fmla="*/ 0 w 80"/>
                <a:gd name="T35" fmla="*/ 4 h 96"/>
                <a:gd name="T36" fmla="*/ 4 w 80"/>
                <a:gd name="T37" fmla="*/ 0 h 96"/>
                <a:gd name="T38" fmla="*/ 76 w 80"/>
                <a:gd name="T39" fmla="*/ 0 h 96"/>
                <a:gd name="T40" fmla="*/ 80 w 80"/>
                <a:gd name="T41" fmla="*/ 4 h 96"/>
                <a:gd name="T42" fmla="*/ 80 w 80"/>
                <a:gd name="T43" fmla="*/ 60 h 96"/>
                <a:gd name="T44" fmla="*/ 76 w 80"/>
                <a:gd name="T45" fmla="*/ 64 h 96"/>
                <a:gd name="T46" fmla="*/ 8 w 80"/>
                <a:gd name="T47" fmla="*/ 56 h 96"/>
                <a:gd name="T48" fmla="*/ 72 w 80"/>
                <a:gd name="T49" fmla="*/ 56 h 96"/>
                <a:gd name="T50" fmla="*/ 72 w 80"/>
                <a:gd name="T51" fmla="*/ 24 h 96"/>
                <a:gd name="T52" fmla="*/ 8 w 80"/>
                <a:gd name="T53" fmla="*/ 24 h 96"/>
                <a:gd name="T54" fmla="*/ 8 w 80"/>
                <a:gd name="T55" fmla="*/ 56 h 96"/>
                <a:gd name="T56" fmla="*/ 8 w 80"/>
                <a:gd name="T57" fmla="*/ 16 h 96"/>
                <a:gd name="T58" fmla="*/ 72 w 80"/>
                <a:gd name="T59" fmla="*/ 16 h 96"/>
                <a:gd name="T60" fmla="*/ 72 w 80"/>
                <a:gd name="T61" fmla="*/ 8 h 96"/>
                <a:gd name="T62" fmla="*/ 8 w 80"/>
                <a:gd name="T63" fmla="*/ 8 h 96"/>
                <a:gd name="T64" fmla="*/ 8 w 80"/>
                <a:gd name="T65"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96">
                  <a:moveTo>
                    <a:pt x="76" y="96"/>
                  </a:moveTo>
                  <a:cubicBezTo>
                    <a:pt x="40" y="96"/>
                    <a:pt x="40" y="96"/>
                    <a:pt x="40" y="96"/>
                  </a:cubicBezTo>
                  <a:cubicBezTo>
                    <a:pt x="38" y="96"/>
                    <a:pt x="36" y="94"/>
                    <a:pt x="36" y="92"/>
                  </a:cubicBezTo>
                  <a:cubicBezTo>
                    <a:pt x="36" y="76"/>
                    <a:pt x="36" y="76"/>
                    <a:pt x="36" y="76"/>
                  </a:cubicBezTo>
                  <a:cubicBezTo>
                    <a:pt x="36" y="74"/>
                    <a:pt x="38" y="72"/>
                    <a:pt x="40" y="72"/>
                  </a:cubicBezTo>
                  <a:cubicBezTo>
                    <a:pt x="76" y="72"/>
                    <a:pt x="76" y="72"/>
                    <a:pt x="76" y="72"/>
                  </a:cubicBezTo>
                  <a:cubicBezTo>
                    <a:pt x="78" y="72"/>
                    <a:pt x="80" y="74"/>
                    <a:pt x="80" y="76"/>
                  </a:cubicBezTo>
                  <a:cubicBezTo>
                    <a:pt x="80" y="92"/>
                    <a:pt x="80" y="92"/>
                    <a:pt x="80" y="92"/>
                  </a:cubicBezTo>
                  <a:cubicBezTo>
                    <a:pt x="80" y="94"/>
                    <a:pt x="78" y="96"/>
                    <a:pt x="76" y="96"/>
                  </a:cubicBezTo>
                  <a:close/>
                  <a:moveTo>
                    <a:pt x="44" y="88"/>
                  </a:moveTo>
                  <a:cubicBezTo>
                    <a:pt x="72" y="88"/>
                    <a:pt x="72" y="88"/>
                    <a:pt x="72" y="88"/>
                  </a:cubicBezTo>
                  <a:cubicBezTo>
                    <a:pt x="72" y="80"/>
                    <a:pt x="72" y="80"/>
                    <a:pt x="72" y="80"/>
                  </a:cubicBezTo>
                  <a:cubicBezTo>
                    <a:pt x="44" y="80"/>
                    <a:pt x="44" y="80"/>
                    <a:pt x="44" y="80"/>
                  </a:cubicBezTo>
                  <a:lnTo>
                    <a:pt x="44" y="88"/>
                  </a:lnTo>
                  <a:close/>
                  <a:moveTo>
                    <a:pt x="76" y="64"/>
                  </a:moveTo>
                  <a:cubicBezTo>
                    <a:pt x="4" y="64"/>
                    <a:pt x="4" y="64"/>
                    <a:pt x="4" y="64"/>
                  </a:cubicBezTo>
                  <a:cubicBezTo>
                    <a:pt x="2" y="64"/>
                    <a:pt x="0" y="62"/>
                    <a:pt x="0" y="60"/>
                  </a:cubicBezTo>
                  <a:cubicBezTo>
                    <a:pt x="0" y="4"/>
                    <a:pt x="0" y="4"/>
                    <a:pt x="0" y="4"/>
                  </a:cubicBezTo>
                  <a:cubicBezTo>
                    <a:pt x="0" y="2"/>
                    <a:pt x="2" y="0"/>
                    <a:pt x="4" y="0"/>
                  </a:cubicBezTo>
                  <a:cubicBezTo>
                    <a:pt x="76" y="0"/>
                    <a:pt x="76" y="0"/>
                    <a:pt x="76" y="0"/>
                  </a:cubicBezTo>
                  <a:cubicBezTo>
                    <a:pt x="78" y="0"/>
                    <a:pt x="80" y="2"/>
                    <a:pt x="80" y="4"/>
                  </a:cubicBezTo>
                  <a:cubicBezTo>
                    <a:pt x="80" y="60"/>
                    <a:pt x="80" y="60"/>
                    <a:pt x="80" y="60"/>
                  </a:cubicBezTo>
                  <a:cubicBezTo>
                    <a:pt x="80" y="62"/>
                    <a:pt x="78" y="64"/>
                    <a:pt x="76" y="64"/>
                  </a:cubicBezTo>
                  <a:close/>
                  <a:moveTo>
                    <a:pt x="8" y="56"/>
                  </a:moveTo>
                  <a:cubicBezTo>
                    <a:pt x="72" y="56"/>
                    <a:pt x="72" y="56"/>
                    <a:pt x="72" y="56"/>
                  </a:cubicBezTo>
                  <a:cubicBezTo>
                    <a:pt x="72" y="24"/>
                    <a:pt x="72" y="24"/>
                    <a:pt x="72" y="24"/>
                  </a:cubicBezTo>
                  <a:cubicBezTo>
                    <a:pt x="8" y="24"/>
                    <a:pt x="8" y="24"/>
                    <a:pt x="8" y="24"/>
                  </a:cubicBezTo>
                  <a:lnTo>
                    <a:pt x="8" y="56"/>
                  </a:lnTo>
                  <a:close/>
                  <a:moveTo>
                    <a:pt x="8" y="16"/>
                  </a:moveTo>
                  <a:cubicBezTo>
                    <a:pt x="72" y="16"/>
                    <a:pt x="72" y="16"/>
                    <a:pt x="72" y="16"/>
                  </a:cubicBezTo>
                  <a:cubicBezTo>
                    <a:pt x="72" y="8"/>
                    <a:pt x="72" y="8"/>
                    <a:pt x="72" y="8"/>
                  </a:cubicBezTo>
                  <a:cubicBezTo>
                    <a:pt x="8" y="8"/>
                    <a:pt x="8" y="8"/>
                    <a:pt x="8" y="8"/>
                  </a:cubicBezTo>
                  <a:lnTo>
                    <a:pt x="8" y="1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99" name="Group 98"/>
          <p:cNvGrpSpPr/>
          <p:nvPr userDrawn="1"/>
        </p:nvGrpSpPr>
        <p:grpSpPr>
          <a:xfrm>
            <a:off x="10472760" y="1522001"/>
            <a:ext cx="1196416" cy="323982"/>
            <a:chOff x="10472760" y="1547526"/>
            <a:chExt cx="1196416" cy="323982"/>
          </a:xfrm>
        </p:grpSpPr>
        <p:sp>
          <p:nvSpPr>
            <p:cNvPr id="10" name="Rectangle 9"/>
            <p:cNvSpPr/>
            <p:nvPr userDrawn="1"/>
          </p:nvSpPr>
          <p:spPr>
            <a:xfrm>
              <a:off x="10922177" y="1601794"/>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bg1"/>
                  </a:solidFill>
                </a:rPr>
                <a:t>Section</a:t>
              </a:r>
              <a:r>
                <a:rPr lang="en-GB" sz="1400" baseline="0" dirty="0">
                  <a:solidFill>
                    <a:schemeClr val="bg1"/>
                  </a:solidFill>
                </a:rPr>
                <a:t> 3</a:t>
              </a:r>
              <a:endParaRPr lang="en-GB" sz="1400" dirty="0">
                <a:solidFill>
                  <a:schemeClr val="bg1"/>
                </a:solidFill>
              </a:endParaRPr>
            </a:p>
          </p:txBody>
        </p:sp>
        <p:grpSp>
          <p:nvGrpSpPr>
            <p:cNvPr id="70" name="Group 13"/>
            <p:cNvGrpSpPr>
              <a:grpSpLocks noChangeAspect="1"/>
            </p:cNvGrpSpPr>
            <p:nvPr userDrawn="1"/>
          </p:nvGrpSpPr>
          <p:grpSpPr bwMode="auto">
            <a:xfrm>
              <a:off x="10472760" y="1547526"/>
              <a:ext cx="268942" cy="323982"/>
              <a:chOff x="292" y="2131"/>
              <a:chExt cx="215" cy="259"/>
            </a:xfrm>
            <a:solidFill>
              <a:schemeClr val="bg1"/>
            </a:solidFill>
          </p:grpSpPr>
          <p:sp>
            <p:nvSpPr>
              <p:cNvPr id="71"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4" name="Group 23"/>
          <p:cNvGrpSpPr/>
          <p:nvPr userDrawn="1"/>
        </p:nvGrpSpPr>
        <p:grpSpPr>
          <a:xfrm>
            <a:off x="10473385" y="3615583"/>
            <a:ext cx="1195791" cy="317727"/>
            <a:chOff x="10473385" y="3630879"/>
            <a:chExt cx="1195791" cy="317727"/>
          </a:xfrm>
        </p:grpSpPr>
        <p:sp>
          <p:nvSpPr>
            <p:cNvPr id="14" name="Rectangle 13"/>
            <p:cNvSpPr/>
            <p:nvPr userDrawn="1"/>
          </p:nvSpPr>
          <p:spPr>
            <a:xfrm>
              <a:off x="10922177" y="3665176"/>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6</a:t>
              </a:r>
              <a:endParaRPr lang="en-GB" sz="1400" dirty="0">
                <a:solidFill>
                  <a:schemeClr val="accent2"/>
                </a:solidFill>
              </a:endParaRPr>
            </a:p>
          </p:txBody>
        </p:sp>
        <p:grpSp>
          <p:nvGrpSpPr>
            <p:cNvPr id="73" name="Group 26"/>
            <p:cNvGrpSpPr>
              <a:grpSpLocks noChangeAspect="1"/>
            </p:cNvGrpSpPr>
            <p:nvPr userDrawn="1"/>
          </p:nvGrpSpPr>
          <p:grpSpPr bwMode="auto">
            <a:xfrm>
              <a:off x="10473385" y="3630879"/>
              <a:ext cx="267692" cy="317727"/>
              <a:chOff x="3091" y="1784"/>
              <a:chExt cx="214" cy="254"/>
            </a:xfrm>
            <a:solidFill>
              <a:schemeClr val="accent2"/>
            </a:solidFill>
          </p:grpSpPr>
          <p:sp>
            <p:nvSpPr>
              <p:cNvPr id="74" name="Freeform 27"/>
              <p:cNvSpPr>
                <a:spLocks noEditPoints="1"/>
              </p:cNvSpPr>
              <p:nvPr/>
            </p:nvSpPr>
            <p:spPr bwMode="auto">
              <a:xfrm>
                <a:off x="3091" y="1784"/>
                <a:ext cx="214" cy="254"/>
              </a:xfrm>
              <a:custGeom>
                <a:avLst/>
                <a:gdLst>
                  <a:gd name="T0" fmla="*/ 76 w 80"/>
                  <a:gd name="T1" fmla="*/ 96 h 96"/>
                  <a:gd name="T2" fmla="*/ 4 w 80"/>
                  <a:gd name="T3" fmla="*/ 96 h 96"/>
                  <a:gd name="T4" fmla="*/ 0 w 80"/>
                  <a:gd name="T5" fmla="*/ 92 h 96"/>
                  <a:gd name="T6" fmla="*/ 0 w 80"/>
                  <a:gd name="T7" fmla="*/ 4 h 96"/>
                  <a:gd name="T8" fmla="*/ 4 w 80"/>
                  <a:gd name="T9" fmla="*/ 0 h 96"/>
                  <a:gd name="T10" fmla="*/ 76 w 80"/>
                  <a:gd name="T11" fmla="*/ 0 h 96"/>
                  <a:gd name="T12" fmla="*/ 80 w 80"/>
                  <a:gd name="T13" fmla="*/ 4 h 96"/>
                  <a:gd name="T14" fmla="*/ 80 w 80"/>
                  <a:gd name="T15" fmla="*/ 92 h 96"/>
                  <a:gd name="T16" fmla="*/ 76 w 80"/>
                  <a:gd name="T17" fmla="*/ 96 h 96"/>
                  <a:gd name="T18" fmla="*/ 8 w 80"/>
                  <a:gd name="T19" fmla="*/ 88 h 96"/>
                  <a:gd name="T20" fmla="*/ 72 w 80"/>
                  <a:gd name="T21" fmla="*/ 88 h 96"/>
                  <a:gd name="T22" fmla="*/ 72 w 80"/>
                  <a:gd name="T23" fmla="*/ 8 h 96"/>
                  <a:gd name="T24" fmla="*/ 8 w 80"/>
                  <a:gd name="T25" fmla="*/ 8 h 96"/>
                  <a:gd name="T26" fmla="*/ 8 w 80"/>
                  <a:gd name="T27" fmla="*/ 88 h 96"/>
                  <a:gd name="T28" fmla="*/ 40 w 80"/>
                  <a:gd name="T29" fmla="*/ 80 h 96"/>
                  <a:gd name="T30" fmla="*/ 36 w 80"/>
                  <a:gd name="T31" fmla="*/ 76 h 96"/>
                  <a:gd name="T32" fmla="*/ 36 w 80"/>
                  <a:gd name="T33" fmla="*/ 20 h 96"/>
                  <a:gd name="T34" fmla="*/ 40 w 80"/>
                  <a:gd name="T35" fmla="*/ 16 h 96"/>
                  <a:gd name="T36" fmla="*/ 44 w 80"/>
                  <a:gd name="T37" fmla="*/ 20 h 96"/>
                  <a:gd name="T38" fmla="*/ 44 w 80"/>
                  <a:gd name="T39" fmla="*/ 76 h 96"/>
                  <a:gd name="T40" fmla="*/ 40 w 80"/>
                  <a:gd name="T41" fmla="*/ 8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96">
                    <a:moveTo>
                      <a:pt x="76" y="96"/>
                    </a:moveTo>
                    <a:cubicBezTo>
                      <a:pt x="4" y="96"/>
                      <a:pt x="4" y="96"/>
                      <a:pt x="4" y="96"/>
                    </a:cubicBezTo>
                    <a:cubicBezTo>
                      <a:pt x="2" y="96"/>
                      <a:pt x="0" y="94"/>
                      <a:pt x="0" y="92"/>
                    </a:cubicBezTo>
                    <a:cubicBezTo>
                      <a:pt x="0" y="4"/>
                      <a:pt x="0" y="4"/>
                      <a:pt x="0" y="4"/>
                    </a:cubicBezTo>
                    <a:cubicBezTo>
                      <a:pt x="0" y="2"/>
                      <a:pt x="2" y="0"/>
                      <a:pt x="4" y="0"/>
                    </a:cubicBezTo>
                    <a:cubicBezTo>
                      <a:pt x="76" y="0"/>
                      <a:pt x="76" y="0"/>
                      <a:pt x="76" y="0"/>
                    </a:cubicBezTo>
                    <a:cubicBezTo>
                      <a:pt x="78" y="0"/>
                      <a:pt x="80" y="2"/>
                      <a:pt x="80" y="4"/>
                    </a:cubicBezTo>
                    <a:cubicBezTo>
                      <a:pt x="80" y="92"/>
                      <a:pt x="80" y="92"/>
                      <a:pt x="80" y="92"/>
                    </a:cubicBezTo>
                    <a:cubicBezTo>
                      <a:pt x="80" y="94"/>
                      <a:pt x="78" y="96"/>
                      <a:pt x="76" y="96"/>
                    </a:cubicBezTo>
                    <a:close/>
                    <a:moveTo>
                      <a:pt x="8" y="88"/>
                    </a:moveTo>
                    <a:cubicBezTo>
                      <a:pt x="72" y="88"/>
                      <a:pt x="72" y="88"/>
                      <a:pt x="72" y="88"/>
                    </a:cubicBezTo>
                    <a:cubicBezTo>
                      <a:pt x="72" y="8"/>
                      <a:pt x="72" y="8"/>
                      <a:pt x="72" y="8"/>
                    </a:cubicBezTo>
                    <a:cubicBezTo>
                      <a:pt x="8" y="8"/>
                      <a:pt x="8" y="8"/>
                      <a:pt x="8" y="8"/>
                    </a:cubicBezTo>
                    <a:lnTo>
                      <a:pt x="8" y="88"/>
                    </a:lnTo>
                    <a:close/>
                    <a:moveTo>
                      <a:pt x="40" y="80"/>
                    </a:moveTo>
                    <a:cubicBezTo>
                      <a:pt x="38" y="80"/>
                      <a:pt x="36" y="78"/>
                      <a:pt x="36" y="76"/>
                    </a:cubicBezTo>
                    <a:cubicBezTo>
                      <a:pt x="36" y="20"/>
                      <a:pt x="36" y="20"/>
                      <a:pt x="36" y="20"/>
                    </a:cubicBezTo>
                    <a:cubicBezTo>
                      <a:pt x="36" y="18"/>
                      <a:pt x="38" y="16"/>
                      <a:pt x="40" y="16"/>
                    </a:cubicBezTo>
                    <a:cubicBezTo>
                      <a:pt x="42" y="16"/>
                      <a:pt x="44" y="18"/>
                      <a:pt x="44" y="20"/>
                    </a:cubicBezTo>
                    <a:cubicBezTo>
                      <a:pt x="44" y="76"/>
                      <a:pt x="44" y="76"/>
                      <a:pt x="44" y="76"/>
                    </a:cubicBezTo>
                    <a:cubicBezTo>
                      <a:pt x="44" y="78"/>
                      <a:pt x="42"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8"/>
              <p:cNvSpPr>
                <a:spLocks/>
              </p:cNvSpPr>
              <p:nvPr/>
            </p:nvSpPr>
            <p:spPr bwMode="auto">
              <a:xfrm>
                <a:off x="3145" y="1837"/>
                <a:ext cx="101" cy="138"/>
              </a:xfrm>
              <a:custGeom>
                <a:avLst/>
                <a:gdLst>
                  <a:gd name="T0" fmla="*/ 19 w 38"/>
                  <a:gd name="T1" fmla="*/ 52 h 52"/>
                  <a:gd name="T2" fmla="*/ 3 w 38"/>
                  <a:gd name="T3" fmla="*/ 49 h 52"/>
                  <a:gd name="T4" fmla="*/ 1 w 38"/>
                  <a:gd name="T5" fmla="*/ 43 h 52"/>
                  <a:gd name="T6" fmla="*/ 6 w 38"/>
                  <a:gd name="T7" fmla="*/ 41 h 52"/>
                  <a:gd name="T8" fmla="*/ 27 w 38"/>
                  <a:gd name="T9" fmla="*/ 42 h 52"/>
                  <a:gd name="T10" fmla="*/ 29 w 38"/>
                  <a:gd name="T11" fmla="*/ 37 h 52"/>
                  <a:gd name="T12" fmla="*/ 19 w 38"/>
                  <a:gd name="T13" fmla="*/ 31 h 52"/>
                  <a:gd name="T14" fmla="*/ 3 w 38"/>
                  <a:gd name="T15" fmla="*/ 15 h 52"/>
                  <a:gd name="T16" fmla="*/ 9 w 38"/>
                  <a:gd name="T17" fmla="*/ 4 h 52"/>
                  <a:gd name="T18" fmla="*/ 36 w 38"/>
                  <a:gd name="T19" fmla="*/ 5 h 52"/>
                  <a:gd name="T20" fmla="*/ 37 w 38"/>
                  <a:gd name="T21" fmla="*/ 11 h 52"/>
                  <a:gd name="T22" fmla="*/ 32 w 38"/>
                  <a:gd name="T23" fmla="*/ 12 h 52"/>
                  <a:gd name="T24" fmla="*/ 13 w 38"/>
                  <a:gd name="T25" fmla="*/ 11 h 52"/>
                  <a:gd name="T26" fmla="*/ 11 w 38"/>
                  <a:gd name="T27" fmla="*/ 15 h 52"/>
                  <a:gd name="T28" fmla="*/ 22 w 38"/>
                  <a:gd name="T29" fmla="*/ 23 h 52"/>
                  <a:gd name="T30" fmla="*/ 37 w 38"/>
                  <a:gd name="T31" fmla="*/ 37 h 52"/>
                  <a:gd name="T32" fmla="*/ 31 w 38"/>
                  <a:gd name="T33" fmla="*/ 49 h 52"/>
                  <a:gd name="T34" fmla="*/ 19 w 38"/>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2">
                    <a:moveTo>
                      <a:pt x="19" y="52"/>
                    </a:moveTo>
                    <a:cubicBezTo>
                      <a:pt x="14" y="52"/>
                      <a:pt x="8" y="50"/>
                      <a:pt x="3" y="49"/>
                    </a:cubicBezTo>
                    <a:cubicBezTo>
                      <a:pt x="1" y="48"/>
                      <a:pt x="0" y="45"/>
                      <a:pt x="1" y="43"/>
                    </a:cubicBezTo>
                    <a:cubicBezTo>
                      <a:pt x="1" y="41"/>
                      <a:pt x="4" y="40"/>
                      <a:pt x="6" y="41"/>
                    </a:cubicBezTo>
                    <a:cubicBezTo>
                      <a:pt x="14" y="44"/>
                      <a:pt x="23" y="45"/>
                      <a:pt x="27" y="42"/>
                    </a:cubicBezTo>
                    <a:cubicBezTo>
                      <a:pt x="28" y="41"/>
                      <a:pt x="29" y="40"/>
                      <a:pt x="29" y="37"/>
                    </a:cubicBezTo>
                    <a:cubicBezTo>
                      <a:pt x="29" y="34"/>
                      <a:pt x="26" y="33"/>
                      <a:pt x="19" y="31"/>
                    </a:cubicBezTo>
                    <a:cubicBezTo>
                      <a:pt x="12" y="28"/>
                      <a:pt x="3" y="25"/>
                      <a:pt x="3" y="15"/>
                    </a:cubicBezTo>
                    <a:cubicBezTo>
                      <a:pt x="3" y="10"/>
                      <a:pt x="5" y="6"/>
                      <a:pt x="9" y="4"/>
                    </a:cubicBezTo>
                    <a:cubicBezTo>
                      <a:pt x="17" y="0"/>
                      <a:pt x="30" y="2"/>
                      <a:pt x="36" y="5"/>
                    </a:cubicBezTo>
                    <a:cubicBezTo>
                      <a:pt x="37" y="6"/>
                      <a:pt x="38" y="9"/>
                      <a:pt x="37" y="11"/>
                    </a:cubicBezTo>
                    <a:cubicBezTo>
                      <a:pt x="36" y="13"/>
                      <a:pt x="34" y="13"/>
                      <a:pt x="32" y="12"/>
                    </a:cubicBezTo>
                    <a:cubicBezTo>
                      <a:pt x="28" y="10"/>
                      <a:pt x="18" y="8"/>
                      <a:pt x="13" y="11"/>
                    </a:cubicBezTo>
                    <a:cubicBezTo>
                      <a:pt x="11" y="12"/>
                      <a:pt x="11" y="13"/>
                      <a:pt x="11" y="15"/>
                    </a:cubicBezTo>
                    <a:cubicBezTo>
                      <a:pt x="11" y="19"/>
                      <a:pt x="14" y="21"/>
                      <a:pt x="22" y="23"/>
                    </a:cubicBezTo>
                    <a:cubicBezTo>
                      <a:pt x="28" y="25"/>
                      <a:pt x="37" y="28"/>
                      <a:pt x="37" y="37"/>
                    </a:cubicBezTo>
                    <a:cubicBezTo>
                      <a:pt x="37" y="43"/>
                      <a:pt x="34" y="47"/>
                      <a:pt x="31" y="49"/>
                    </a:cubicBezTo>
                    <a:cubicBezTo>
                      <a:pt x="28" y="51"/>
                      <a:pt x="24" y="52"/>
                      <a:pt x="1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1" name="Group 100"/>
          <p:cNvGrpSpPr/>
          <p:nvPr userDrawn="1"/>
        </p:nvGrpSpPr>
        <p:grpSpPr>
          <a:xfrm>
            <a:off x="10447117" y="187574"/>
            <a:ext cx="1222059" cy="292709"/>
            <a:chOff x="10447117" y="187574"/>
            <a:chExt cx="1222059" cy="292709"/>
          </a:xfrm>
        </p:grpSpPr>
        <p:sp>
          <p:nvSpPr>
            <p:cNvPr id="8" name="Rectangle 7"/>
            <p:cNvSpPr/>
            <p:nvPr userDrawn="1"/>
          </p:nvSpPr>
          <p:spPr>
            <a:xfrm>
              <a:off x="10922177" y="226205"/>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1</a:t>
              </a:r>
              <a:endParaRPr lang="en-GB" sz="1400" dirty="0">
                <a:solidFill>
                  <a:schemeClr val="accent2"/>
                </a:solidFill>
              </a:endParaRPr>
            </a:p>
          </p:txBody>
        </p:sp>
        <p:grpSp>
          <p:nvGrpSpPr>
            <p:cNvPr id="76" name="Group 4"/>
            <p:cNvGrpSpPr>
              <a:grpSpLocks noChangeAspect="1"/>
            </p:cNvGrpSpPr>
            <p:nvPr userDrawn="1"/>
          </p:nvGrpSpPr>
          <p:grpSpPr bwMode="auto">
            <a:xfrm>
              <a:off x="10447117" y="187574"/>
              <a:ext cx="320229" cy="292709"/>
              <a:chOff x="293" y="695"/>
              <a:chExt cx="256" cy="234"/>
            </a:xfrm>
            <a:solidFill>
              <a:schemeClr val="accent2"/>
            </a:solidFill>
          </p:grpSpPr>
          <p:sp>
            <p:nvSpPr>
              <p:cNvPr id="77"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98" name="Group 97"/>
          <p:cNvGrpSpPr/>
          <p:nvPr userDrawn="1"/>
        </p:nvGrpSpPr>
        <p:grpSpPr>
          <a:xfrm>
            <a:off x="10455248" y="2232371"/>
            <a:ext cx="1213928" cy="292709"/>
            <a:chOff x="10455248" y="2259847"/>
            <a:chExt cx="1213928" cy="292709"/>
          </a:xfrm>
        </p:grpSpPr>
        <p:sp>
          <p:nvSpPr>
            <p:cNvPr id="11" name="Rectangle 10"/>
            <p:cNvSpPr/>
            <p:nvPr userDrawn="1"/>
          </p:nvSpPr>
          <p:spPr>
            <a:xfrm>
              <a:off x="10922177" y="2289588"/>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4</a:t>
              </a:r>
              <a:endParaRPr lang="en-GB" sz="1400" dirty="0">
                <a:solidFill>
                  <a:schemeClr val="accent2"/>
                </a:solidFill>
              </a:endParaRPr>
            </a:p>
          </p:txBody>
        </p:sp>
        <p:sp>
          <p:nvSpPr>
            <p:cNvPr id="79" name="Freeform 19"/>
            <p:cNvSpPr>
              <a:spLocks noEditPoints="1"/>
            </p:cNvSpPr>
            <p:nvPr userDrawn="1"/>
          </p:nvSpPr>
          <p:spPr bwMode="auto">
            <a:xfrm>
              <a:off x="10455248" y="2259847"/>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8" name="Group 17"/>
          <p:cNvGrpSpPr/>
          <p:nvPr userDrawn="1"/>
        </p:nvGrpSpPr>
        <p:grpSpPr>
          <a:xfrm>
            <a:off x="10460877" y="4998795"/>
            <a:ext cx="1208299" cy="268942"/>
            <a:chOff x="10460877" y="4991891"/>
            <a:chExt cx="1208299" cy="268942"/>
          </a:xfrm>
        </p:grpSpPr>
        <p:sp>
          <p:nvSpPr>
            <p:cNvPr id="21" name="Rectangle 20"/>
            <p:cNvSpPr/>
            <p:nvPr userDrawn="1"/>
          </p:nvSpPr>
          <p:spPr>
            <a:xfrm>
              <a:off x="10922177" y="5040765"/>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 </a:t>
              </a:r>
              <a:r>
                <a:rPr lang="en-GB" sz="1400" baseline="0" dirty="0">
                  <a:solidFill>
                    <a:schemeClr val="accent2"/>
                  </a:solidFill>
                </a:rPr>
                <a:t>8</a:t>
              </a:r>
              <a:endParaRPr lang="en-GB" sz="1400" dirty="0">
                <a:solidFill>
                  <a:schemeClr val="accent2"/>
                </a:solidFill>
              </a:endParaRPr>
            </a:p>
          </p:txBody>
        </p:sp>
        <p:sp>
          <p:nvSpPr>
            <p:cNvPr id="80" name="Freeform 10"/>
            <p:cNvSpPr>
              <a:spLocks noEditPoints="1"/>
            </p:cNvSpPr>
            <p:nvPr userDrawn="1"/>
          </p:nvSpPr>
          <p:spPr bwMode="auto">
            <a:xfrm>
              <a:off x="10460877" y="4991891"/>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7" name="Group 16"/>
          <p:cNvGrpSpPr/>
          <p:nvPr userDrawn="1"/>
        </p:nvGrpSpPr>
        <p:grpSpPr>
          <a:xfrm>
            <a:off x="10472760" y="5654125"/>
            <a:ext cx="1196416" cy="323982"/>
            <a:chOff x="10472760" y="5652166"/>
            <a:chExt cx="1196416" cy="323982"/>
          </a:xfrm>
        </p:grpSpPr>
        <p:sp>
          <p:nvSpPr>
            <p:cNvPr id="22" name="Rectangle 21"/>
            <p:cNvSpPr/>
            <p:nvPr userDrawn="1"/>
          </p:nvSpPr>
          <p:spPr>
            <a:xfrm>
              <a:off x="10922177" y="5728559"/>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9</a:t>
              </a:r>
              <a:endParaRPr lang="en-GB" sz="1400" dirty="0">
                <a:solidFill>
                  <a:schemeClr val="accent2"/>
                </a:solidFill>
              </a:endParaRPr>
            </a:p>
          </p:txBody>
        </p:sp>
        <p:grpSp>
          <p:nvGrpSpPr>
            <p:cNvPr id="81" name="Group 13"/>
            <p:cNvGrpSpPr>
              <a:grpSpLocks noChangeAspect="1"/>
            </p:cNvGrpSpPr>
            <p:nvPr userDrawn="1"/>
          </p:nvGrpSpPr>
          <p:grpSpPr bwMode="auto">
            <a:xfrm>
              <a:off x="10472760" y="5652166"/>
              <a:ext cx="268942" cy="323982"/>
              <a:chOff x="292" y="2131"/>
              <a:chExt cx="215" cy="259"/>
            </a:xfrm>
            <a:solidFill>
              <a:schemeClr val="accent2"/>
            </a:solidFill>
          </p:grpSpPr>
          <p:sp>
            <p:nvSpPr>
              <p:cNvPr id="82"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9" name="Group 18"/>
          <p:cNvGrpSpPr/>
          <p:nvPr userDrawn="1"/>
        </p:nvGrpSpPr>
        <p:grpSpPr>
          <a:xfrm>
            <a:off x="10447117" y="4319698"/>
            <a:ext cx="1222059" cy="292709"/>
            <a:chOff x="10447117" y="4292214"/>
            <a:chExt cx="1222059" cy="292709"/>
          </a:xfrm>
        </p:grpSpPr>
        <p:sp>
          <p:nvSpPr>
            <p:cNvPr id="20" name="Rectangle 19"/>
            <p:cNvSpPr/>
            <p:nvPr userDrawn="1"/>
          </p:nvSpPr>
          <p:spPr>
            <a:xfrm>
              <a:off x="10922177" y="4352971"/>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7</a:t>
              </a:r>
              <a:endParaRPr lang="en-GB" sz="1400" dirty="0">
                <a:solidFill>
                  <a:schemeClr val="accent2"/>
                </a:solidFill>
              </a:endParaRPr>
            </a:p>
          </p:txBody>
        </p:sp>
        <p:grpSp>
          <p:nvGrpSpPr>
            <p:cNvPr id="84" name="Group 4"/>
            <p:cNvGrpSpPr>
              <a:grpSpLocks noChangeAspect="1"/>
            </p:cNvGrpSpPr>
            <p:nvPr userDrawn="1"/>
          </p:nvGrpSpPr>
          <p:grpSpPr bwMode="auto">
            <a:xfrm>
              <a:off x="10447117" y="4292214"/>
              <a:ext cx="320229" cy="292709"/>
              <a:chOff x="293" y="695"/>
              <a:chExt cx="256" cy="234"/>
            </a:xfrm>
            <a:solidFill>
              <a:schemeClr val="accent2"/>
            </a:solidFill>
          </p:grpSpPr>
          <p:sp>
            <p:nvSpPr>
              <p:cNvPr id="85"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6" name="Group 15"/>
          <p:cNvGrpSpPr/>
          <p:nvPr userDrawn="1"/>
        </p:nvGrpSpPr>
        <p:grpSpPr>
          <a:xfrm>
            <a:off x="10455248" y="6364487"/>
            <a:ext cx="1313315" cy="292709"/>
            <a:chOff x="10455248" y="6364487"/>
            <a:chExt cx="1313315" cy="292709"/>
          </a:xfrm>
        </p:grpSpPr>
        <p:sp>
          <p:nvSpPr>
            <p:cNvPr id="23" name="Rectangle 22"/>
            <p:cNvSpPr/>
            <p:nvPr userDrawn="1"/>
          </p:nvSpPr>
          <p:spPr>
            <a:xfrm>
              <a:off x="10922177" y="6416349"/>
              <a:ext cx="846386"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10</a:t>
              </a:r>
              <a:endParaRPr lang="en-GB" sz="1400" dirty="0">
                <a:solidFill>
                  <a:schemeClr val="accent2"/>
                </a:solidFill>
              </a:endParaRPr>
            </a:p>
          </p:txBody>
        </p:sp>
        <p:sp>
          <p:nvSpPr>
            <p:cNvPr id="87" name="Freeform 19"/>
            <p:cNvSpPr>
              <a:spLocks noEditPoints="1"/>
            </p:cNvSpPr>
            <p:nvPr userDrawn="1"/>
          </p:nvSpPr>
          <p:spPr bwMode="auto">
            <a:xfrm>
              <a:off x="10455248" y="6364487"/>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89" name="Straight Connector 88"/>
          <p:cNvCxnSpPr/>
          <p:nvPr userDrawn="1"/>
        </p:nvCxnSpPr>
        <p:spPr>
          <a:xfrm>
            <a:off x="10033000" y="686270"/>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0" name="Straight Connector 89"/>
          <p:cNvCxnSpPr/>
          <p:nvPr userDrawn="1"/>
        </p:nvCxnSpPr>
        <p:spPr>
          <a:xfrm>
            <a:off x="10033000" y="1371952"/>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1" name="Straight Connector 90"/>
          <p:cNvCxnSpPr/>
          <p:nvPr userDrawn="1"/>
        </p:nvCxnSpPr>
        <p:spPr>
          <a:xfrm>
            <a:off x="10033000" y="2057634"/>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2" name="Straight Connector 91"/>
          <p:cNvCxnSpPr/>
          <p:nvPr userDrawn="1"/>
        </p:nvCxnSpPr>
        <p:spPr>
          <a:xfrm>
            <a:off x="10033000" y="2743316"/>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3" name="Straight Connector 92"/>
          <p:cNvCxnSpPr/>
          <p:nvPr userDrawn="1"/>
        </p:nvCxnSpPr>
        <p:spPr>
          <a:xfrm>
            <a:off x="10033000" y="3428998"/>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4" name="Straight Connector 93"/>
          <p:cNvCxnSpPr/>
          <p:nvPr userDrawn="1"/>
        </p:nvCxnSpPr>
        <p:spPr>
          <a:xfrm>
            <a:off x="10033000" y="4114680"/>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p:cNvCxnSpPr/>
          <p:nvPr userDrawn="1"/>
        </p:nvCxnSpPr>
        <p:spPr>
          <a:xfrm>
            <a:off x="10033000" y="4800362"/>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p:cNvCxnSpPr/>
          <p:nvPr userDrawn="1"/>
        </p:nvCxnSpPr>
        <p:spPr>
          <a:xfrm>
            <a:off x="10033000" y="5486044"/>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p:cNvCxnSpPr/>
          <p:nvPr userDrawn="1"/>
        </p:nvCxnSpPr>
        <p:spPr>
          <a:xfrm>
            <a:off x="10033000" y="6171726"/>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65" name="TextBox 64"/>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a:solidFill>
                  <a:srgbClr val="FF0000"/>
                </a:solidFill>
              </a:rPr>
              <a:t>These slides provide</a:t>
            </a:r>
            <a:r>
              <a:rPr lang="en-US" sz="1050" baseline="0" dirty="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a:solidFill>
                <a:srgbClr val="FF0000"/>
              </a:solidFill>
            </a:endParaRPr>
          </a:p>
          <a:p>
            <a:pPr algn="l"/>
            <a:r>
              <a:rPr lang="en-US" sz="1050" baseline="0" dirty="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2623143979"/>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Interactive right icons">
    <p:spTree>
      <p:nvGrpSpPr>
        <p:cNvPr id="1" name=""/>
        <p:cNvGrpSpPr/>
        <p:nvPr/>
      </p:nvGrpSpPr>
      <p:grpSpPr>
        <a:xfrm>
          <a:off x="0" y="0"/>
          <a:ext cx="0" cy="0"/>
          <a:chOff x="0" y="0"/>
          <a:chExt cx="0" cy="0"/>
        </a:xfrm>
      </p:grpSpPr>
      <p:sp>
        <p:nvSpPr>
          <p:cNvPr id="3" name="Rectangle 2"/>
          <p:cNvSpPr/>
          <p:nvPr userDrawn="1"/>
        </p:nvSpPr>
        <p:spPr>
          <a:xfrm>
            <a:off x="10998200" y="0"/>
            <a:ext cx="1193800" cy="114200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Rectangle 38"/>
          <p:cNvSpPr/>
          <p:nvPr userDrawn="1"/>
        </p:nvSpPr>
        <p:spPr>
          <a:xfrm>
            <a:off x="10998200" y="1145870"/>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p:cNvSpPr/>
          <p:nvPr userDrawn="1"/>
        </p:nvSpPr>
        <p:spPr>
          <a:xfrm>
            <a:off x="10998200" y="2288863"/>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Rectangle 40"/>
          <p:cNvSpPr/>
          <p:nvPr userDrawn="1"/>
        </p:nvSpPr>
        <p:spPr>
          <a:xfrm>
            <a:off x="10998200" y="3427839"/>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Rectangle 41"/>
          <p:cNvSpPr/>
          <p:nvPr userDrawn="1"/>
        </p:nvSpPr>
        <p:spPr>
          <a:xfrm>
            <a:off x="10998200" y="4570832"/>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3" name="Rectangle 42"/>
          <p:cNvSpPr/>
          <p:nvPr userDrawn="1"/>
        </p:nvSpPr>
        <p:spPr>
          <a:xfrm>
            <a:off x="10998200" y="5715007"/>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userDrawn="1">
            <p:ph type="title" hasCustomPrompt="1"/>
          </p:nvPr>
        </p:nvSpPr>
        <p:spPr>
          <a:xfrm>
            <a:off x="485776" y="361950"/>
            <a:ext cx="9509124"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userDrawn="1">
            <p:ph type="body" sz="half" idx="15" hasCustomPrompt="1"/>
          </p:nvPr>
        </p:nvSpPr>
        <p:spPr>
          <a:xfrm>
            <a:off x="6162923"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userDrawn="1">
            <p:ph type="body" sz="half" idx="2" hasCustomPrompt="1"/>
          </p:nvPr>
        </p:nvSpPr>
        <p:spPr>
          <a:xfrm>
            <a:off x="485776" y="806807"/>
            <a:ext cx="9509124"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18" name="Freeform 10"/>
          <p:cNvSpPr>
            <a:spLocks noEditPoints="1"/>
          </p:cNvSpPr>
          <p:nvPr userDrawn="1"/>
        </p:nvSpPr>
        <p:spPr bwMode="auto">
          <a:xfrm>
            <a:off x="11448746" y="1582895"/>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23"/>
          <p:cNvSpPr>
            <a:spLocks noEditPoints="1"/>
          </p:cNvSpPr>
          <p:nvPr userDrawn="1"/>
        </p:nvSpPr>
        <p:spPr bwMode="auto">
          <a:xfrm>
            <a:off x="11461255" y="4983465"/>
            <a:ext cx="267691" cy="317727"/>
          </a:xfrm>
          <a:custGeom>
            <a:avLst/>
            <a:gdLst>
              <a:gd name="T0" fmla="*/ 76 w 80"/>
              <a:gd name="T1" fmla="*/ 96 h 96"/>
              <a:gd name="T2" fmla="*/ 40 w 80"/>
              <a:gd name="T3" fmla="*/ 96 h 96"/>
              <a:gd name="T4" fmla="*/ 36 w 80"/>
              <a:gd name="T5" fmla="*/ 92 h 96"/>
              <a:gd name="T6" fmla="*/ 36 w 80"/>
              <a:gd name="T7" fmla="*/ 76 h 96"/>
              <a:gd name="T8" fmla="*/ 40 w 80"/>
              <a:gd name="T9" fmla="*/ 72 h 96"/>
              <a:gd name="T10" fmla="*/ 76 w 80"/>
              <a:gd name="T11" fmla="*/ 72 h 96"/>
              <a:gd name="T12" fmla="*/ 80 w 80"/>
              <a:gd name="T13" fmla="*/ 76 h 96"/>
              <a:gd name="T14" fmla="*/ 80 w 80"/>
              <a:gd name="T15" fmla="*/ 92 h 96"/>
              <a:gd name="T16" fmla="*/ 76 w 80"/>
              <a:gd name="T17" fmla="*/ 96 h 96"/>
              <a:gd name="T18" fmla="*/ 44 w 80"/>
              <a:gd name="T19" fmla="*/ 88 h 96"/>
              <a:gd name="T20" fmla="*/ 72 w 80"/>
              <a:gd name="T21" fmla="*/ 88 h 96"/>
              <a:gd name="T22" fmla="*/ 72 w 80"/>
              <a:gd name="T23" fmla="*/ 80 h 96"/>
              <a:gd name="T24" fmla="*/ 44 w 80"/>
              <a:gd name="T25" fmla="*/ 80 h 96"/>
              <a:gd name="T26" fmla="*/ 44 w 80"/>
              <a:gd name="T27" fmla="*/ 88 h 96"/>
              <a:gd name="T28" fmla="*/ 76 w 80"/>
              <a:gd name="T29" fmla="*/ 64 h 96"/>
              <a:gd name="T30" fmla="*/ 4 w 80"/>
              <a:gd name="T31" fmla="*/ 64 h 96"/>
              <a:gd name="T32" fmla="*/ 0 w 80"/>
              <a:gd name="T33" fmla="*/ 60 h 96"/>
              <a:gd name="T34" fmla="*/ 0 w 80"/>
              <a:gd name="T35" fmla="*/ 4 h 96"/>
              <a:gd name="T36" fmla="*/ 4 w 80"/>
              <a:gd name="T37" fmla="*/ 0 h 96"/>
              <a:gd name="T38" fmla="*/ 76 w 80"/>
              <a:gd name="T39" fmla="*/ 0 h 96"/>
              <a:gd name="T40" fmla="*/ 80 w 80"/>
              <a:gd name="T41" fmla="*/ 4 h 96"/>
              <a:gd name="T42" fmla="*/ 80 w 80"/>
              <a:gd name="T43" fmla="*/ 60 h 96"/>
              <a:gd name="T44" fmla="*/ 76 w 80"/>
              <a:gd name="T45" fmla="*/ 64 h 96"/>
              <a:gd name="T46" fmla="*/ 8 w 80"/>
              <a:gd name="T47" fmla="*/ 56 h 96"/>
              <a:gd name="T48" fmla="*/ 72 w 80"/>
              <a:gd name="T49" fmla="*/ 56 h 96"/>
              <a:gd name="T50" fmla="*/ 72 w 80"/>
              <a:gd name="T51" fmla="*/ 24 h 96"/>
              <a:gd name="T52" fmla="*/ 8 w 80"/>
              <a:gd name="T53" fmla="*/ 24 h 96"/>
              <a:gd name="T54" fmla="*/ 8 w 80"/>
              <a:gd name="T55" fmla="*/ 56 h 96"/>
              <a:gd name="T56" fmla="*/ 8 w 80"/>
              <a:gd name="T57" fmla="*/ 16 h 96"/>
              <a:gd name="T58" fmla="*/ 72 w 80"/>
              <a:gd name="T59" fmla="*/ 16 h 96"/>
              <a:gd name="T60" fmla="*/ 72 w 80"/>
              <a:gd name="T61" fmla="*/ 8 h 96"/>
              <a:gd name="T62" fmla="*/ 8 w 80"/>
              <a:gd name="T63" fmla="*/ 8 h 96"/>
              <a:gd name="T64" fmla="*/ 8 w 80"/>
              <a:gd name="T65"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96">
                <a:moveTo>
                  <a:pt x="76" y="96"/>
                </a:moveTo>
                <a:cubicBezTo>
                  <a:pt x="40" y="96"/>
                  <a:pt x="40" y="96"/>
                  <a:pt x="40" y="96"/>
                </a:cubicBezTo>
                <a:cubicBezTo>
                  <a:pt x="38" y="96"/>
                  <a:pt x="36" y="94"/>
                  <a:pt x="36" y="92"/>
                </a:cubicBezTo>
                <a:cubicBezTo>
                  <a:pt x="36" y="76"/>
                  <a:pt x="36" y="76"/>
                  <a:pt x="36" y="76"/>
                </a:cubicBezTo>
                <a:cubicBezTo>
                  <a:pt x="36" y="74"/>
                  <a:pt x="38" y="72"/>
                  <a:pt x="40" y="72"/>
                </a:cubicBezTo>
                <a:cubicBezTo>
                  <a:pt x="76" y="72"/>
                  <a:pt x="76" y="72"/>
                  <a:pt x="76" y="72"/>
                </a:cubicBezTo>
                <a:cubicBezTo>
                  <a:pt x="78" y="72"/>
                  <a:pt x="80" y="74"/>
                  <a:pt x="80" y="76"/>
                </a:cubicBezTo>
                <a:cubicBezTo>
                  <a:pt x="80" y="92"/>
                  <a:pt x="80" y="92"/>
                  <a:pt x="80" y="92"/>
                </a:cubicBezTo>
                <a:cubicBezTo>
                  <a:pt x="80" y="94"/>
                  <a:pt x="78" y="96"/>
                  <a:pt x="76" y="96"/>
                </a:cubicBezTo>
                <a:close/>
                <a:moveTo>
                  <a:pt x="44" y="88"/>
                </a:moveTo>
                <a:cubicBezTo>
                  <a:pt x="72" y="88"/>
                  <a:pt x="72" y="88"/>
                  <a:pt x="72" y="88"/>
                </a:cubicBezTo>
                <a:cubicBezTo>
                  <a:pt x="72" y="80"/>
                  <a:pt x="72" y="80"/>
                  <a:pt x="72" y="80"/>
                </a:cubicBezTo>
                <a:cubicBezTo>
                  <a:pt x="44" y="80"/>
                  <a:pt x="44" y="80"/>
                  <a:pt x="44" y="80"/>
                </a:cubicBezTo>
                <a:lnTo>
                  <a:pt x="44" y="88"/>
                </a:lnTo>
                <a:close/>
                <a:moveTo>
                  <a:pt x="76" y="64"/>
                </a:moveTo>
                <a:cubicBezTo>
                  <a:pt x="4" y="64"/>
                  <a:pt x="4" y="64"/>
                  <a:pt x="4" y="64"/>
                </a:cubicBezTo>
                <a:cubicBezTo>
                  <a:pt x="2" y="64"/>
                  <a:pt x="0" y="62"/>
                  <a:pt x="0" y="60"/>
                </a:cubicBezTo>
                <a:cubicBezTo>
                  <a:pt x="0" y="4"/>
                  <a:pt x="0" y="4"/>
                  <a:pt x="0" y="4"/>
                </a:cubicBezTo>
                <a:cubicBezTo>
                  <a:pt x="0" y="2"/>
                  <a:pt x="2" y="0"/>
                  <a:pt x="4" y="0"/>
                </a:cubicBezTo>
                <a:cubicBezTo>
                  <a:pt x="76" y="0"/>
                  <a:pt x="76" y="0"/>
                  <a:pt x="76" y="0"/>
                </a:cubicBezTo>
                <a:cubicBezTo>
                  <a:pt x="78" y="0"/>
                  <a:pt x="80" y="2"/>
                  <a:pt x="80" y="4"/>
                </a:cubicBezTo>
                <a:cubicBezTo>
                  <a:pt x="80" y="60"/>
                  <a:pt x="80" y="60"/>
                  <a:pt x="80" y="60"/>
                </a:cubicBezTo>
                <a:cubicBezTo>
                  <a:pt x="80" y="62"/>
                  <a:pt x="78" y="64"/>
                  <a:pt x="76" y="64"/>
                </a:cubicBezTo>
                <a:close/>
                <a:moveTo>
                  <a:pt x="8" y="56"/>
                </a:moveTo>
                <a:cubicBezTo>
                  <a:pt x="72" y="56"/>
                  <a:pt x="72" y="56"/>
                  <a:pt x="72" y="56"/>
                </a:cubicBezTo>
                <a:cubicBezTo>
                  <a:pt x="72" y="24"/>
                  <a:pt x="72" y="24"/>
                  <a:pt x="72" y="24"/>
                </a:cubicBezTo>
                <a:cubicBezTo>
                  <a:pt x="8" y="24"/>
                  <a:pt x="8" y="24"/>
                  <a:pt x="8" y="24"/>
                </a:cubicBezTo>
                <a:lnTo>
                  <a:pt x="8" y="56"/>
                </a:lnTo>
                <a:close/>
                <a:moveTo>
                  <a:pt x="8" y="16"/>
                </a:moveTo>
                <a:cubicBezTo>
                  <a:pt x="72" y="16"/>
                  <a:pt x="72" y="16"/>
                  <a:pt x="72" y="16"/>
                </a:cubicBezTo>
                <a:cubicBezTo>
                  <a:pt x="72" y="8"/>
                  <a:pt x="72" y="8"/>
                  <a:pt x="72" y="8"/>
                </a:cubicBezTo>
                <a:cubicBezTo>
                  <a:pt x="8" y="8"/>
                  <a:pt x="8" y="8"/>
                  <a:pt x="8" y="8"/>
                </a:cubicBezTo>
                <a:lnTo>
                  <a:pt x="8"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0" name="Group 13"/>
          <p:cNvGrpSpPr>
            <a:grpSpLocks noChangeAspect="1"/>
          </p:cNvGrpSpPr>
          <p:nvPr userDrawn="1"/>
        </p:nvGrpSpPr>
        <p:grpSpPr bwMode="auto">
          <a:xfrm>
            <a:off x="11460629" y="2698368"/>
            <a:ext cx="268942" cy="323982"/>
            <a:chOff x="292" y="2131"/>
            <a:chExt cx="215" cy="259"/>
          </a:xfrm>
          <a:solidFill>
            <a:schemeClr val="bg1"/>
          </a:solidFill>
        </p:grpSpPr>
        <p:sp>
          <p:nvSpPr>
            <p:cNvPr id="21"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 name="Group 26"/>
          <p:cNvGrpSpPr>
            <a:grpSpLocks noChangeAspect="1"/>
          </p:cNvGrpSpPr>
          <p:nvPr userDrawn="1"/>
        </p:nvGrpSpPr>
        <p:grpSpPr bwMode="auto">
          <a:xfrm>
            <a:off x="11461254" y="6127640"/>
            <a:ext cx="267692" cy="317727"/>
            <a:chOff x="3091" y="1784"/>
            <a:chExt cx="214" cy="254"/>
          </a:xfrm>
          <a:solidFill>
            <a:schemeClr val="bg1"/>
          </a:solidFill>
        </p:grpSpPr>
        <p:sp>
          <p:nvSpPr>
            <p:cNvPr id="24" name="Freeform 27"/>
            <p:cNvSpPr>
              <a:spLocks noEditPoints="1"/>
            </p:cNvSpPr>
            <p:nvPr/>
          </p:nvSpPr>
          <p:spPr bwMode="auto">
            <a:xfrm>
              <a:off x="3091" y="1784"/>
              <a:ext cx="214" cy="254"/>
            </a:xfrm>
            <a:custGeom>
              <a:avLst/>
              <a:gdLst>
                <a:gd name="T0" fmla="*/ 76 w 80"/>
                <a:gd name="T1" fmla="*/ 96 h 96"/>
                <a:gd name="T2" fmla="*/ 4 w 80"/>
                <a:gd name="T3" fmla="*/ 96 h 96"/>
                <a:gd name="T4" fmla="*/ 0 w 80"/>
                <a:gd name="T5" fmla="*/ 92 h 96"/>
                <a:gd name="T6" fmla="*/ 0 w 80"/>
                <a:gd name="T7" fmla="*/ 4 h 96"/>
                <a:gd name="T8" fmla="*/ 4 w 80"/>
                <a:gd name="T9" fmla="*/ 0 h 96"/>
                <a:gd name="T10" fmla="*/ 76 w 80"/>
                <a:gd name="T11" fmla="*/ 0 h 96"/>
                <a:gd name="T12" fmla="*/ 80 w 80"/>
                <a:gd name="T13" fmla="*/ 4 h 96"/>
                <a:gd name="T14" fmla="*/ 80 w 80"/>
                <a:gd name="T15" fmla="*/ 92 h 96"/>
                <a:gd name="T16" fmla="*/ 76 w 80"/>
                <a:gd name="T17" fmla="*/ 96 h 96"/>
                <a:gd name="T18" fmla="*/ 8 w 80"/>
                <a:gd name="T19" fmla="*/ 88 h 96"/>
                <a:gd name="T20" fmla="*/ 72 w 80"/>
                <a:gd name="T21" fmla="*/ 88 h 96"/>
                <a:gd name="T22" fmla="*/ 72 w 80"/>
                <a:gd name="T23" fmla="*/ 8 h 96"/>
                <a:gd name="T24" fmla="*/ 8 w 80"/>
                <a:gd name="T25" fmla="*/ 8 h 96"/>
                <a:gd name="T26" fmla="*/ 8 w 80"/>
                <a:gd name="T27" fmla="*/ 88 h 96"/>
                <a:gd name="T28" fmla="*/ 40 w 80"/>
                <a:gd name="T29" fmla="*/ 80 h 96"/>
                <a:gd name="T30" fmla="*/ 36 w 80"/>
                <a:gd name="T31" fmla="*/ 76 h 96"/>
                <a:gd name="T32" fmla="*/ 36 w 80"/>
                <a:gd name="T33" fmla="*/ 20 h 96"/>
                <a:gd name="T34" fmla="*/ 40 w 80"/>
                <a:gd name="T35" fmla="*/ 16 h 96"/>
                <a:gd name="T36" fmla="*/ 44 w 80"/>
                <a:gd name="T37" fmla="*/ 20 h 96"/>
                <a:gd name="T38" fmla="*/ 44 w 80"/>
                <a:gd name="T39" fmla="*/ 76 h 96"/>
                <a:gd name="T40" fmla="*/ 40 w 80"/>
                <a:gd name="T41" fmla="*/ 8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96">
                  <a:moveTo>
                    <a:pt x="76" y="96"/>
                  </a:moveTo>
                  <a:cubicBezTo>
                    <a:pt x="4" y="96"/>
                    <a:pt x="4" y="96"/>
                    <a:pt x="4" y="96"/>
                  </a:cubicBezTo>
                  <a:cubicBezTo>
                    <a:pt x="2" y="96"/>
                    <a:pt x="0" y="94"/>
                    <a:pt x="0" y="92"/>
                  </a:cubicBezTo>
                  <a:cubicBezTo>
                    <a:pt x="0" y="4"/>
                    <a:pt x="0" y="4"/>
                    <a:pt x="0" y="4"/>
                  </a:cubicBezTo>
                  <a:cubicBezTo>
                    <a:pt x="0" y="2"/>
                    <a:pt x="2" y="0"/>
                    <a:pt x="4" y="0"/>
                  </a:cubicBezTo>
                  <a:cubicBezTo>
                    <a:pt x="76" y="0"/>
                    <a:pt x="76" y="0"/>
                    <a:pt x="76" y="0"/>
                  </a:cubicBezTo>
                  <a:cubicBezTo>
                    <a:pt x="78" y="0"/>
                    <a:pt x="80" y="2"/>
                    <a:pt x="80" y="4"/>
                  </a:cubicBezTo>
                  <a:cubicBezTo>
                    <a:pt x="80" y="92"/>
                    <a:pt x="80" y="92"/>
                    <a:pt x="80" y="92"/>
                  </a:cubicBezTo>
                  <a:cubicBezTo>
                    <a:pt x="80" y="94"/>
                    <a:pt x="78" y="96"/>
                    <a:pt x="76" y="96"/>
                  </a:cubicBezTo>
                  <a:close/>
                  <a:moveTo>
                    <a:pt x="8" y="88"/>
                  </a:moveTo>
                  <a:cubicBezTo>
                    <a:pt x="72" y="88"/>
                    <a:pt x="72" y="88"/>
                    <a:pt x="72" y="88"/>
                  </a:cubicBezTo>
                  <a:cubicBezTo>
                    <a:pt x="72" y="8"/>
                    <a:pt x="72" y="8"/>
                    <a:pt x="72" y="8"/>
                  </a:cubicBezTo>
                  <a:cubicBezTo>
                    <a:pt x="8" y="8"/>
                    <a:pt x="8" y="8"/>
                    <a:pt x="8" y="8"/>
                  </a:cubicBezTo>
                  <a:lnTo>
                    <a:pt x="8" y="88"/>
                  </a:lnTo>
                  <a:close/>
                  <a:moveTo>
                    <a:pt x="40" y="80"/>
                  </a:moveTo>
                  <a:cubicBezTo>
                    <a:pt x="38" y="80"/>
                    <a:pt x="36" y="78"/>
                    <a:pt x="36" y="76"/>
                  </a:cubicBezTo>
                  <a:cubicBezTo>
                    <a:pt x="36" y="20"/>
                    <a:pt x="36" y="20"/>
                    <a:pt x="36" y="20"/>
                  </a:cubicBezTo>
                  <a:cubicBezTo>
                    <a:pt x="36" y="18"/>
                    <a:pt x="38" y="16"/>
                    <a:pt x="40" y="16"/>
                  </a:cubicBezTo>
                  <a:cubicBezTo>
                    <a:pt x="42" y="16"/>
                    <a:pt x="44" y="18"/>
                    <a:pt x="44" y="20"/>
                  </a:cubicBezTo>
                  <a:cubicBezTo>
                    <a:pt x="44" y="76"/>
                    <a:pt x="44" y="76"/>
                    <a:pt x="44" y="76"/>
                  </a:cubicBezTo>
                  <a:cubicBezTo>
                    <a:pt x="44" y="78"/>
                    <a:pt x="42"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8"/>
            <p:cNvSpPr>
              <a:spLocks/>
            </p:cNvSpPr>
            <p:nvPr/>
          </p:nvSpPr>
          <p:spPr bwMode="auto">
            <a:xfrm>
              <a:off x="3145" y="1837"/>
              <a:ext cx="101" cy="138"/>
            </a:xfrm>
            <a:custGeom>
              <a:avLst/>
              <a:gdLst>
                <a:gd name="T0" fmla="*/ 19 w 38"/>
                <a:gd name="T1" fmla="*/ 52 h 52"/>
                <a:gd name="T2" fmla="*/ 3 w 38"/>
                <a:gd name="T3" fmla="*/ 49 h 52"/>
                <a:gd name="T4" fmla="*/ 1 w 38"/>
                <a:gd name="T5" fmla="*/ 43 h 52"/>
                <a:gd name="T6" fmla="*/ 6 w 38"/>
                <a:gd name="T7" fmla="*/ 41 h 52"/>
                <a:gd name="T8" fmla="*/ 27 w 38"/>
                <a:gd name="T9" fmla="*/ 42 h 52"/>
                <a:gd name="T10" fmla="*/ 29 w 38"/>
                <a:gd name="T11" fmla="*/ 37 h 52"/>
                <a:gd name="T12" fmla="*/ 19 w 38"/>
                <a:gd name="T13" fmla="*/ 31 h 52"/>
                <a:gd name="T14" fmla="*/ 3 w 38"/>
                <a:gd name="T15" fmla="*/ 15 h 52"/>
                <a:gd name="T16" fmla="*/ 9 w 38"/>
                <a:gd name="T17" fmla="*/ 4 h 52"/>
                <a:gd name="T18" fmla="*/ 36 w 38"/>
                <a:gd name="T19" fmla="*/ 5 h 52"/>
                <a:gd name="T20" fmla="*/ 37 w 38"/>
                <a:gd name="T21" fmla="*/ 11 h 52"/>
                <a:gd name="T22" fmla="*/ 32 w 38"/>
                <a:gd name="T23" fmla="*/ 12 h 52"/>
                <a:gd name="T24" fmla="*/ 13 w 38"/>
                <a:gd name="T25" fmla="*/ 11 h 52"/>
                <a:gd name="T26" fmla="*/ 11 w 38"/>
                <a:gd name="T27" fmla="*/ 15 h 52"/>
                <a:gd name="T28" fmla="*/ 22 w 38"/>
                <a:gd name="T29" fmla="*/ 23 h 52"/>
                <a:gd name="T30" fmla="*/ 37 w 38"/>
                <a:gd name="T31" fmla="*/ 37 h 52"/>
                <a:gd name="T32" fmla="*/ 31 w 38"/>
                <a:gd name="T33" fmla="*/ 49 h 52"/>
                <a:gd name="T34" fmla="*/ 19 w 38"/>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2">
                  <a:moveTo>
                    <a:pt x="19" y="52"/>
                  </a:moveTo>
                  <a:cubicBezTo>
                    <a:pt x="14" y="52"/>
                    <a:pt x="8" y="50"/>
                    <a:pt x="3" y="49"/>
                  </a:cubicBezTo>
                  <a:cubicBezTo>
                    <a:pt x="1" y="48"/>
                    <a:pt x="0" y="45"/>
                    <a:pt x="1" y="43"/>
                  </a:cubicBezTo>
                  <a:cubicBezTo>
                    <a:pt x="1" y="41"/>
                    <a:pt x="4" y="40"/>
                    <a:pt x="6" y="41"/>
                  </a:cubicBezTo>
                  <a:cubicBezTo>
                    <a:pt x="14" y="44"/>
                    <a:pt x="23" y="45"/>
                    <a:pt x="27" y="42"/>
                  </a:cubicBezTo>
                  <a:cubicBezTo>
                    <a:pt x="28" y="41"/>
                    <a:pt x="29" y="40"/>
                    <a:pt x="29" y="37"/>
                  </a:cubicBezTo>
                  <a:cubicBezTo>
                    <a:pt x="29" y="34"/>
                    <a:pt x="26" y="33"/>
                    <a:pt x="19" y="31"/>
                  </a:cubicBezTo>
                  <a:cubicBezTo>
                    <a:pt x="12" y="28"/>
                    <a:pt x="3" y="25"/>
                    <a:pt x="3" y="15"/>
                  </a:cubicBezTo>
                  <a:cubicBezTo>
                    <a:pt x="3" y="10"/>
                    <a:pt x="5" y="6"/>
                    <a:pt x="9" y="4"/>
                  </a:cubicBezTo>
                  <a:cubicBezTo>
                    <a:pt x="17" y="0"/>
                    <a:pt x="30" y="2"/>
                    <a:pt x="36" y="5"/>
                  </a:cubicBezTo>
                  <a:cubicBezTo>
                    <a:pt x="37" y="6"/>
                    <a:pt x="38" y="9"/>
                    <a:pt x="37" y="11"/>
                  </a:cubicBezTo>
                  <a:cubicBezTo>
                    <a:pt x="36" y="13"/>
                    <a:pt x="34" y="13"/>
                    <a:pt x="32" y="12"/>
                  </a:cubicBezTo>
                  <a:cubicBezTo>
                    <a:pt x="28" y="10"/>
                    <a:pt x="18" y="8"/>
                    <a:pt x="13" y="11"/>
                  </a:cubicBezTo>
                  <a:cubicBezTo>
                    <a:pt x="11" y="12"/>
                    <a:pt x="11" y="13"/>
                    <a:pt x="11" y="15"/>
                  </a:cubicBezTo>
                  <a:cubicBezTo>
                    <a:pt x="11" y="19"/>
                    <a:pt x="14" y="21"/>
                    <a:pt x="22" y="23"/>
                  </a:cubicBezTo>
                  <a:cubicBezTo>
                    <a:pt x="28" y="25"/>
                    <a:pt x="37" y="28"/>
                    <a:pt x="37" y="37"/>
                  </a:cubicBezTo>
                  <a:cubicBezTo>
                    <a:pt x="37" y="43"/>
                    <a:pt x="34" y="47"/>
                    <a:pt x="31" y="49"/>
                  </a:cubicBezTo>
                  <a:cubicBezTo>
                    <a:pt x="28" y="51"/>
                    <a:pt x="24" y="52"/>
                    <a:pt x="1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4"/>
          <p:cNvGrpSpPr>
            <a:grpSpLocks noChangeAspect="1"/>
          </p:cNvGrpSpPr>
          <p:nvPr userDrawn="1"/>
        </p:nvGrpSpPr>
        <p:grpSpPr bwMode="auto">
          <a:xfrm>
            <a:off x="11434986" y="424646"/>
            <a:ext cx="320229" cy="292709"/>
            <a:chOff x="293" y="695"/>
            <a:chExt cx="256" cy="234"/>
          </a:xfrm>
          <a:solidFill>
            <a:schemeClr val="bg1"/>
          </a:solidFill>
        </p:grpSpPr>
        <p:sp>
          <p:nvSpPr>
            <p:cNvPr id="27"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9" name="Freeform 19"/>
          <p:cNvSpPr>
            <a:spLocks noEditPoints="1"/>
          </p:cNvSpPr>
          <p:nvPr userDrawn="1"/>
        </p:nvSpPr>
        <p:spPr bwMode="auto">
          <a:xfrm>
            <a:off x="11443117" y="3852981"/>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13" name="Straight Connector 12"/>
          <p:cNvCxnSpPr/>
          <p:nvPr userDrawn="1"/>
        </p:nvCxnSpPr>
        <p:spPr>
          <a:xfrm>
            <a:off x="11239500" y="1145870"/>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11239500" y="2297642"/>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11239500" y="3433551"/>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11239500" y="4559336"/>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11239500" y="5713825"/>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34" name="TextBox 33"/>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a:solidFill>
                  <a:srgbClr val="FF0000"/>
                </a:solidFill>
              </a:rPr>
              <a:t>These slides provide</a:t>
            </a:r>
            <a:r>
              <a:rPr lang="en-US" sz="1050" baseline="0" dirty="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a:solidFill>
                <a:srgbClr val="FF0000"/>
              </a:solidFill>
            </a:endParaRPr>
          </a:p>
          <a:p>
            <a:pPr algn="l"/>
            <a:r>
              <a:rPr lang="en-US" sz="1050" baseline="0" dirty="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2110635327"/>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p:cSld name="BACK PAG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1"/>
            </p:custDataLst>
            <p:extLst>
              <p:ext uri="{D42A27DB-BD31-4B8C-83A1-F6EECF244321}">
                <p14:modId xmlns:p14="http://schemas.microsoft.com/office/powerpoint/2010/main" val="6676314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52E706-1FE4-5448-BF88-BDD1A5847DF0}"/>
              </a:ext>
            </a:extLst>
          </p:cNvPr>
          <p:cNvSpPr txBox="1"/>
          <p:nvPr/>
        </p:nvSpPr>
        <p:spPr>
          <a:xfrm>
            <a:off x="374977" y="2505671"/>
            <a:ext cx="8553624" cy="184665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Back pages</a:t>
            </a:r>
          </a:p>
        </p:txBody>
      </p:sp>
    </p:spTree>
    <p:extLst>
      <p:ext uri="{BB962C8B-B14F-4D97-AF65-F5344CB8AC3E}">
        <p14:creationId xmlns:p14="http://schemas.microsoft.com/office/powerpoint/2010/main" val="2800583201"/>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extLst>
              <p:ext uri="{D42A27DB-BD31-4B8C-83A1-F6EECF244321}">
                <p14:modId xmlns:p14="http://schemas.microsoft.com/office/powerpoint/2010/main" val="4944008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41171F7F-6D9E-5F49-9AA3-DEF9F2C59F0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6802" y="2984402"/>
            <a:ext cx="2615184" cy="544830"/>
          </a:xfrm>
          <a:prstGeom prst="rect">
            <a:avLst/>
          </a:prstGeom>
        </p:spPr>
      </p:pic>
      <p:sp>
        <p:nvSpPr>
          <p:cNvPr id="8" name="Rectangle 7">
            <a:extLst>
              <a:ext uri="{FF2B5EF4-FFF2-40B4-BE49-F238E27FC236}">
                <a16:creationId xmlns:a16="http://schemas.microsoft.com/office/drawing/2014/main" id="{0E3EC6FD-E652-9349-AE1C-8BD4ACBE5962}"/>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tx2"/>
                </a:solidFill>
                <a:effectLst/>
                <a:latin typeface="Arial" panose="020B0604020202020204" pitchFamily="34" charset="0"/>
              </a:rPr>
              <a:t>A business of Marsh McLennan</a:t>
            </a:r>
            <a:endParaRPr lang="en-US" sz="1400" dirty="0">
              <a:solidFill>
                <a:schemeClr val="tx2"/>
              </a:solidFill>
            </a:endParaRPr>
          </a:p>
        </p:txBody>
      </p:sp>
    </p:spTree>
    <p:extLst>
      <p:ext uri="{BB962C8B-B14F-4D97-AF65-F5344CB8AC3E}">
        <p14:creationId xmlns:p14="http://schemas.microsoft.com/office/powerpoint/2010/main" val="291785306"/>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p:cSld name="Back page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extLst>
              <p:ext uri="{D42A27DB-BD31-4B8C-83A1-F6EECF244321}">
                <p14:modId xmlns:p14="http://schemas.microsoft.com/office/powerpoint/2010/main" val="9367766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1C5E338E-16D3-0A44-9BC7-F9FCD3106C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6802" y="2984402"/>
            <a:ext cx="2615184" cy="544830"/>
          </a:xfrm>
          <a:prstGeom prst="rect">
            <a:avLst/>
          </a:prstGeom>
        </p:spPr>
      </p:pic>
      <p:sp>
        <p:nvSpPr>
          <p:cNvPr id="5" name="Rectangle 4">
            <a:extLst>
              <a:ext uri="{FF2B5EF4-FFF2-40B4-BE49-F238E27FC236}">
                <a16:creationId xmlns:a16="http://schemas.microsoft.com/office/drawing/2014/main" id="{9EBBD039-CADC-3842-8CB7-3BA3EBE03DB2}"/>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bg1"/>
                </a:solidFill>
                <a:effectLst/>
                <a:latin typeface="Arial" panose="020B0604020202020204" pitchFamily="34" charset="0"/>
              </a:rPr>
              <a:t>A business of Marsh McLennan</a:t>
            </a:r>
            <a:endParaRPr lang="en-US" sz="1400" dirty="0">
              <a:solidFill>
                <a:schemeClr val="bg1"/>
              </a:solidFill>
            </a:endParaRPr>
          </a:p>
        </p:txBody>
      </p:sp>
    </p:spTree>
    <p:extLst>
      <p:ext uri="{BB962C8B-B14F-4D97-AF65-F5344CB8AC3E}">
        <p14:creationId xmlns:p14="http://schemas.microsoft.com/office/powerpoint/2010/main" val="137630303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x">
  <p:cSld name="AGENDA + CONTENTS">
    <p:spTree>
      <p:nvGrpSpPr>
        <p:cNvPr id="1" name=""/>
        <p:cNvGrpSpPr/>
        <p:nvPr/>
      </p:nvGrpSpPr>
      <p:grpSpPr>
        <a:xfrm>
          <a:off x="0" y="0"/>
          <a:ext cx="0" cy="0"/>
          <a:chOff x="0" y="0"/>
          <a:chExt cx="0" cy="0"/>
        </a:xfrm>
      </p:grpSpPr>
      <p:sp>
        <p:nvSpPr>
          <p:cNvPr id="409" name="Shape 409"/>
          <p:cNvSpPr/>
          <p:nvPr/>
        </p:nvSpPr>
        <p:spPr>
          <a:xfrm>
            <a:off x="374976" y="1701329"/>
            <a:ext cx="8185598" cy="3455343"/>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p>
            <a:pPr>
              <a:defRPr sz="12000" b="1">
                <a:solidFill>
                  <a:srgbClr val="FFFFFF"/>
                </a:solidFill>
              </a:defRPr>
            </a:pPr>
            <a:r>
              <a:t>Agendas +</a:t>
            </a:r>
          </a:p>
          <a:p>
            <a:pPr>
              <a:defRPr sz="12000" b="1">
                <a:solidFill>
                  <a:srgbClr val="FFFFFF"/>
                </a:solidFill>
              </a:defRPr>
            </a:pPr>
            <a:r>
              <a:t>Contents</a:t>
            </a:r>
          </a:p>
        </p:txBody>
      </p:sp>
      <p:sp>
        <p:nvSpPr>
          <p:cNvPr id="410" name="Shape 410"/>
          <p:cNvSpPr>
            <a:spLocks noGrp="1"/>
          </p:cNvSpPr>
          <p:nvPr>
            <p:ph type="sldNum" sz="quarter" idx="2"/>
          </p:nvPr>
        </p:nvSpPr>
        <p:spPr>
          <a:prstGeom prst="rect">
            <a:avLst/>
          </a:prstGeom>
        </p:spPr>
        <p:txBody>
          <a:bodyPr/>
          <a:lstStyle/>
          <a:p>
            <a:fld id="{86CB4B4D-7CA3-9044-876B-883B54F8677D}" type="slidenum">
              <a:t>‹Nº›</a:t>
            </a:fld>
            <a:endParaRPr/>
          </a:p>
        </p:txBody>
      </p:sp>
    </p:spTree>
  </p:cSld>
  <p:clrMapOvr>
    <a:masterClrMapping/>
  </p:clrMapOvr>
  <p:transition spd="med"/>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p:cSld name="Back page + disclaim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extLst>
              <p:ext uri="{D42A27DB-BD31-4B8C-83A1-F6EECF244321}">
                <p14:modId xmlns:p14="http://schemas.microsoft.com/office/powerpoint/2010/main" val="40061646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B97647A-7060-6441-95B5-4F3CABC16890}"/>
              </a:ext>
            </a:extLst>
          </p:cNvPr>
          <p:cNvSpPr>
            <a:spLocks noGrp="1"/>
          </p:cNvSpPr>
          <p:nvPr>
            <p:ph type="body" sz="quarter" idx="10" hasCustomPrompt="1"/>
          </p:nvPr>
        </p:nvSpPr>
        <p:spPr>
          <a:xfrm>
            <a:off x="485775" y="1609725"/>
            <a:ext cx="11223625" cy="3703320"/>
          </a:xfrm>
        </p:spPr>
        <p:txBody>
          <a:bodyPr anchor="t" anchorCtr="0">
            <a:normAutofit/>
          </a:bodyPr>
          <a:lstStyle>
            <a:lvl1pPr>
              <a:spcBef>
                <a:spcPts val="0"/>
              </a:spcBef>
              <a:defRPr sz="800">
                <a:solidFill>
                  <a:schemeClr val="tx2"/>
                </a:solidFill>
              </a:defRPr>
            </a:lvl1pPr>
          </a:lstStyle>
          <a:p>
            <a:pPr lvl="0"/>
            <a:r>
              <a:rPr lang="en-US" dirty="0"/>
              <a:t>Click to add disclaimer</a:t>
            </a:r>
          </a:p>
        </p:txBody>
      </p:sp>
      <p:pic>
        <p:nvPicPr>
          <p:cNvPr id="11" name="Graphic 10">
            <a:extLst>
              <a:ext uri="{FF2B5EF4-FFF2-40B4-BE49-F238E27FC236}">
                <a16:creationId xmlns:a16="http://schemas.microsoft.com/office/drawing/2014/main" id="{7A1D7202-DC3D-C64A-8448-4612A72608D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6802" y="554729"/>
            <a:ext cx="1857071" cy="386890"/>
          </a:xfrm>
          <a:prstGeom prst="rect">
            <a:avLst/>
          </a:prstGeom>
        </p:spPr>
      </p:pic>
      <p:sp>
        <p:nvSpPr>
          <p:cNvPr id="7" name="Rectangle 6">
            <a:extLst>
              <a:ext uri="{FF2B5EF4-FFF2-40B4-BE49-F238E27FC236}">
                <a16:creationId xmlns:a16="http://schemas.microsoft.com/office/drawing/2014/main" id="{42F49B1B-455D-374F-B8F9-2EFFBC395C19}"/>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tx2"/>
                </a:solidFill>
                <a:effectLst/>
                <a:latin typeface="Arial" panose="020B0604020202020204" pitchFamily="34" charset="0"/>
              </a:rPr>
              <a:t>A business of Marsh McLennan</a:t>
            </a:r>
            <a:endParaRPr lang="en-US" sz="1400" dirty="0">
              <a:solidFill>
                <a:schemeClr val="tx2"/>
              </a:solidFill>
            </a:endParaRPr>
          </a:p>
        </p:txBody>
      </p:sp>
    </p:spTree>
    <p:extLst>
      <p:ext uri="{BB962C8B-B14F-4D97-AF65-F5344CB8AC3E}">
        <p14:creationId xmlns:p14="http://schemas.microsoft.com/office/powerpoint/2010/main" val="4039765113"/>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p:cSld name="Back page blue + disclaimer">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extLst>
              <p:ext uri="{D42A27DB-BD31-4B8C-83A1-F6EECF244321}">
                <p14:modId xmlns:p14="http://schemas.microsoft.com/office/powerpoint/2010/main" val="13274936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4" name="Text Placeholder 11">
            <a:extLst>
              <a:ext uri="{FF2B5EF4-FFF2-40B4-BE49-F238E27FC236}">
                <a16:creationId xmlns:a16="http://schemas.microsoft.com/office/drawing/2014/main" id="{50A11EE6-855A-9049-A228-49ED1E9FCB28}"/>
              </a:ext>
            </a:extLst>
          </p:cNvPr>
          <p:cNvSpPr>
            <a:spLocks noGrp="1"/>
          </p:cNvSpPr>
          <p:nvPr>
            <p:ph type="body" sz="quarter" idx="10" hasCustomPrompt="1"/>
          </p:nvPr>
        </p:nvSpPr>
        <p:spPr>
          <a:xfrm>
            <a:off x="485775" y="1609725"/>
            <a:ext cx="11223625" cy="3703804"/>
          </a:xfrm>
        </p:spPr>
        <p:txBody>
          <a:bodyPr anchor="t" anchorCtr="0">
            <a:normAutofit/>
          </a:bodyPr>
          <a:lstStyle>
            <a:lvl1pPr>
              <a:spcBef>
                <a:spcPts val="0"/>
              </a:spcBef>
              <a:defRPr sz="800">
                <a:solidFill>
                  <a:schemeClr val="bg1"/>
                </a:solidFill>
              </a:defRPr>
            </a:lvl1pPr>
          </a:lstStyle>
          <a:p>
            <a:pPr lvl="0"/>
            <a:r>
              <a:rPr lang="en-US" dirty="0"/>
              <a:t>Click to add disclaimer</a:t>
            </a:r>
          </a:p>
        </p:txBody>
      </p:sp>
      <p:sp>
        <p:nvSpPr>
          <p:cNvPr id="8" name="TextBox 7">
            <a:extLst>
              <a:ext uri="{FF2B5EF4-FFF2-40B4-BE49-F238E27FC236}">
                <a16:creationId xmlns:a16="http://schemas.microsoft.com/office/drawing/2014/main" id="{0774C7E3-C8BD-E848-AACB-125BC2BDCD58}"/>
              </a:ext>
            </a:extLst>
          </p:cNvPr>
          <p:cNvSpPr txBox="1"/>
          <p:nvPr/>
        </p:nvSpPr>
        <p:spPr>
          <a:xfrm>
            <a:off x="474202" y="5585606"/>
            <a:ext cx="5874840" cy="535794"/>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2"/>
                </a:solidFill>
                <a:effectLst/>
                <a:latin typeface="+mn-lt"/>
                <a:ea typeface="+mn-ea"/>
                <a:cs typeface="+mn-cs"/>
              </a:rPr>
              <a:t>We are leaders in risk, strategy and people. One company, with four global businesses, united by a shared purpose to make a difference in the moments that matter.</a:t>
            </a:r>
          </a:p>
        </p:txBody>
      </p:sp>
      <p:pic>
        <p:nvPicPr>
          <p:cNvPr id="9" name="Graphic 8">
            <a:extLst>
              <a:ext uri="{FF2B5EF4-FFF2-40B4-BE49-F238E27FC236}">
                <a16:creationId xmlns:a16="http://schemas.microsoft.com/office/drawing/2014/main" id="{1C0978F2-580C-D846-BB1D-2538154CE24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6802" y="554729"/>
            <a:ext cx="1857071" cy="386890"/>
          </a:xfrm>
          <a:prstGeom prst="rect">
            <a:avLst/>
          </a:prstGeom>
        </p:spPr>
      </p:pic>
      <p:sp>
        <p:nvSpPr>
          <p:cNvPr id="7" name="Rectangle 6">
            <a:extLst>
              <a:ext uri="{FF2B5EF4-FFF2-40B4-BE49-F238E27FC236}">
                <a16:creationId xmlns:a16="http://schemas.microsoft.com/office/drawing/2014/main" id="{2BB901D0-3F63-BF40-93C9-68ACEA3BFCE7}"/>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bg1"/>
                </a:solidFill>
                <a:effectLst/>
                <a:latin typeface="Arial" panose="020B0604020202020204" pitchFamily="34" charset="0"/>
              </a:rPr>
              <a:t>A business of Marsh McLennan</a:t>
            </a:r>
            <a:endParaRPr lang="en-US" sz="1400" dirty="0">
              <a:solidFill>
                <a:schemeClr val="bg1"/>
              </a:solidFill>
            </a:endParaRPr>
          </a:p>
        </p:txBody>
      </p:sp>
    </p:spTree>
    <p:extLst>
      <p:ext uri="{BB962C8B-B14F-4D97-AF65-F5344CB8AC3E}">
        <p14:creationId xmlns:p14="http://schemas.microsoft.com/office/powerpoint/2010/main" val="2892414622"/>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354D9E00-BE79-044E-880B-B336004BBA7A}"/>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3601336716"/>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58802" y="382589"/>
            <a:ext cx="11048693" cy="690563"/>
          </a:xfrm>
        </p:spPr>
        <p:txBody>
          <a:bodyPr/>
          <a:lstStyle/>
          <a:p>
            <a:r>
              <a:rPr lang="en-US"/>
              <a:t>Click to edit Master title style</a:t>
            </a:r>
          </a:p>
        </p:txBody>
      </p:sp>
      <p:sp>
        <p:nvSpPr>
          <p:cNvPr id="3" name="Content Placeholder 2"/>
          <p:cNvSpPr>
            <a:spLocks noGrp="1"/>
          </p:cNvSpPr>
          <p:nvPr>
            <p:ph idx="1"/>
          </p:nvPr>
        </p:nvSpPr>
        <p:spPr>
          <a:xfrm>
            <a:off x="558802" y="1277940"/>
            <a:ext cx="11048693" cy="49879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3"/>
          <p:cNvSpPr>
            <a:spLocks noGrp="1"/>
          </p:cNvSpPr>
          <p:nvPr>
            <p:ph type="sldNum" sz="quarter" idx="10"/>
          </p:nvPr>
        </p:nvSpPr>
        <p:spPr/>
        <p:txBody>
          <a:bodyPr/>
          <a:lstStyle>
            <a:lvl1pPr>
              <a:defRPr/>
            </a:lvl1pPr>
          </a:lstStyle>
          <a:p>
            <a:fld id="{4A0C0F96-B644-449E-AAAF-20DAA76362A5}" type="slidenum">
              <a:rPr lang="en-US"/>
              <a:pPr/>
              <a:t>‹Nº›</a:t>
            </a:fld>
            <a:endParaRPr lang="en-US" dirty="0"/>
          </a:p>
        </p:txBody>
      </p:sp>
    </p:spTree>
    <p:extLst>
      <p:ext uri="{BB962C8B-B14F-4D97-AF65-F5344CB8AC3E}">
        <p14:creationId xmlns:p14="http://schemas.microsoft.com/office/powerpoint/2010/main" val="3070132344"/>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p:cSld name="Content">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C6A0CCC6-7BFA-B74B-BE8E-833BC82918F0}"/>
              </a:ext>
            </a:extLst>
          </p:cNvPr>
          <p:cNvSpPr txBox="1"/>
          <p:nvPr/>
        </p:nvSpPr>
        <p:spPr>
          <a:xfrm>
            <a:off x="374977" y="2505671"/>
            <a:ext cx="8423034" cy="1846659"/>
          </a:xfrm>
          <a:prstGeom prst="rect">
            <a:avLst/>
          </a:prstGeom>
          <a:noFill/>
        </p:spPr>
        <p:txBody>
          <a:bodyPr wrap="squar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Content</a:t>
            </a:r>
          </a:p>
        </p:txBody>
      </p:sp>
    </p:spTree>
    <p:extLst>
      <p:ext uri="{BB962C8B-B14F-4D97-AF65-F5344CB8AC3E}">
        <p14:creationId xmlns:p14="http://schemas.microsoft.com/office/powerpoint/2010/main" val="451791217"/>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773DA736-E5DF-844D-B5DD-D8BB742411F8}"/>
              </a:ext>
            </a:extLst>
          </p:cNvPr>
          <p:cNvSpPr>
            <a:spLocks noGrp="1"/>
          </p:cNvSpPr>
          <p:nvPr>
            <p:ph type="body" sz="half" idx="10"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7"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11223624" cy="45166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1" name="Text Placeholder 3">
            <a:extLst>
              <a:ext uri="{FF2B5EF4-FFF2-40B4-BE49-F238E27FC236}">
                <a16:creationId xmlns:a16="http://schemas.microsoft.com/office/drawing/2014/main" id="{F2D0924E-7A15-6045-86EA-6E2333478DE4}"/>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245080897"/>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itle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C57F4E2F-BA25-A740-A97C-6060BBEA4B3C}"/>
              </a:ext>
            </a:extLst>
          </p:cNvPr>
          <p:cNvSpPr>
            <a:spLocks noGrp="1"/>
          </p:cNvSpPr>
          <p:nvPr>
            <p:ph sz="quarter" idx="12"/>
          </p:nvPr>
        </p:nvSpPr>
        <p:spPr>
          <a:xfrm>
            <a:off x="4305300" y="361950"/>
            <a:ext cx="7400923" cy="5756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3" name="Title 2">
            <a:extLst>
              <a:ext uri="{FF2B5EF4-FFF2-40B4-BE49-F238E27FC236}">
                <a16:creationId xmlns:a16="http://schemas.microsoft.com/office/drawing/2014/main" id="{0DD3F4F7-9124-C547-A701-15854901D947}"/>
              </a:ext>
            </a:extLst>
          </p:cNvPr>
          <p:cNvSpPr>
            <a:spLocks noGrp="1"/>
          </p:cNvSpPr>
          <p:nvPr>
            <p:ph type="title" hasCustomPrompt="1"/>
          </p:nvPr>
        </p:nvSpPr>
        <p:spPr>
          <a:xfrm>
            <a:off x="458721" y="356540"/>
            <a:ext cx="3605279" cy="5770271"/>
          </a:xfrm>
        </p:spPr>
        <p:txBody>
          <a:bodyPr/>
          <a:lstStyle/>
          <a:p>
            <a:r>
              <a:rPr lang="en-US" dirty="0"/>
              <a:t>Click to add title</a:t>
            </a:r>
          </a:p>
        </p:txBody>
      </p:sp>
    </p:spTree>
    <p:extLst>
      <p:ext uri="{BB962C8B-B14F-4D97-AF65-F5344CB8AC3E}">
        <p14:creationId xmlns:p14="http://schemas.microsoft.com/office/powerpoint/2010/main" val="1680680301"/>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Title + content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6" y="1616075"/>
            <a:ext cx="3578224" cy="450215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9" name="Content Placeholder 3">
            <a:extLst>
              <a:ext uri="{FF2B5EF4-FFF2-40B4-BE49-F238E27FC236}">
                <a16:creationId xmlns:a16="http://schemas.microsoft.com/office/drawing/2014/main" id="{945836DB-331C-BB4D-A888-9D9ECE5B27F2}"/>
              </a:ext>
            </a:extLst>
          </p:cNvPr>
          <p:cNvSpPr>
            <a:spLocks noGrp="1"/>
          </p:cNvSpPr>
          <p:nvPr>
            <p:ph sz="quarter" idx="12"/>
          </p:nvPr>
        </p:nvSpPr>
        <p:spPr>
          <a:xfrm>
            <a:off x="4305300" y="361950"/>
            <a:ext cx="7404100" cy="5756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98020D88-DDBE-B945-895B-9676A84EF58F}"/>
              </a:ext>
            </a:extLst>
          </p:cNvPr>
          <p:cNvSpPr>
            <a:spLocks noGrp="1"/>
          </p:cNvSpPr>
          <p:nvPr>
            <p:ph type="title" hasCustomPrompt="1"/>
          </p:nvPr>
        </p:nvSpPr>
        <p:spPr>
          <a:xfrm>
            <a:off x="458721" y="356540"/>
            <a:ext cx="3605279" cy="839213"/>
          </a:xfrm>
        </p:spPr>
        <p:txBody>
          <a:bodyPr/>
          <a:lstStyle/>
          <a:p>
            <a:r>
              <a:rPr lang="en-US" dirty="0"/>
              <a:t>Click to add title</a:t>
            </a:r>
          </a:p>
        </p:txBody>
      </p:sp>
    </p:spTree>
    <p:extLst>
      <p:ext uri="{BB962C8B-B14F-4D97-AF65-F5344CB8AC3E}">
        <p14:creationId xmlns:p14="http://schemas.microsoft.com/office/powerpoint/2010/main" val="3281133116"/>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5" y="1609726"/>
            <a:ext cx="5495925" cy="4511674"/>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0303" y="1609725"/>
            <a:ext cx="5499098" cy="4511675"/>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4" y="6388100"/>
            <a:ext cx="4546596"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0" name="Title 1">
            <a:extLst>
              <a:ext uri="{FF2B5EF4-FFF2-40B4-BE49-F238E27FC236}">
                <a16:creationId xmlns:a16="http://schemas.microsoft.com/office/drawing/2014/main" id="{F39CC0C0-5779-B349-BDDB-E539A51CC8CA}"/>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1" name="Text Placeholder 3">
            <a:extLst>
              <a:ext uri="{FF2B5EF4-FFF2-40B4-BE49-F238E27FC236}">
                <a16:creationId xmlns:a16="http://schemas.microsoft.com/office/drawing/2014/main" id="{AF3391C4-98D7-4747-8880-F82E7546E92C}"/>
              </a:ext>
            </a:extLst>
          </p:cNvPr>
          <p:cNvSpPr>
            <a:spLocks noGrp="1"/>
          </p:cNvSpPr>
          <p:nvPr>
            <p:ph type="body" sz="half" idx="1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2922001508"/>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7" y="1616075"/>
            <a:ext cx="3578224" cy="4505325"/>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317755" y="1616075"/>
            <a:ext cx="3578224" cy="4505325"/>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8128000" y="1616075"/>
            <a:ext cx="3578223" cy="4505326"/>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10" name="Text Placeholder 3">
            <a:extLst>
              <a:ext uri="{FF2B5EF4-FFF2-40B4-BE49-F238E27FC236}">
                <a16:creationId xmlns:a16="http://schemas.microsoft.com/office/drawing/2014/main" id="{46026CD4-41A6-2745-806A-108B86DE8600}"/>
              </a:ext>
            </a:extLst>
          </p:cNvPr>
          <p:cNvSpPr>
            <a:spLocks noGrp="1"/>
          </p:cNvSpPr>
          <p:nvPr>
            <p:ph type="body" sz="half" idx="12"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1" name="Title 1">
            <a:extLst>
              <a:ext uri="{FF2B5EF4-FFF2-40B4-BE49-F238E27FC236}">
                <a16:creationId xmlns:a16="http://schemas.microsoft.com/office/drawing/2014/main" id="{24127F47-2151-2E4E-804E-5041FF74C799}"/>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1AB0AB67-B739-1E41-9B7F-40BDB88E8937}"/>
              </a:ext>
            </a:extLst>
          </p:cNvPr>
          <p:cNvSpPr>
            <a:spLocks noGrp="1"/>
          </p:cNvSpPr>
          <p:nvPr>
            <p:ph type="body" sz="half" idx="13"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4005759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x">
  <p:cSld name="Agenda">
    <p:bg>
      <p:bgPr>
        <a:solidFill>
          <a:srgbClr val="FFFFFF"/>
        </a:solidFill>
        <a:effectLst/>
      </p:bgPr>
    </p:bg>
    <p:spTree>
      <p:nvGrpSpPr>
        <p:cNvPr id="1" name=""/>
        <p:cNvGrpSpPr/>
        <p:nvPr/>
      </p:nvGrpSpPr>
      <p:grpSpPr>
        <a:xfrm>
          <a:off x="0" y="0"/>
          <a:ext cx="0" cy="0"/>
          <a:chOff x="0" y="0"/>
          <a:chExt cx="0" cy="0"/>
        </a:xfrm>
      </p:grpSpPr>
      <p:sp>
        <p:nvSpPr>
          <p:cNvPr id="417" name="Shape 417"/>
          <p:cNvSpPr>
            <a:spLocks noGrp="1"/>
          </p:cNvSpPr>
          <p:nvPr>
            <p:ph type="title"/>
          </p:nvPr>
        </p:nvSpPr>
        <p:spPr>
          <a:xfrm>
            <a:off x="485775" y="4901386"/>
            <a:ext cx="11223626" cy="1846660"/>
          </a:xfrm>
          <a:prstGeom prst="rect">
            <a:avLst/>
          </a:prstGeom>
        </p:spPr>
        <p:txBody>
          <a:bodyPr>
            <a:normAutofit/>
          </a:bodyPr>
          <a:lstStyle>
            <a:lvl1pPr algn="r">
              <a:lnSpc>
                <a:spcPct val="100000"/>
              </a:lnSpc>
              <a:defRPr sz="12000"/>
            </a:lvl1pPr>
          </a:lstStyle>
          <a:p>
            <a:r>
              <a:t>Texto del título</a:t>
            </a:r>
          </a:p>
        </p:txBody>
      </p:sp>
      <p:sp>
        <p:nvSpPr>
          <p:cNvPr id="418" name="Shape 418"/>
          <p:cNvSpPr>
            <a:spLocks noGrp="1"/>
          </p:cNvSpPr>
          <p:nvPr>
            <p:ph type="body" sz="half" idx="1"/>
          </p:nvPr>
        </p:nvSpPr>
        <p:spPr>
          <a:xfrm>
            <a:off x="485775" y="361950"/>
            <a:ext cx="5495925" cy="5759450"/>
          </a:xfrm>
          <a:prstGeom prst="rect">
            <a:avLst/>
          </a:prstGeom>
        </p:spPr>
        <p:txBody>
          <a:bodyPr>
            <a:normAutofit/>
          </a:bodyPr>
          <a:lstStyle>
            <a:lvl1pPr marL="233363" indent="-233363">
              <a:lnSpc>
                <a:spcPct val="90000"/>
              </a:lnSpc>
              <a:spcBef>
                <a:spcPts val="600"/>
              </a:spcBef>
              <a:buSzPct val="100000"/>
              <a:buAutoNum type="arabicPeriod"/>
            </a:lvl1pPr>
            <a:lvl2pPr marL="508000" indent="-276225">
              <a:lnSpc>
                <a:spcPct val="90000"/>
              </a:lnSpc>
              <a:spcBef>
                <a:spcPts val="600"/>
              </a:spcBef>
            </a:lvl2pPr>
            <a:lvl3pPr marL="800100">
              <a:lnSpc>
                <a:spcPct val="90000"/>
              </a:lnSpc>
              <a:spcBef>
                <a:spcPts val="600"/>
              </a:spcBef>
            </a:lvl3pPr>
            <a:lvl4pPr marL="1028700">
              <a:lnSpc>
                <a:spcPct val="90000"/>
              </a:lnSpc>
              <a:spcBef>
                <a:spcPts val="600"/>
              </a:spcBef>
            </a:lvl4pPr>
            <a:lvl5pPr marL="1257300">
              <a:lnSpc>
                <a:spcPct val="90000"/>
              </a:lnSpc>
              <a:spcBef>
                <a:spcPts val="600"/>
              </a:spcBef>
            </a:lvl5pPr>
          </a:lstStyle>
          <a:p>
            <a:r>
              <a:t>Nivel de texto 1</a:t>
            </a:r>
          </a:p>
          <a:p>
            <a:pPr lvl="1"/>
            <a:r>
              <a:t>Nivel de texto 2</a:t>
            </a:r>
          </a:p>
          <a:p>
            <a:pPr lvl="2"/>
            <a:r>
              <a:t>Nivel de texto 3</a:t>
            </a:r>
          </a:p>
          <a:p>
            <a:pPr lvl="3"/>
            <a:r>
              <a:t>Nivel de texto 4</a:t>
            </a:r>
          </a:p>
          <a:p>
            <a:pPr lvl="4"/>
            <a:r>
              <a:t>Nivel de texto 5</a:t>
            </a:r>
          </a:p>
        </p:txBody>
      </p:sp>
      <p:sp>
        <p:nvSpPr>
          <p:cNvPr id="419" name="Shape 419"/>
          <p:cNvSpPr>
            <a:spLocks noGrp="1"/>
          </p:cNvSpPr>
          <p:nvPr>
            <p:ph type="sldNum" sz="quarter" idx="2"/>
          </p:nvPr>
        </p:nvSpPr>
        <p:spPr>
          <a:prstGeom prst="rect">
            <a:avLst/>
          </a:prstGeom>
        </p:spPr>
        <p:txBody>
          <a:bodyPr/>
          <a:lstStyle/>
          <a:p>
            <a:fld id="{86CB4B4D-7CA3-9044-876B-883B54F8677D}" type="slidenum">
              <a:t>‹Nº›</a:t>
            </a:fld>
            <a:endParaRPr/>
          </a:p>
        </p:txBody>
      </p:sp>
    </p:spTree>
  </p:cSld>
  <p:clrMapOvr>
    <a:masterClrMapping/>
  </p:clrMapOvr>
  <p:transition spd="med"/>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6" y="1616075"/>
            <a:ext cx="2626455"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3352800" y="1616075"/>
            <a:ext cx="2628900"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9089292" y="1616075"/>
            <a:ext cx="2616932"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9" name="Content Placeholder 3">
            <a:extLst>
              <a:ext uri="{FF2B5EF4-FFF2-40B4-BE49-F238E27FC236}">
                <a16:creationId xmlns:a16="http://schemas.microsoft.com/office/drawing/2014/main" id="{90CFE4A1-AAEA-9742-8946-359C3F5D0A1A}"/>
              </a:ext>
            </a:extLst>
          </p:cNvPr>
          <p:cNvSpPr>
            <a:spLocks noGrp="1"/>
          </p:cNvSpPr>
          <p:nvPr>
            <p:ph sz="half" idx="12"/>
          </p:nvPr>
        </p:nvSpPr>
        <p:spPr>
          <a:xfrm>
            <a:off x="6219823" y="1616075"/>
            <a:ext cx="2619377"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22" name="Text Placeholder 3">
            <a:extLst>
              <a:ext uri="{FF2B5EF4-FFF2-40B4-BE49-F238E27FC236}">
                <a16:creationId xmlns:a16="http://schemas.microsoft.com/office/drawing/2014/main" id="{A9C0AEB2-29EF-7A4A-9D9F-717BFB9D7E58}"/>
              </a:ext>
            </a:extLst>
          </p:cNvPr>
          <p:cNvSpPr>
            <a:spLocks noGrp="1"/>
          </p:cNvSpPr>
          <p:nvPr>
            <p:ph type="body" sz="half" idx="13" hasCustomPrompt="1"/>
          </p:nvPr>
        </p:nvSpPr>
        <p:spPr>
          <a:xfrm>
            <a:off x="6210301" y="6388100"/>
            <a:ext cx="4546599"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1" name="Title 1">
            <a:extLst>
              <a:ext uri="{FF2B5EF4-FFF2-40B4-BE49-F238E27FC236}">
                <a16:creationId xmlns:a16="http://schemas.microsoft.com/office/drawing/2014/main" id="{83CB1B1D-63D8-624F-8FE2-BACDF39AFA38}"/>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93192BB1-48EF-E34D-A18B-088C2525C8DE}"/>
              </a:ext>
            </a:extLst>
          </p:cNvPr>
          <p:cNvSpPr>
            <a:spLocks noGrp="1"/>
          </p:cNvSpPr>
          <p:nvPr>
            <p:ph type="body" sz="half" idx="14"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251372100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Six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5"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2397760"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6221730"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9" name="Content Placeholder 3">
            <a:extLst>
              <a:ext uri="{FF2B5EF4-FFF2-40B4-BE49-F238E27FC236}">
                <a16:creationId xmlns:a16="http://schemas.microsoft.com/office/drawing/2014/main" id="{90CFE4A1-AAEA-9742-8946-359C3F5D0A1A}"/>
              </a:ext>
            </a:extLst>
          </p:cNvPr>
          <p:cNvSpPr>
            <a:spLocks noGrp="1"/>
          </p:cNvSpPr>
          <p:nvPr>
            <p:ph sz="half" idx="12"/>
          </p:nvPr>
        </p:nvSpPr>
        <p:spPr>
          <a:xfrm>
            <a:off x="4309745"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10" name="Content Placeholder 3">
            <a:extLst>
              <a:ext uri="{FF2B5EF4-FFF2-40B4-BE49-F238E27FC236}">
                <a16:creationId xmlns:a16="http://schemas.microsoft.com/office/drawing/2014/main" id="{B60CBF3D-4AE0-E04C-A0D8-C2B53DF312B4}"/>
              </a:ext>
            </a:extLst>
          </p:cNvPr>
          <p:cNvSpPr>
            <a:spLocks noGrp="1"/>
          </p:cNvSpPr>
          <p:nvPr>
            <p:ph sz="half" idx="13"/>
          </p:nvPr>
        </p:nvSpPr>
        <p:spPr>
          <a:xfrm>
            <a:off x="8133715"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D441AD0A-E6DF-5847-BEB4-907DA9B01661}"/>
              </a:ext>
            </a:extLst>
          </p:cNvPr>
          <p:cNvSpPr>
            <a:spLocks noGrp="1"/>
          </p:cNvSpPr>
          <p:nvPr>
            <p:ph sz="half" idx="14"/>
          </p:nvPr>
        </p:nvSpPr>
        <p:spPr>
          <a:xfrm>
            <a:off x="10045698"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12" name="Text Placeholder 3">
            <a:extLst>
              <a:ext uri="{FF2B5EF4-FFF2-40B4-BE49-F238E27FC236}">
                <a16:creationId xmlns:a16="http://schemas.microsoft.com/office/drawing/2014/main" id="{775FE915-A989-2C4F-B5CF-8C03CD0485CB}"/>
              </a:ext>
            </a:extLst>
          </p:cNvPr>
          <p:cNvSpPr>
            <a:spLocks noGrp="1"/>
          </p:cNvSpPr>
          <p:nvPr>
            <p:ph type="body" sz="half" idx="15" hasCustomPrompt="1"/>
          </p:nvPr>
        </p:nvSpPr>
        <p:spPr>
          <a:xfrm>
            <a:off x="6221731" y="6388100"/>
            <a:ext cx="453517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4" name="Title 1">
            <a:extLst>
              <a:ext uri="{FF2B5EF4-FFF2-40B4-BE49-F238E27FC236}">
                <a16:creationId xmlns:a16="http://schemas.microsoft.com/office/drawing/2014/main" id="{ABCBBFA3-BF99-FC46-8DCA-D9D911944ABD}"/>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5" name="Text Placeholder 3">
            <a:extLst>
              <a:ext uri="{FF2B5EF4-FFF2-40B4-BE49-F238E27FC236}">
                <a16:creationId xmlns:a16="http://schemas.microsoft.com/office/drawing/2014/main" id="{B46280AB-2B05-3446-8F2E-AD2C0974CB6E}"/>
              </a:ext>
            </a:extLst>
          </p:cNvPr>
          <p:cNvSpPr>
            <a:spLocks noGrp="1"/>
          </p:cNvSpPr>
          <p:nvPr>
            <p:ph type="body" sz="half" idx="16"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3707541427"/>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7" name="Title 1">
            <a:extLst>
              <a:ext uri="{FF2B5EF4-FFF2-40B4-BE49-F238E27FC236}">
                <a16:creationId xmlns:a16="http://schemas.microsoft.com/office/drawing/2014/main" id="{354D9E00-BE79-044E-880B-B336004BBA7A}"/>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255534325"/>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 name="Freeform 16">
            <a:extLst>
              <a:ext uri="{FF2B5EF4-FFF2-40B4-BE49-F238E27FC236}">
                <a16:creationId xmlns:a16="http://schemas.microsoft.com/office/drawing/2014/main" id="{87B98418-DB22-7247-B4EF-AF4390CDCA0E}"/>
              </a:ext>
            </a:extLst>
          </p:cNvPr>
          <p:cNvSpPr/>
          <p:nvPr/>
        </p:nvSpPr>
        <p:spPr>
          <a:xfrm>
            <a:off x="6211018" y="0"/>
            <a:ext cx="5980982" cy="6858000"/>
          </a:xfrm>
          <a:custGeom>
            <a:avLst/>
            <a:gdLst>
              <a:gd name="connsiteX0" fmla="*/ 0 w 5980982"/>
              <a:gd name="connsiteY0" fmla="*/ 0 h 6858000"/>
              <a:gd name="connsiteX1" fmla="*/ 5980982 w 5980982"/>
              <a:gd name="connsiteY1" fmla="*/ 0 h 6858000"/>
              <a:gd name="connsiteX2" fmla="*/ 5980982 w 5980982"/>
              <a:gd name="connsiteY2" fmla="*/ 6858000 h 6858000"/>
              <a:gd name="connsiteX3" fmla="*/ 0 w 5980982"/>
              <a:gd name="connsiteY3" fmla="*/ 6858000 h 6858000"/>
              <a:gd name="connsiteX4" fmla="*/ 0 w 5980982"/>
              <a:gd name="connsiteY4" fmla="*/ 3555999 h 6858000"/>
              <a:gd name="connsiteX5" fmla="*/ 132789 w 5980982"/>
              <a:gd name="connsiteY5" fmla="*/ 3429000 h 6858000"/>
              <a:gd name="connsiteX6" fmla="*/ 0 w 5980982"/>
              <a:gd name="connsiteY6" fmla="*/ 33020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0982" h="6858000">
                <a:moveTo>
                  <a:pt x="0" y="0"/>
                </a:moveTo>
                <a:lnTo>
                  <a:pt x="5980982" y="0"/>
                </a:lnTo>
                <a:lnTo>
                  <a:pt x="5980982" y="6858000"/>
                </a:lnTo>
                <a:lnTo>
                  <a:pt x="0" y="6858000"/>
                </a:lnTo>
                <a:lnTo>
                  <a:pt x="0" y="3555999"/>
                </a:lnTo>
                <a:lnTo>
                  <a:pt x="132789" y="3429000"/>
                </a:lnTo>
                <a:lnTo>
                  <a:pt x="0" y="3302001"/>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5" name="Title 1">
            <a:extLst>
              <a:ext uri="{FF2B5EF4-FFF2-40B4-BE49-F238E27FC236}">
                <a16:creationId xmlns:a16="http://schemas.microsoft.com/office/drawing/2014/main" id="{DB3B1839-746D-0040-B4BF-DEAD14769839}"/>
              </a:ext>
            </a:extLst>
          </p:cNvPr>
          <p:cNvSpPr>
            <a:spLocks noGrp="1"/>
          </p:cNvSpPr>
          <p:nvPr>
            <p:ph type="title" hasCustomPrompt="1"/>
          </p:nvPr>
        </p:nvSpPr>
        <p:spPr>
          <a:xfrm>
            <a:off x="457201" y="355601"/>
            <a:ext cx="5524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7" y="806807"/>
            <a:ext cx="54959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6"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5495925" cy="45166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9118951"/>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plit call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Freeform 5">
            <a:extLst>
              <a:ext uri="{FF2B5EF4-FFF2-40B4-BE49-F238E27FC236}">
                <a16:creationId xmlns:a16="http://schemas.microsoft.com/office/drawing/2014/main" id="{6C28D570-764E-8746-A9D3-AD94F6E88F8D}"/>
              </a:ext>
            </a:extLst>
          </p:cNvPr>
          <p:cNvSpPr/>
          <p:nvPr/>
        </p:nvSpPr>
        <p:spPr>
          <a:xfrm>
            <a:off x="8130488" y="0"/>
            <a:ext cx="4061512" cy="6858000"/>
          </a:xfrm>
          <a:custGeom>
            <a:avLst/>
            <a:gdLst>
              <a:gd name="connsiteX0" fmla="*/ 0 w 4061512"/>
              <a:gd name="connsiteY0" fmla="*/ 0 h 6858000"/>
              <a:gd name="connsiteX1" fmla="*/ 3147112 w 4061512"/>
              <a:gd name="connsiteY1" fmla="*/ 0 h 6858000"/>
              <a:gd name="connsiteX2" fmla="*/ 4035136 w 4061512"/>
              <a:gd name="connsiteY2" fmla="*/ 0 h 6858000"/>
              <a:gd name="connsiteX3" fmla="*/ 4061512 w 4061512"/>
              <a:gd name="connsiteY3" fmla="*/ 0 h 6858000"/>
              <a:gd name="connsiteX4" fmla="*/ 4061512 w 4061512"/>
              <a:gd name="connsiteY4" fmla="*/ 6858000 h 6858000"/>
              <a:gd name="connsiteX5" fmla="*/ 4035136 w 4061512"/>
              <a:gd name="connsiteY5" fmla="*/ 6858000 h 6858000"/>
              <a:gd name="connsiteX6" fmla="*/ 3147112 w 4061512"/>
              <a:gd name="connsiteY6" fmla="*/ 6858000 h 6858000"/>
              <a:gd name="connsiteX7" fmla="*/ 0 w 4061512"/>
              <a:gd name="connsiteY7" fmla="*/ 6858000 h 6858000"/>
              <a:gd name="connsiteX8" fmla="*/ 0 w 4061512"/>
              <a:gd name="connsiteY8" fmla="*/ 1863155 h 6858000"/>
              <a:gd name="connsiteX9" fmla="*/ 129886 w 4061512"/>
              <a:gd name="connsiteY9" fmla="*/ 1737014 h 6858000"/>
              <a:gd name="connsiteX10" fmla="*/ 0 w 4061512"/>
              <a:gd name="connsiteY10" fmla="*/ 16108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512" h="6858000">
                <a:moveTo>
                  <a:pt x="0" y="0"/>
                </a:moveTo>
                <a:lnTo>
                  <a:pt x="3147112" y="0"/>
                </a:lnTo>
                <a:lnTo>
                  <a:pt x="4035136" y="0"/>
                </a:lnTo>
                <a:lnTo>
                  <a:pt x="4061512" y="0"/>
                </a:lnTo>
                <a:lnTo>
                  <a:pt x="4061512" y="6858000"/>
                </a:lnTo>
                <a:lnTo>
                  <a:pt x="4035136" y="6858000"/>
                </a:lnTo>
                <a:lnTo>
                  <a:pt x="3147112" y="6858000"/>
                </a:lnTo>
                <a:lnTo>
                  <a:pt x="0" y="6858000"/>
                </a:lnTo>
                <a:lnTo>
                  <a:pt x="0" y="1863155"/>
                </a:lnTo>
                <a:lnTo>
                  <a:pt x="129886" y="1737014"/>
                </a:lnTo>
                <a:lnTo>
                  <a:pt x="0" y="1610874"/>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7400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9"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7400925" cy="45166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9384952"/>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plit callout gradient">
    <p:spTree>
      <p:nvGrpSpPr>
        <p:cNvPr id="1" name=""/>
        <p:cNvGrpSpPr/>
        <p:nvPr/>
      </p:nvGrpSpPr>
      <p:grpSpPr>
        <a:xfrm>
          <a:off x="0" y="0"/>
          <a:ext cx="0" cy="0"/>
          <a:chOff x="0" y="0"/>
          <a:chExt cx="0" cy="0"/>
        </a:xfrm>
      </p:grpSpPr>
      <p:sp>
        <p:nvSpPr>
          <p:cNvPr id="11" name="Freeform 10">
            <a:extLst>
              <a:ext uri="{FF2B5EF4-FFF2-40B4-BE49-F238E27FC236}">
                <a16:creationId xmlns:a16="http://schemas.microsoft.com/office/drawing/2014/main" id="{6C28D570-764E-8746-A9D3-AD94F6E88F8D}"/>
              </a:ext>
            </a:extLst>
          </p:cNvPr>
          <p:cNvSpPr/>
          <p:nvPr userDrawn="1"/>
        </p:nvSpPr>
        <p:spPr>
          <a:xfrm>
            <a:off x="8130488" y="0"/>
            <a:ext cx="4061512" cy="6858000"/>
          </a:xfrm>
          <a:custGeom>
            <a:avLst/>
            <a:gdLst>
              <a:gd name="connsiteX0" fmla="*/ 0 w 4061512"/>
              <a:gd name="connsiteY0" fmla="*/ 0 h 6858000"/>
              <a:gd name="connsiteX1" fmla="*/ 3147112 w 4061512"/>
              <a:gd name="connsiteY1" fmla="*/ 0 h 6858000"/>
              <a:gd name="connsiteX2" fmla="*/ 4035136 w 4061512"/>
              <a:gd name="connsiteY2" fmla="*/ 0 h 6858000"/>
              <a:gd name="connsiteX3" fmla="*/ 4061512 w 4061512"/>
              <a:gd name="connsiteY3" fmla="*/ 0 h 6858000"/>
              <a:gd name="connsiteX4" fmla="*/ 4061512 w 4061512"/>
              <a:gd name="connsiteY4" fmla="*/ 6858000 h 6858000"/>
              <a:gd name="connsiteX5" fmla="*/ 4035136 w 4061512"/>
              <a:gd name="connsiteY5" fmla="*/ 6858000 h 6858000"/>
              <a:gd name="connsiteX6" fmla="*/ 3147112 w 4061512"/>
              <a:gd name="connsiteY6" fmla="*/ 6858000 h 6858000"/>
              <a:gd name="connsiteX7" fmla="*/ 0 w 4061512"/>
              <a:gd name="connsiteY7" fmla="*/ 6858000 h 6858000"/>
              <a:gd name="connsiteX8" fmla="*/ 0 w 4061512"/>
              <a:gd name="connsiteY8" fmla="*/ 1863155 h 6858000"/>
              <a:gd name="connsiteX9" fmla="*/ 129886 w 4061512"/>
              <a:gd name="connsiteY9" fmla="*/ 1737014 h 6858000"/>
              <a:gd name="connsiteX10" fmla="*/ 0 w 4061512"/>
              <a:gd name="connsiteY10" fmla="*/ 16108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512" h="6858000">
                <a:moveTo>
                  <a:pt x="0" y="0"/>
                </a:moveTo>
                <a:lnTo>
                  <a:pt x="3147112" y="0"/>
                </a:lnTo>
                <a:lnTo>
                  <a:pt x="4035136" y="0"/>
                </a:lnTo>
                <a:lnTo>
                  <a:pt x="4061512" y="0"/>
                </a:lnTo>
                <a:lnTo>
                  <a:pt x="4061512" y="6858000"/>
                </a:lnTo>
                <a:lnTo>
                  <a:pt x="4035136" y="6858000"/>
                </a:lnTo>
                <a:lnTo>
                  <a:pt x="3147112" y="6858000"/>
                </a:lnTo>
                <a:lnTo>
                  <a:pt x="0" y="6858000"/>
                </a:lnTo>
                <a:lnTo>
                  <a:pt x="0" y="1863155"/>
                </a:lnTo>
                <a:lnTo>
                  <a:pt x="129886" y="1737014"/>
                </a:lnTo>
                <a:lnTo>
                  <a:pt x="0" y="1610874"/>
                </a:lnTo>
                <a:close/>
              </a:path>
            </a:pathLst>
          </a:custGeom>
          <a:blipFill dpi="0" rotWithShape="1">
            <a:blip r:embed="rId3">
              <a:extLst>
                <a:ext uri="{28A0092B-C50C-407E-A947-70E740481C1C}">
                  <a14:useLocalDpi xmlns:a14="http://schemas.microsoft.com/office/drawing/2010/main" val="0"/>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7400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9"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7400925" cy="45166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5684133"/>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plit callout phot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7400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9"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7400925" cy="45166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9"/>
          <p:cNvSpPr>
            <a:spLocks noGrp="1"/>
          </p:cNvSpPr>
          <p:nvPr>
            <p:ph type="pic" sz="quarter" idx="12" hasCustomPrompt="1"/>
          </p:nvPr>
        </p:nvSpPr>
        <p:spPr>
          <a:xfrm>
            <a:off x="8131175" y="0"/>
            <a:ext cx="4060825" cy="6858000"/>
          </a:xfrm>
          <a:custGeom>
            <a:avLst/>
            <a:gdLst>
              <a:gd name="connsiteX0" fmla="*/ 0 w 4060825"/>
              <a:gd name="connsiteY0" fmla="*/ 0 h 6858000"/>
              <a:gd name="connsiteX1" fmla="*/ 4060825 w 4060825"/>
              <a:gd name="connsiteY1" fmla="*/ 0 h 6858000"/>
              <a:gd name="connsiteX2" fmla="*/ 4060825 w 4060825"/>
              <a:gd name="connsiteY2" fmla="*/ 6858000 h 6858000"/>
              <a:gd name="connsiteX3" fmla="*/ 0 w 4060825"/>
              <a:gd name="connsiteY3" fmla="*/ 6858000 h 6858000"/>
              <a:gd name="connsiteX4" fmla="*/ 0 w 4060825"/>
              <a:gd name="connsiteY4" fmla="*/ 1861958 h 6858000"/>
              <a:gd name="connsiteX5" fmla="*/ 124598 w 4060825"/>
              <a:gd name="connsiteY5" fmla="*/ 1737360 h 6858000"/>
              <a:gd name="connsiteX6" fmla="*/ 0 w 4060825"/>
              <a:gd name="connsiteY6" fmla="*/ 161276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0825" h="6858000">
                <a:moveTo>
                  <a:pt x="0" y="0"/>
                </a:moveTo>
                <a:lnTo>
                  <a:pt x="4060825" y="0"/>
                </a:lnTo>
                <a:lnTo>
                  <a:pt x="4060825" y="6858000"/>
                </a:lnTo>
                <a:lnTo>
                  <a:pt x="0" y="6858000"/>
                </a:lnTo>
                <a:lnTo>
                  <a:pt x="0" y="1861958"/>
                </a:lnTo>
                <a:lnTo>
                  <a:pt x="124598" y="1737360"/>
                </a:lnTo>
                <a:lnTo>
                  <a:pt x="0" y="1612762"/>
                </a:lnTo>
                <a:close/>
              </a:path>
            </a:pathLst>
          </a:custGeom>
          <a:solidFill>
            <a:srgbClr val="F0F0F0"/>
          </a:solidFill>
        </p:spPr>
        <p:txBody>
          <a:bodyPr wrap="square">
            <a:noAutofit/>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Tree>
    <p:extLst>
      <p:ext uri="{BB962C8B-B14F-4D97-AF65-F5344CB8AC3E}">
        <p14:creationId xmlns:p14="http://schemas.microsoft.com/office/powerpoint/2010/main" val="879478510"/>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228996"/>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p:cSld name="CONTENT + IMAG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C6A0CCC6-7BFA-B74B-BE8E-833BC82918F0}"/>
              </a:ext>
            </a:extLst>
          </p:cNvPr>
          <p:cNvSpPr txBox="1"/>
          <p:nvPr/>
        </p:nvSpPr>
        <p:spPr>
          <a:xfrm>
            <a:off x="374977" y="1582341"/>
            <a:ext cx="8423034" cy="3693319"/>
          </a:xfrm>
          <a:prstGeom prst="rect">
            <a:avLst/>
          </a:prstGeom>
          <a:noFill/>
        </p:spPr>
        <p:txBody>
          <a:bodyPr wrap="squar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Content +  images</a:t>
            </a:r>
          </a:p>
        </p:txBody>
      </p:sp>
    </p:spTree>
    <p:extLst>
      <p:ext uri="{BB962C8B-B14F-4D97-AF65-F5344CB8AC3E}">
        <p14:creationId xmlns:p14="http://schemas.microsoft.com/office/powerpoint/2010/main" val="2816894327"/>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Content + Image backgroun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735B67BB-4145-CB43-9042-99F21E43E2EB}"/>
              </a:ext>
            </a:extLst>
          </p:cNvPr>
          <p:cNvSpPr>
            <a:spLocks noGrp="1"/>
          </p:cNvSpPr>
          <p:nvPr>
            <p:ph type="pic" sz="quarter" idx="12" hasCustomPrompt="1"/>
          </p:nvPr>
        </p:nvSpPr>
        <p:spPr>
          <a:xfrm>
            <a:off x="1" y="0"/>
            <a:ext cx="12192000" cy="6858000"/>
          </a:xfrm>
          <a:solidFill>
            <a:srgbClr val="F0F0F0"/>
          </a:solidFill>
        </p:spPr>
        <p:txBody>
          <a:bodyPr/>
          <a:lstStyle>
            <a:lvl1pPr>
              <a:defRPr sz="1200">
                <a:solidFill>
                  <a:srgbClr val="FF0000"/>
                </a:solidFill>
              </a:defRPr>
            </a:lvl1pPr>
          </a:lstStyle>
          <a:p>
            <a:r>
              <a:rPr lang="en-US" dirty="0"/>
              <a:t>Bring picture placeholder to front. Click on picture icon to insert picture. Reset layout and send picture to back.</a:t>
            </a:r>
          </a:p>
        </p:txBody>
      </p:sp>
      <p:sp>
        <p:nvSpPr>
          <p:cNvPr id="8" name="Title 7">
            <a:extLst>
              <a:ext uri="{FF2B5EF4-FFF2-40B4-BE49-F238E27FC236}">
                <a16:creationId xmlns:a16="http://schemas.microsoft.com/office/drawing/2014/main" id="{F3F7DAD6-9BB0-734A-B0C2-5B0A76C9FD6E}"/>
              </a:ext>
            </a:extLst>
          </p:cNvPr>
          <p:cNvSpPr>
            <a:spLocks noGrp="1"/>
          </p:cNvSpPr>
          <p:nvPr>
            <p:ph type="title" hasCustomPrompt="1"/>
          </p:nvPr>
        </p:nvSpPr>
        <p:spPr>
          <a:xfrm>
            <a:off x="438912" y="1619247"/>
            <a:ext cx="5495924" cy="1495428"/>
          </a:xfrm>
        </p:spPr>
        <p:txBody>
          <a:bodyPr vert="horz"/>
          <a:lstStyle>
            <a:lvl1pPr>
              <a:defRPr sz="5600">
                <a:solidFill>
                  <a:schemeClr val="bg1"/>
                </a:solidFill>
              </a:defRPr>
            </a:lvl1pPr>
          </a:lstStyle>
          <a:p>
            <a:r>
              <a:rPr lang="en-US" dirty="0"/>
              <a:t>Click to add title</a:t>
            </a:r>
          </a:p>
        </p:txBody>
      </p:sp>
      <p:sp>
        <p:nvSpPr>
          <p:cNvPr id="26" name="Text Placeholder 25">
            <a:extLst>
              <a:ext uri="{FF2B5EF4-FFF2-40B4-BE49-F238E27FC236}">
                <a16:creationId xmlns:a16="http://schemas.microsoft.com/office/drawing/2014/main" id="{01D5F8C2-80B5-BD4F-91F7-1B8D6A3ACFB6}"/>
              </a:ext>
            </a:extLst>
          </p:cNvPr>
          <p:cNvSpPr>
            <a:spLocks noGrp="1"/>
          </p:cNvSpPr>
          <p:nvPr>
            <p:ph type="body" sz="quarter" idx="13"/>
          </p:nvPr>
        </p:nvSpPr>
        <p:spPr>
          <a:xfrm>
            <a:off x="485776" y="3315923"/>
            <a:ext cx="5495924" cy="2805477"/>
          </a:xfrm>
        </p:spPr>
        <p:txBody>
          <a:bodyPr/>
          <a:lstStyle>
            <a:lvl1pPr>
              <a:defRPr sz="2000" b="1">
                <a:solidFill>
                  <a:schemeClr val="bg1"/>
                </a:solidFill>
              </a:defRPr>
            </a:lvl1pPr>
            <a:lvl2pPr>
              <a:defRPr sz="2000">
                <a:solidFill>
                  <a:schemeClr val="bg1"/>
                </a:solidFill>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50685530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x">
  <p:cSld name="Agenda: blue">
    <p:bg>
      <p:bgPr>
        <a:solidFill>
          <a:srgbClr val="002C77"/>
        </a:solidFill>
        <a:effectLst/>
      </p:bgPr>
    </p:bg>
    <p:spTree>
      <p:nvGrpSpPr>
        <p:cNvPr id="1" name=""/>
        <p:cNvGrpSpPr/>
        <p:nvPr/>
      </p:nvGrpSpPr>
      <p:grpSpPr>
        <a:xfrm>
          <a:off x="0" y="0"/>
          <a:ext cx="0" cy="0"/>
          <a:chOff x="0" y="0"/>
          <a:chExt cx="0" cy="0"/>
        </a:xfrm>
      </p:grpSpPr>
      <p:sp>
        <p:nvSpPr>
          <p:cNvPr id="426" name="Shape 426"/>
          <p:cNvSpPr>
            <a:spLocks noGrp="1"/>
          </p:cNvSpPr>
          <p:nvPr>
            <p:ph type="title"/>
          </p:nvPr>
        </p:nvSpPr>
        <p:spPr>
          <a:xfrm>
            <a:off x="485775" y="4901386"/>
            <a:ext cx="11223626" cy="1846660"/>
          </a:xfrm>
          <a:prstGeom prst="rect">
            <a:avLst/>
          </a:prstGeom>
        </p:spPr>
        <p:txBody>
          <a:bodyPr>
            <a:normAutofit/>
          </a:bodyPr>
          <a:lstStyle>
            <a:lvl1pPr algn="r">
              <a:lnSpc>
                <a:spcPct val="100000"/>
              </a:lnSpc>
              <a:defRPr sz="12000">
                <a:solidFill>
                  <a:srgbClr val="FFFFFF"/>
                </a:solidFill>
              </a:defRPr>
            </a:lvl1pPr>
          </a:lstStyle>
          <a:p>
            <a:r>
              <a:t>Texto del título</a:t>
            </a:r>
          </a:p>
        </p:txBody>
      </p:sp>
      <p:sp>
        <p:nvSpPr>
          <p:cNvPr id="427" name="Shape 427"/>
          <p:cNvSpPr>
            <a:spLocks noGrp="1"/>
          </p:cNvSpPr>
          <p:nvPr>
            <p:ph type="body" sz="half" idx="1"/>
          </p:nvPr>
        </p:nvSpPr>
        <p:spPr>
          <a:xfrm>
            <a:off x="485775" y="361950"/>
            <a:ext cx="5495925" cy="5759450"/>
          </a:xfrm>
          <a:prstGeom prst="rect">
            <a:avLst/>
          </a:prstGeom>
        </p:spPr>
        <p:txBody>
          <a:bodyPr>
            <a:normAutofit/>
          </a:bodyPr>
          <a:lstStyle>
            <a:lvl1pPr marL="233363" indent="-233363">
              <a:lnSpc>
                <a:spcPct val="90000"/>
              </a:lnSpc>
              <a:spcBef>
                <a:spcPts val="600"/>
              </a:spcBef>
              <a:buSzPct val="100000"/>
              <a:buAutoNum type="arabicPeriod"/>
              <a:defRPr>
                <a:solidFill>
                  <a:srgbClr val="FFFFFF"/>
                </a:solidFill>
              </a:defRPr>
            </a:lvl1pPr>
            <a:lvl2pPr marL="569912" indent="-342899">
              <a:lnSpc>
                <a:spcPct val="90000"/>
              </a:lnSpc>
              <a:spcBef>
                <a:spcPts val="600"/>
              </a:spcBef>
              <a:defRPr>
                <a:solidFill>
                  <a:srgbClr val="FFFFFF"/>
                </a:solidFill>
              </a:defRPr>
            </a:lvl2pPr>
            <a:lvl3pPr marL="800100">
              <a:lnSpc>
                <a:spcPct val="90000"/>
              </a:lnSpc>
              <a:spcBef>
                <a:spcPts val="600"/>
              </a:spcBef>
              <a:defRPr>
                <a:solidFill>
                  <a:srgbClr val="FFFFFF"/>
                </a:solidFill>
              </a:defRPr>
            </a:lvl3pPr>
            <a:lvl4pPr marL="1028700">
              <a:lnSpc>
                <a:spcPct val="90000"/>
              </a:lnSpc>
              <a:spcBef>
                <a:spcPts val="600"/>
              </a:spcBef>
              <a:defRPr>
                <a:solidFill>
                  <a:srgbClr val="FFFFFF"/>
                </a:solidFill>
              </a:defRPr>
            </a:lvl4pPr>
            <a:lvl5pPr marL="1257300">
              <a:lnSpc>
                <a:spcPct val="90000"/>
              </a:lnSpc>
              <a:spcBef>
                <a:spcPts val="600"/>
              </a:spcBef>
              <a:defRPr>
                <a:solidFill>
                  <a:srgbClr val="FFFFFF"/>
                </a:solidFill>
              </a:defRPr>
            </a:lvl5pPr>
          </a:lstStyle>
          <a:p>
            <a:r>
              <a:t>Nivel de texto 1</a:t>
            </a:r>
          </a:p>
          <a:p>
            <a:pPr lvl="1"/>
            <a:r>
              <a:t>Nivel de texto 2</a:t>
            </a:r>
          </a:p>
          <a:p>
            <a:pPr lvl="2"/>
            <a:r>
              <a:t>Nivel de texto 3</a:t>
            </a:r>
          </a:p>
          <a:p>
            <a:pPr lvl="3"/>
            <a:r>
              <a:t>Nivel de texto 4</a:t>
            </a:r>
          </a:p>
          <a:p>
            <a:pPr lvl="4"/>
            <a:r>
              <a:t>Nivel de texto 5</a:t>
            </a:r>
          </a:p>
        </p:txBody>
      </p:sp>
      <p:sp>
        <p:nvSpPr>
          <p:cNvPr id="428" name="Shape 428"/>
          <p:cNvSpPr>
            <a:spLocks noGrp="1"/>
          </p:cNvSpPr>
          <p:nvPr>
            <p:ph type="sldNum" sz="quarter" idx="2"/>
          </p:nvPr>
        </p:nvSpPr>
        <p:spPr>
          <a:prstGeom prst="rect">
            <a:avLst/>
          </a:prstGeom>
        </p:spPr>
        <p:txBody>
          <a:bodyPr/>
          <a:lstStyle/>
          <a:p>
            <a:fld id="{86CB4B4D-7CA3-9044-876B-883B54F8677D}" type="slidenum">
              <a:t>‹Nº›</a:t>
            </a:fld>
            <a:endParaRPr/>
          </a:p>
        </p:txBody>
      </p:sp>
    </p:spTree>
  </p:cSld>
  <p:clrMapOvr>
    <a:masterClrMapping/>
  </p:clrMapOvr>
  <p:transition spd="med"/>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Content + 1up">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8AED69B9-B4F1-004C-A77F-27A6FA2E5B93}"/>
              </a:ext>
            </a:extLst>
          </p:cNvPr>
          <p:cNvSpPr>
            <a:spLocks noGrp="1"/>
          </p:cNvSpPr>
          <p:nvPr>
            <p:ph sz="quarter" idx="11"/>
          </p:nvPr>
        </p:nvSpPr>
        <p:spPr>
          <a:xfrm>
            <a:off x="485777" y="1609725"/>
            <a:ext cx="7400923" cy="451986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Picture Placeholder 10">
            <a:extLst>
              <a:ext uri="{FF2B5EF4-FFF2-40B4-BE49-F238E27FC236}">
                <a16:creationId xmlns:a16="http://schemas.microsoft.com/office/drawing/2014/main" id="{735B67BB-4145-CB43-9042-99F21E43E2EB}"/>
              </a:ext>
            </a:extLst>
          </p:cNvPr>
          <p:cNvSpPr>
            <a:spLocks noGrp="1"/>
          </p:cNvSpPr>
          <p:nvPr>
            <p:ph type="pic" sz="quarter" idx="12" hasCustomPrompt="1"/>
          </p:nvPr>
        </p:nvSpPr>
        <p:spPr>
          <a:xfrm>
            <a:off x="8128001" y="119959"/>
            <a:ext cx="3940174" cy="6618082"/>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0" name="Title 1">
            <a:extLst>
              <a:ext uri="{FF2B5EF4-FFF2-40B4-BE49-F238E27FC236}">
                <a16:creationId xmlns:a16="http://schemas.microsoft.com/office/drawing/2014/main" id="{EAEFB055-FB93-6449-B5E1-10B3AB4A19FD}"/>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E243AFB7-5041-9B4B-8CEB-9A5E8F8695ED}"/>
              </a:ext>
            </a:extLst>
          </p:cNvPr>
          <p:cNvSpPr>
            <a:spLocks noGrp="1"/>
          </p:cNvSpPr>
          <p:nvPr>
            <p:ph type="body" sz="half" idx="2" hasCustomPrompt="1"/>
          </p:nvPr>
        </p:nvSpPr>
        <p:spPr>
          <a:xfrm>
            <a:off x="485776" y="806807"/>
            <a:ext cx="7410633"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3489588715"/>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Content + 2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10">
            <a:extLst>
              <a:ext uri="{FF2B5EF4-FFF2-40B4-BE49-F238E27FC236}">
                <a16:creationId xmlns:a16="http://schemas.microsoft.com/office/drawing/2014/main" id="{1031E9E1-2938-814C-965B-19D14975B268}"/>
              </a:ext>
            </a:extLst>
          </p:cNvPr>
          <p:cNvSpPr>
            <a:spLocks noGrp="1"/>
          </p:cNvSpPr>
          <p:nvPr>
            <p:ph type="pic" sz="quarter" idx="12" hasCustomPrompt="1"/>
          </p:nvPr>
        </p:nvSpPr>
        <p:spPr>
          <a:xfrm>
            <a:off x="4305300" y="358775"/>
            <a:ext cx="7762875"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hasCustomPrompt="1"/>
          </p:nvPr>
        </p:nvSpPr>
        <p:spPr>
          <a:xfrm>
            <a:off x="4305300" y="3493742"/>
            <a:ext cx="7762875"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3" name="Content Placeholder 2"/>
          <p:cNvSpPr>
            <a:spLocks noGrp="1"/>
          </p:cNvSpPr>
          <p:nvPr>
            <p:ph sz="half" idx="1"/>
          </p:nvPr>
        </p:nvSpPr>
        <p:spPr>
          <a:xfrm>
            <a:off x="485776" y="1609725"/>
            <a:ext cx="3578224" cy="450850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9" name="Title 1">
            <a:extLst>
              <a:ext uri="{FF2B5EF4-FFF2-40B4-BE49-F238E27FC236}">
                <a16:creationId xmlns:a16="http://schemas.microsoft.com/office/drawing/2014/main" id="{189225C4-8365-8740-B93B-01403F28E601}"/>
              </a:ext>
            </a:extLst>
          </p:cNvPr>
          <p:cNvSpPr>
            <a:spLocks noGrp="1"/>
          </p:cNvSpPr>
          <p:nvPr>
            <p:ph type="title" hasCustomPrompt="1"/>
          </p:nvPr>
        </p:nvSpPr>
        <p:spPr>
          <a:xfrm>
            <a:off x="457201" y="355601"/>
            <a:ext cx="3606800" cy="752474"/>
          </a:xfrm>
        </p:spPr>
        <p:txBody>
          <a:bodyPr vert="horz"/>
          <a:lstStyle/>
          <a:p>
            <a:r>
              <a:rPr lang="en-US" dirty="0"/>
              <a:t>Click to add title</a:t>
            </a:r>
          </a:p>
        </p:txBody>
      </p:sp>
    </p:spTree>
    <p:extLst>
      <p:ext uri="{BB962C8B-B14F-4D97-AF65-F5344CB8AC3E}">
        <p14:creationId xmlns:p14="http://schemas.microsoft.com/office/powerpoint/2010/main" val="2430455847"/>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Content + 3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hasCustomPrompt="1"/>
          </p:nvPr>
        </p:nvSpPr>
        <p:spPr>
          <a:xfrm>
            <a:off x="4305300" y="3493742"/>
            <a:ext cx="7762875"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2" name="Picture Placeholder 10">
            <a:extLst>
              <a:ext uri="{FF2B5EF4-FFF2-40B4-BE49-F238E27FC236}">
                <a16:creationId xmlns:a16="http://schemas.microsoft.com/office/drawing/2014/main" id="{86D97FC1-1436-AE4B-A0BC-E2E020B6104B}"/>
              </a:ext>
            </a:extLst>
          </p:cNvPr>
          <p:cNvSpPr>
            <a:spLocks noGrp="1"/>
          </p:cNvSpPr>
          <p:nvPr>
            <p:ph type="pic" sz="quarter" idx="14" hasCustomPrompt="1"/>
          </p:nvPr>
        </p:nvSpPr>
        <p:spPr>
          <a:xfrm>
            <a:off x="8185678" y="358775"/>
            <a:ext cx="3882498"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5" name="Picture Placeholder 10">
            <a:extLst>
              <a:ext uri="{FF2B5EF4-FFF2-40B4-BE49-F238E27FC236}">
                <a16:creationId xmlns:a16="http://schemas.microsoft.com/office/drawing/2014/main" id="{BC987E18-8715-1944-B602-040A7437FAB6}"/>
              </a:ext>
            </a:extLst>
          </p:cNvPr>
          <p:cNvSpPr>
            <a:spLocks noGrp="1"/>
          </p:cNvSpPr>
          <p:nvPr>
            <p:ph type="pic" sz="quarter" idx="12" hasCustomPrompt="1"/>
          </p:nvPr>
        </p:nvSpPr>
        <p:spPr>
          <a:xfrm>
            <a:off x="4305300" y="358775"/>
            <a:ext cx="3742665"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3" name="Content Placeholder 2"/>
          <p:cNvSpPr>
            <a:spLocks noGrp="1"/>
          </p:cNvSpPr>
          <p:nvPr>
            <p:ph sz="half" idx="1"/>
          </p:nvPr>
        </p:nvSpPr>
        <p:spPr>
          <a:xfrm>
            <a:off x="485776" y="1609725"/>
            <a:ext cx="3578224" cy="450850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9" name="Title 1">
            <a:extLst>
              <a:ext uri="{FF2B5EF4-FFF2-40B4-BE49-F238E27FC236}">
                <a16:creationId xmlns:a16="http://schemas.microsoft.com/office/drawing/2014/main" id="{DAB781F8-68B2-BC49-8993-F85CEFB0A3B4}"/>
              </a:ext>
            </a:extLst>
          </p:cNvPr>
          <p:cNvSpPr>
            <a:spLocks noGrp="1"/>
          </p:cNvSpPr>
          <p:nvPr>
            <p:ph type="title" hasCustomPrompt="1"/>
          </p:nvPr>
        </p:nvSpPr>
        <p:spPr>
          <a:xfrm>
            <a:off x="457201" y="355601"/>
            <a:ext cx="3606800" cy="752474"/>
          </a:xfrm>
        </p:spPr>
        <p:txBody>
          <a:bodyPr vert="horz"/>
          <a:lstStyle/>
          <a:p>
            <a:r>
              <a:rPr lang="en-US" dirty="0"/>
              <a:t>Click to add title</a:t>
            </a:r>
          </a:p>
        </p:txBody>
      </p:sp>
    </p:spTree>
    <p:extLst>
      <p:ext uri="{BB962C8B-B14F-4D97-AF65-F5344CB8AC3E}">
        <p14:creationId xmlns:p14="http://schemas.microsoft.com/office/powerpoint/2010/main" val="1340235888"/>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Content + 3up modu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3" name="Picture Placeholder 10">
            <a:extLst>
              <a:ext uri="{FF2B5EF4-FFF2-40B4-BE49-F238E27FC236}">
                <a16:creationId xmlns:a16="http://schemas.microsoft.com/office/drawing/2014/main" id="{06D1C5D0-6FBD-DC40-BF13-9C09EFC9B450}"/>
              </a:ext>
            </a:extLst>
          </p:cNvPr>
          <p:cNvSpPr>
            <a:spLocks noGrp="1"/>
          </p:cNvSpPr>
          <p:nvPr>
            <p:ph type="pic" sz="quarter" idx="12" hasCustomPrompt="1"/>
          </p:nvPr>
        </p:nvSpPr>
        <p:spPr>
          <a:xfrm>
            <a:off x="4305300" y="358775"/>
            <a:ext cx="3822700"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4" name="Picture Placeholder 10">
            <a:extLst>
              <a:ext uri="{FF2B5EF4-FFF2-40B4-BE49-F238E27FC236}">
                <a16:creationId xmlns:a16="http://schemas.microsoft.com/office/drawing/2014/main" id="{52B98AD3-DEEF-4E4E-A5E7-207AD9EDE0A4}"/>
              </a:ext>
            </a:extLst>
          </p:cNvPr>
          <p:cNvSpPr>
            <a:spLocks noGrp="1"/>
          </p:cNvSpPr>
          <p:nvPr>
            <p:ph type="pic" sz="quarter" idx="14" hasCustomPrompt="1"/>
          </p:nvPr>
        </p:nvSpPr>
        <p:spPr>
          <a:xfrm>
            <a:off x="8226964" y="3493742"/>
            <a:ext cx="3841211"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5" name="Picture Placeholder 10">
            <a:extLst>
              <a:ext uri="{FF2B5EF4-FFF2-40B4-BE49-F238E27FC236}">
                <a16:creationId xmlns:a16="http://schemas.microsoft.com/office/drawing/2014/main" id="{05DBA6C8-E574-1C41-BF14-D1988A1F09BB}"/>
              </a:ext>
            </a:extLst>
          </p:cNvPr>
          <p:cNvSpPr>
            <a:spLocks noGrp="1"/>
          </p:cNvSpPr>
          <p:nvPr>
            <p:ph type="pic" sz="quarter" idx="15" hasCustomPrompt="1"/>
          </p:nvPr>
        </p:nvSpPr>
        <p:spPr>
          <a:xfrm>
            <a:off x="123826" y="3493742"/>
            <a:ext cx="4104142"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6" name="Text Placeholder 3">
            <a:extLst>
              <a:ext uri="{FF2B5EF4-FFF2-40B4-BE49-F238E27FC236}">
                <a16:creationId xmlns:a16="http://schemas.microsoft.com/office/drawing/2014/main" id="{450CA7BF-D868-9C46-B4DE-128E2C7369C1}"/>
              </a:ext>
            </a:extLst>
          </p:cNvPr>
          <p:cNvSpPr>
            <a:spLocks noGrp="1"/>
          </p:cNvSpPr>
          <p:nvPr>
            <p:ph type="body" sz="half" idx="2" hasCustomPrompt="1"/>
          </p:nvPr>
        </p:nvSpPr>
        <p:spPr>
          <a:xfrm>
            <a:off x="485777" y="358775"/>
            <a:ext cx="3578224" cy="3019424"/>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content</a:t>
            </a:r>
          </a:p>
        </p:txBody>
      </p:sp>
      <p:sp>
        <p:nvSpPr>
          <p:cNvPr id="17" name="Text Placeholder 3">
            <a:extLst>
              <a:ext uri="{FF2B5EF4-FFF2-40B4-BE49-F238E27FC236}">
                <a16:creationId xmlns:a16="http://schemas.microsoft.com/office/drawing/2014/main" id="{ABA9015E-F6D4-0A41-87F6-DE612B8F621A}"/>
              </a:ext>
            </a:extLst>
          </p:cNvPr>
          <p:cNvSpPr>
            <a:spLocks noGrp="1"/>
          </p:cNvSpPr>
          <p:nvPr>
            <p:ph type="body" sz="half" idx="16" hasCustomPrompt="1"/>
          </p:nvPr>
        </p:nvSpPr>
        <p:spPr>
          <a:xfrm>
            <a:off x="8289863" y="358774"/>
            <a:ext cx="3546537" cy="2965449"/>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content</a:t>
            </a:r>
          </a:p>
        </p:txBody>
      </p:sp>
      <p:sp>
        <p:nvSpPr>
          <p:cNvPr id="18" name="Text Placeholder 3">
            <a:extLst>
              <a:ext uri="{FF2B5EF4-FFF2-40B4-BE49-F238E27FC236}">
                <a16:creationId xmlns:a16="http://schemas.microsoft.com/office/drawing/2014/main" id="{9BFDCF20-88FB-6C4F-AD7A-8B859EBAB09C}"/>
              </a:ext>
            </a:extLst>
          </p:cNvPr>
          <p:cNvSpPr>
            <a:spLocks noGrp="1"/>
          </p:cNvSpPr>
          <p:nvPr>
            <p:ph type="body" sz="half" idx="17" hasCustomPrompt="1"/>
          </p:nvPr>
        </p:nvSpPr>
        <p:spPr>
          <a:xfrm>
            <a:off x="4396873" y="3811323"/>
            <a:ext cx="3657599" cy="2564078"/>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content</a:t>
            </a:r>
          </a:p>
        </p:txBody>
      </p:sp>
    </p:spTree>
    <p:extLst>
      <p:ext uri="{BB962C8B-B14F-4D97-AF65-F5344CB8AC3E}">
        <p14:creationId xmlns:p14="http://schemas.microsoft.com/office/powerpoint/2010/main" val="1172838630"/>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Content + 4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10">
            <a:extLst>
              <a:ext uri="{FF2B5EF4-FFF2-40B4-BE49-F238E27FC236}">
                <a16:creationId xmlns:a16="http://schemas.microsoft.com/office/drawing/2014/main" id="{1031E9E1-2938-814C-965B-19D14975B268}"/>
              </a:ext>
            </a:extLst>
          </p:cNvPr>
          <p:cNvSpPr>
            <a:spLocks noGrp="1"/>
          </p:cNvSpPr>
          <p:nvPr>
            <p:ph type="pic" sz="quarter" idx="12" hasCustomPrompt="1"/>
          </p:nvPr>
        </p:nvSpPr>
        <p:spPr>
          <a:xfrm>
            <a:off x="4305301" y="358775"/>
            <a:ext cx="3785416"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hasCustomPrompt="1"/>
          </p:nvPr>
        </p:nvSpPr>
        <p:spPr>
          <a:xfrm>
            <a:off x="4305300" y="3493742"/>
            <a:ext cx="3785415"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2" name="Picture Placeholder 10">
            <a:extLst>
              <a:ext uri="{FF2B5EF4-FFF2-40B4-BE49-F238E27FC236}">
                <a16:creationId xmlns:a16="http://schemas.microsoft.com/office/drawing/2014/main" id="{86D97FC1-1436-AE4B-A0BC-E2E020B6104B}"/>
              </a:ext>
            </a:extLst>
          </p:cNvPr>
          <p:cNvSpPr>
            <a:spLocks noGrp="1"/>
          </p:cNvSpPr>
          <p:nvPr>
            <p:ph type="pic" sz="quarter" idx="14" hasCustomPrompt="1"/>
          </p:nvPr>
        </p:nvSpPr>
        <p:spPr>
          <a:xfrm>
            <a:off x="8226964" y="358775"/>
            <a:ext cx="3841211"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8" name="Picture Placeholder 10">
            <a:extLst>
              <a:ext uri="{FF2B5EF4-FFF2-40B4-BE49-F238E27FC236}">
                <a16:creationId xmlns:a16="http://schemas.microsoft.com/office/drawing/2014/main" id="{B2831122-E8DB-534C-BD66-BD9BFD1BC822}"/>
              </a:ext>
            </a:extLst>
          </p:cNvPr>
          <p:cNvSpPr>
            <a:spLocks noGrp="1"/>
          </p:cNvSpPr>
          <p:nvPr>
            <p:ph type="pic" sz="quarter" idx="15" hasCustomPrompt="1"/>
          </p:nvPr>
        </p:nvSpPr>
        <p:spPr>
          <a:xfrm>
            <a:off x="8226964" y="3493742"/>
            <a:ext cx="3841211"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3" name="Content Placeholder 2"/>
          <p:cNvSpPr>
            <a:spLocks noGrp="1"/>
          </p:cNvSpPr>
          <p:nvPr>
            <p:ph sz="half" idx="1"/>
          </p:nvPr>
        </p:nvSpPr>
        <p:spPr>
          <a:xfrm>
            <a:off x="485776" y="1609725"/>
            <a:ext cx="3578224" cy="4508499"/>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13" name="Title 1">
            <a:extLst>
              <a:ext uri="{FF2B5EF4-FFF2-40B4-BE49-F238E27FC236}">
                <a16:creationId xmlns:a16="http://schemas.microsoft.com/office/drawing/2014/main" id="{B329BC4F-7509-4849-AAA2-704C43361D2E}"/>
              </a:ext>
            </a:extLst>
          </p:cNvPr>
          <p:cNvSpPr>
            <a:spLocks noGrp="1"/>
          </p:cNvSpPr>
          <p:nvPr>
            <p:ph type="title" hasCustomPrompt="1"/>
          </p:nvPr>
        </p:nvSpPr>
        <p:spPr>
          <a:xfrm>
            <a:off x="457201" y="355601"/>
            <a:ext cx="3606800" cy="752474"/>
          </a:xfrm>
        </p:spPr>
        <p:txBody>
          <a:bodyPr vert="horz"/>
          <a:lstStyle/>
          <a:p>
            <a:r>
              <a:rPr lang="en-US" dirty="0"/>
              <a:t>Click to add title</a:t>
            </a:r>
          </a:p>
        </p:txBody>
      </p:sp>
    </p:spTree>
    <p:extLst>
      <p:ext uri="{BB962C8B-B14F-4D97-AF65-F5344CB8AC3E}">
        <p14:creationId xmlns:p14="http://schemas.microsoft.com/office/powerpoint/2010/main" val="2292354780"/>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p:cSld name="COV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BA7BA343-6086-A542-94F9-DEB6382B60AA}"/>
              </a:ext>
            </a:extLst>
          </p:cNvPr>
          <p:cNvSpPr txBox="1"/>
          <p:nvPr/>
        </p:nvSpPr>
        <p:spPr>
          <a:xfrm>
            <a:off x="374977" y="2505671"/>
            <a:ext cx="5217775" cy="184665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Covers</a:t>
            </a:r>
          </a:p>
        </p:txBody>
      </p:sp>
    </p:spTree>
    <p:extLst>
      <p:ext uri="{BB962C8B-B14F-4D97-AF65-F5344CB8AC3E}">
        <p14:creationId xmlns:p14="http://schemas.microsoft.com/office/powerpoint/2010/main" val="873615721"/>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Title slide A: image box">
    <p:bg>
      <p:bgPr>
        <a:solidFill>
          <a:schemeClr val="tx2"/>
        </a:solidFill>
        <a:effectLst/>
      </p:bgPr>
    </p:bg>
    <p:spTree>
      <p:nvGrpSpPr>
        <p:cNvPr id="1" name=""/>
        <p:cNvGrpSpPr/>
        <p:nvPr/>
      </p:nvGrpSpPr>
      <p:grpSpPr>
        <a:xfrm>
          <a:off x="0" y="0"/>
          <a:ext cx="0" cy="0"/>
          <a:chOff x="0" y="0"/>
          <a:chExt cx="0" cy="0"/>
        </a:xfrm>
      </p:grpSpPr>
      <p:sp>
        <p:nvSpPr>
          <p:cNvPr id="69" name="Rectangle 68"/>
          <p:cNvSpPr/>
          <p:nvPr userDrawn="1"/>
        </p:nvSpPr>
        <p:spPr>
          <a:xfrm>
            <a:off x="355599" y="6121400"/>
            <a:ext cx="2032001" cy="4953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2" name="Picture Placeholder 71">
            <a:extLst>
              <a:ext uri="{FF2B5EF4-FFF2-40B4-BE49-F238E27FC236}">
                <a16:creationId xmlns:a16="http://schemas.microsoft.com/office/drawing/2014/main" id="{73319BE5-0EF3-DD4B-B826-A8E9F0755285}"/>
              </a:ext>
            </a:extLst>
          </p:cNvPr>
          <p:cNvSpPr>
            <a:spLocks noGrp="1"/>
          </p:cNvSpPr>
          <p:nvPr>
            <p:ph type="pic" sz="quarter" idx="10" hasCustomPrompt="1"/>
          </p:nvPr>
        </p:nvSpPr>
        <p:spPr>
          <a:xfrm>
            <a:off x="-1" y="-1"/>
            <a:ext cx="12191999" cy="6858001"/>
          </a:xfrm>
          <a:custGeom>
            <a:avLst/>
            <a:gdLst>
              <a:gd name="connsiteX0" fmla="*/ 2154182 w 12191999"/>
              <a:gd name="connsiteY0" fmla="*/ 6348735 h 6858001"/>
              <a:gd name="connsiteX1" fmla="*/ 2154182 w 12191999"/>
              <a:gd name="connsiteY1" fmla="*/ 6352726 h 6858001"/>
              <a:gd name="connsiteX2" fmla="*/ 2152428 w 12191999"/>
              <a:gd name="connsiteY2" fmla="*/ 6363609 h 6858001"/>
              <a:gd name="connsiteX3" fmla="*/ 2145233 w 12191999"/>
              <a:gd name="connsiteY3" fmla="*/ 6371136 h 6858001"/>
              <a:gd name="connsiteX4" fmla="*/ 2134048 w 12191999"/>
              <a:gd name="connsiteY4" fmla="*/ 6373887 h 6858001"/>
              <a:gd name="connsiteX5" fmla="*/ 2124404 w 12191999"/>
              <a:gd name="connsiteY5" fmla="*/ 6370985 h 6858001"/>
              <a:gd name="connsiteX6" fmla="*/ 2121109 w 12191999"/>
              <a:gd name="connsiteY6" fmla="*/ 6363730 h 6858001"/>
              <a:gd name="connsiteX7" fmla="*/ 2122621 w 12191999"/>
              <a:gd name="connsiteY7" fmla="*/ 6358560 h 6858001"/>
              <a:gd name="connsiteX8" fmla="*/ 2126913 w 12191999"/>
              <a:gd name="connsiteY8" fmla="*/ 6355023 h 6858001"/>
              <a:gd name="connsiteX9" fmla="*/ 2136406 w 12191999"/>
              <a:gd name="connsiteY9" fmla="*/ 6352847 h 6858001"/>
              <a:gd name="connsiteX10" fmla="*/ 2154182 w 12191999"/>
              <a:gd name="connsiteY10" fmla="*/ 6348735 h 6858001"/>
              <a:gd name="connsiteX11" fmla="*/ 1430281 w 12191999"/>
              <a:gd name="connsiteY11" fmla="*/ 6348735 h 6858001"/>
              <a:gd name="connsiteX12" fmla="*/ 1430281 w 12191999"/>
              <a:gd name="connsiteY12" fmla="*/ 6352726 h 6858001"/>
              <a:gd name="connsiteX13" fmla="*/ 1428528 w 12191999"/>
              <a:gd name="connsiteY13" fmla="*/ 6363609 h 6858001"/>
              <a:gd name="connsiteX14" fmla="*/ 1421333 w 12191999"/>
              <a:gd name="connsiteY14" fmla="*/ 6371136 h 6858001"/>
              <a:gd name="connsiteX15" fmla="*/ 1410148 w 12191999"/>
              <a:gd name="connsiteY15" fmla="*/ 6373887 h 6858001"/>
              <a:gd name="connsiteX16" fmla="*/ 1400504 w 12191999"/>
              <a:gd name="connsiteY16" fmla="*/ 6370985 h 6858001"/>
              <a:gd name="connsiteX17" fmla="*/ 1397209 w 12191999"/>
              <a:gd name="connsiteY17" fmla="*/ 6363730 h 6858001"/>
              <a:gd name="connsiteX18" fmla="*/ 1398721 w 12191999"/>
              <a:gd name="connsiteY18" fmla="*/ 6358560 h 6858001"/>
              <a:gd name="connsiteX19" fmla="*/ 1403013 w 12191999"/>
              <a:gd name="connsiteY19" fmla="*/ 6355023 h 6858001"/>
              <a:gd name="connsiteX20" fmla="*/ 1412506 w 12191999"/>
              <a:gd name="connsiteY20" fmla="*/ 6352847 h 6858001"/>
              <a:gd name="connsiteX21" fmla="*/ 1430281 w 12191999"/>
              <a:gd name="connsiteY21" fmla="*/ 6348735 h 6858001"/>
              <a:gd name="connsiteX22" fmla="*/ 1167698 w 12191999"/>
              <a:gd name="connsiteY22" fmla="*/ 6324309 h 6858001"/>
              <a:gd name="connsiteX23" fmla="*/ 1181150 w 12191999"/>
              <a:gd name="connsiteY23" fmla="*/ 6330446 h 6858001"/>
              <a:gd name="connsiteX24" fmla="*/ 1186561 w 12191999"/>
              <a:gd name="connsiteY24" fmla="*/ 6348493 h 6858001"/>
              <a:gd name="connsiteX25" fmla="*/ 1181180 w 12191999"/>
              <a:gd name="connsiteY25" fmla="*/ 6367297 h 6858001"/>
              <a:gd name="connsiteX26" fmla="*/ 1167698 w 12191999"/>
              <a:gd name="connsiteY26" fmla="*/ 6373464 h 6858001"/>
              <a:gd name="connsiteX27" fmla="*/ 1154154 w 12191999"/>
              <a:gd name="connsiteY27" fmla="*/ 6367327 h 6858001"/>
              <a:gd name="connsiteX28" fmla="*/ 1148773 w 12191999"/>
              <a:gd name="connsiteY28" fmla="*/ 6348856 h 6858001"/>
              <a:gd name="connsiteX29" fmla="*/ 1154154 w 12191999"/>
              <a:gd name="connsiteY29" fmla="*/ 6330415 h 6858001"/>
              <a:gd name="connsiteX30" fmla="*/ 1167698 w 12191999"/>
              <a:gd name="connsiteY30" fmla="*/ 6324309 h 6858001"/>
              <a:gd name="connsiteX31" fmla="*/ 1939646 w 12191999"/>
              <a:gd name="connsiteY31" fmla="*/ 6324248 h 6858001"/>
              <a:gd name="connsiteX32" fmla="*/ 1953129 w 12191999"/>
              <a:gd name="connsiteY32" fmla="*/ 6330536 h 6858001"/>
              <a:gd name="connsiteX33" fmla="*/ 1957240 w 12191999"/>
              <a:gd name="connsiteY33" fmla="*/ 6342689 h 6858001"/>
              <a:gd name="connsiteX34" fmla="*/ 1921387 w 12191999"/>
              <a:gd name="connsiteY34" fmla="*/ 6342689 h 6858001"/>
              <a:gd name="connsiteX35" fmla="*/ 1927040 w 12191999"/>
              <a:gd name="connsiteY35" fmla="*/ 6329267 h 6858001"/>
              <a:gd name="connsiteX36" fmla="*/ 1939646 w 12191999"/>
              <a:gd name="connsiteY36" fmla="*/ 6324248 h 6858001"/>
              <a:gd name="connsiteX37" fmla="*/ 929996 w 12191999"/>
              <a:gd name="connsiteY37" fmla="*/ 6324248 h 6858001"/>
              <a:gd name="connsiteX38" fmla="*/ 943479 w 12191999"/>
              <a:gd name="connsiteY38" fmla="*/ 6330536 h 6858001"/>
              <a:gd name="connsiteX39" fmla="*/ 947590 w 12191999"/>
              <a:gd name="connsiteY39" fmla="*/ 6342689 h 6858001"/>
              <a:gd name="connsiteX40" fmla="*/ 911736 w 12191999"/>
              <a:gd name="connsiteY40" fmla="*/ 6342689 h 6858001"/>
              <a:gd name="connsiteX41" fmla="*/ 917389 w 12191999"/>
              <a:gd name="connsiteY41" fmla="*/ 6329267 h 6858001"/>
              <a:gd name="connsiteX42" fmla="*/ 929996 w 12191999"/>
              <a:gd name="connsiteY42" fmla="*/ 6324248 h 6858001"/>
              <a:gd name="connsiteX43" fmla="*/ 635688 w 12191999"/>
              <a:gd name="connsiteY43" fmla="*/ 6324248 h 6858001"/>
              <a:gd name="connsiteX44" fmla="*/ 647750 w 12191999"/>
              <a:gd name="connsiteY44" fmla="*/ 6330234 h 6858001"/>
              <a:gd name="connsiteX45" fmla="*/ 652738 w 12191999"/>
              <a:gd name="connsiteY45" fmla="*/ 6348796 h 6858001"/>
              <a:gd name="connsiteX46" fmla="*/ 647538 w 12191999"/>
              <a:gd name="connsiteY46" fmla="*/ 6367267 h 6858001"/>
              <a:gd name="connsiteX47" fmla="*/ 635204 w 12191999"/>
              <a:gd name="connsiteY47" fmla="*/ 6373464 h 6858001"/>
              <a:gd name="connsiteX48" fmla="*/ 621298 w 12191999"/>
              <a:gd name="connsiteY48" fmla="*/ 6365060 h 6858001"/>
              <a:gd name="connsiteX49" fmla="*/ 618154 w 12191999"/>
              <a:gd name="connsiteY49" fmla="*/ 6348373 h 6858001"/>
              <a:gd name="connsiteX50" fmla="*/ 623354 w 12191999"/>
              <a:gd name="connsiteY50" fmla="*/ 6330446 h 6858001"/>
              <a:gd name="connsiteX51" fmla="*/ 635688 w 12191999"/>
              <a:gd name="connsiteY51" fmla="*/ 6324248 h 6858001"/>
              <a:gd name="connsiteX52" fmla="*/ 808324 w 12191999"/>
              <a:gd name="connsiteY52" fmla="*/ 6316751 h 6858001"/>
              <a:gd name="connsiteX53" fmla="*/ 808324 w 12191999"/>
              <a:gd name="connsiteY53" fmla="*/ 6380961 h 6858001"/>
              <a:gd name="connsiteX54" fmla="*/ 819207 w 12191999"/>
              <a:gd name="connsiteY54" fmla="*/ 6380961 h 6858001"/>
              <a:gd name="connsiteX55" fmla="*/ 819207 w 12191999"/>
              <a:gd name="connsiteY55" fmla="*/ 6316751 h 6858001"/>
              <a:gd name="connsiteX56" fmla="*/ 674672 w 12191999"/>
              <a:gd name="connsiteY56" fmla="*/ 6316751 h 6858001"/>
              <a:gd name="connsiteX57" fmla="*/ 674672 w 12191999"/>
              <a:gd name="connsiteY57" fmla="*/ 6356535 h 6858001"/>
              <a:gd name="connsiteX58" fmla="*/ 675337 w 12191999"/>
              <a:gd name="connsiteY58" fmla="*/ 6366692 h 6858001"/>
              <a:gd name="connsiteX59" fmla="*/ 678692 w 12191999"/>
              <a:gd name="connsiteY59" fmla="*/ 6374764 h 6858001"/>
              <a:gd name="connsiteX60" fmla="*/ 686008 w 12191999"/>
              <a:gd name="connsiteY60" fmla="*/ 6380236 h 6858001"/>
              <a:gd name="connsiteX61" fmla="*/ 696619 w 12191999"/>
              <a:gd name="connsiteY61" fmla="*/ 6382412 h 6858001"/>
              <a:gd name="connsiteX62" fmla="*/ 716995 w 12191999"/>
              <a:gd name="connsiteY62" fmla="*/ 6371529 h 6858001"/>
              <a:gd name="connsiteX63" fmla="*/ 716995 w 12191999"/>
              <a:gd name="connsiteY63" fmla="*/ 6380961 h 6858001"/>
              <a:gd name="connsiteX64" fmla="*/ 726729 w 12191999"/>
              <a:gd name="connsiteY64" fmla="*/ 6380961 h 6858001"/>
              <a:gd name="connsiteX65" fmla="*/ 726729 w 12191999"/>
              <a:gd name="connsiteY65" fmla="*/ 6316751 h 6858001"/>
              <a:gd name="connsiteX66" fmla="*/ 715846 w 12191999"/>
              <a:gd name="connsiteY66" fmla="*/ 6316751 h 6858001"/>
              <a:gd name="connsiteX67" fmla="*/ 715846 w 12191999"/>
              <a:gd name="connsiteY67" fmla="*/ 6351154 h 6858001"/>
              <a:gd name="connsiteX68" fmla="*/ 714062 w 12191999"/>
              <a:gd name="connsiteY68" fmla="*/ 6363700 h 6858001"/>
              <a:gd name="connsiteX69" fmla="*/ 707986 w 12191999"/>
              <a:gd name="connsiteY69" fmla="*/ 6370532 h 6858001"/>
              <a:gd name="connsiteX70" fmla="*/ 698796 w 12191999"/>
              <a:gd name="connsiteY70" fmla="*/ 6373041 h 6858001"/>
              <a:gd name="connsiteX71" fmla="*/ 690573 w 12191999"/>
              <a:gd name="connsiteY71" fmla="*/ 6370592 h 6858001"/>
              <a:gd name="connsiteX72" fmla="*/ 686220 w 12191999"/>
              <a:gd name="connsiteY72" fmla="*/ 6363851 h 6858001"/>
              <a:gd name="connsiteX73" fmla="*/ 685555 w 12191999"/>
              <a:gd name="connsiteY73" fmla="*/ 6352363 h 6858001"/>
              <a:gd name="connsiteX74" fmla="*/ 685555 w 12191999"/>
              <a:gd name="connsiteY74" fmla="*/ 6316751 h 6858001"/>
              <a:gd name="connsiteX75" fmla="*/ 2210094 w 12191999"/>
              <a:gd name="connsiteY75" fmla="*/ 6315300 h 6858001"/>
              <a:gd name="connsiteX76" fmla="*/ 2189659 w 12191999"/>
              <a:gd name="connsiteY76" fmla="*/ 6325881 h 6858001"/>
              <a:gd name="connsiteX77" fmla="*/ 2189659 w 12191999"/>
              <a:gd name="connsiteY77" fmla="*/ 6316751 h 6858001"/>
              <a:gd name="connsiteX78" fmla="*/ 2179864 w 12191999"/>
              <a:gd name="connsiteY78" fmla="*/ 6316751 h 6858001"/>
              <a:gd name="connsiteX79" fmla="*/ 2179864 w 12191999"/>
              <a:gd name="connsiteY79" fmla="*/ 6380961 h 6858001"/>
              <a:gd name="connsiteX80" fmla="*/ 2190747 w 12191999"/>
              <a:gd name="connsiteY80" fmla="*/ 6380961 h 6858001"/>
              <a:gd name="connsiteX81" fmla="*/ 2190747 w 12191999"/>
              <a:gd name="connsiteY81" fmla="*/ 6345894 h 6858001"/>
              <a:gd name="connsiteX82" fmla="*/ 2195795 w 12191999"/>
              <a:gd name="connsiteY82" fmla="*/ 6329146 h 6858001"/>
              <a:gd name="connsiteX83" fmla="*/ 2207797 w 12191999"/>
              <a:gd name="connsiteY83" fmla="*/ 6324732 h 6858001"/>
              <a:gd name="connsiteX84" fmla="*/ 2215385 w 12191999"/>
              <a:gd name="connsiteY84" fmla="*/ 6326697 h 6858001"/>
              <a:gd name="connsiteX85" fmla="*/ 2219889 w 12191999"/>
              <a:gd name="connsiteY85" fmla="*/ 6331957 h 6858001"/>
              <a:gd name="connsiteX86" fmla="*/ 2221159 w 12191999"/>
              <a:gd name="connsiteY86" fmla="*/ 6341903 h 6858001"/>
              <a:gd name="connsiteX87" fmla="*/ 2221159 w 12191999"/>
              <a:gd name="connsiteY87" fmla="*/ 6380961 h 6858001"/>
              <a:gd name="connsiteX88" fmla="*/ 2232042 w 12191999"/>
              <a:gd name="connsiteY88" fmla="*/ 6380961 h 6858001"/>
              <a:gd name="connsiteX89" fmla="*/ 2232042 w 12191999"/>
              <a:gd name="connsiteY89" fmla="*/ 6341480 h 6858001"/>
              <a:gd name="connsiteX90" fmla="*/ 2231437 w 12191999"/>
              <a:gd name="connsiteY90" fmla="*/ 6330899 h 6858001"/>
              <a:gd name="connsiteX91" fmla="*/ 2228052 w 12191999"/>
              <a:gd name="connsiteY91" fmla="*/ 6322858 h 6858001"/>
              <a:gd name="connsiteX92" fmla="*/ 2220766 w 12191999"/>
              <a:gd name="connsiteY92" fmla="*/ 6317386 h 6858001"/>
              <a:gd name="connsiteX93" fmla="*/ 2210094 w 12191999"/>
              <a:gd name="connsiteY93" fmla="*/ 6315300 h 6858001"/>
              <a:gd name="connsiteX94" fmla="*/ 2140336 w 12191999"/>
              <a:gd name="connsiteY94" fmla="*/ 6315300 h 6858001"/>
              <a:gd name="connsiteX95" fmla="*/ 2125765 w 12191999"/>
              <a:gd name="connsiteY95" fmla="*/ 6317567 h 6858001"/>
              <a:gd name="connsiteX96" fmla="*/ 2116151 w 12191999"/>
              <a:gd name="connsiteY96" fmla="*/ 6324037 h 6858001"/>
              <a:gd name="connsiteX97" fmla="*/ 2111375 w 12191999"/>
              <a:gd name="connsiteY97" fmla="*/ 6335071 h 6858001"/>
              <a:gd name="connsiteX98" fmla="*/ 2122016 w 12191999"/>
              <a:gd name="connsiteY98" fmla="*/ 6336522 h 6858001"/>
              <a:gd name="connsiteX99" fmla="*/ 2127427 w 12191999"/>
              <a:gd name="connsiteY99" fmla="*/ 6326999 h 6858001"/>
              <a:gd name="connsiteX100" fmla="*/ 2138764 w 12191999"/>
              <a:gd name="connsiteY100" fmla="*/ 6324309 h 6858001"/>
              <a:gd name="connsiteX101" fmla="*/ 2151159 w 12191999"/>
              <a:gd name="connsiteY101" fmla="*/ 6327997 h 6858001"/>
              <a:gd name="connsiteX102" fmla="*/ 2154242 w 12191999"/>
              <a:gd name="connsiteY102" fmla="*/ 6337369 h 6858001"/>
              <a:gd name="connsiteX103" fmla="*/ 2154182 w 12191999"/>
              <a:gd name="connsiteY103" fmla="*/ 6340210 h 6858001"/>
              <a:gd name="connsiteX104" fmla="*/ 2134773 w 12191999"/>
              <a:gd name="connsiteY104" fmla="*/ 6343959 h 6858001"/>
              <a:gd name="connsiteX105" fmla="*/ 2125100 w 12191999"/>
              <a:gd name="connsiteY105" fmla="*/ 6345591 h 6858001"/>
              <a:gd name="connsiteX106" fmla="*/ 2117270 w 12191999"/>
              <a:gd name="connsiteY106" fmla="*/ 6349159 h 6858001"/>
              <a:gd name="connsiteX107" fmla="*/ 2111647 w 12191999"/>
              <a:gd name="connsiteY107" fmla="*/ 6355416 h 6858001"/>
              <a:gd name="connsiteX108" fmla="*/ 2109500 w 12191999"/>
              <a:gd name="connsiteY108" fmla="*/ 6364032 h 6858001"/>
              <a:gd name="connsiteX109" fmla="*/ 2115184 w 12191999"/>
              <a:gd name="connsiteY109" fmla="*/ 6377243 h 6858001"/>
              <a:gd name="connsiteX110" fmla="*/ 2131448 w 12191999"/>
              <a:gd name="connsiteY110" fmla="*/ 6382412 h 6858001"/>
              <a:gd name="connsiteX111" fmla="*/ 2143450 w 12191999"/>
              <a:gd name="connsiteY111" fmla="*/ 6380296 h 6858001"/>
              <a:gd name="connsiteX112" fmla="*/ 2155089 w 12191999"/>
              <a:gd name="connsiteY112" fmla="*/ 6373041 h 6858001"/>
              <a:gd name="connsiteX113" fmla="*/ 2157265 w 12191999"/>
              <a:gd name="connsiteY113" fmla="*/ 6380961 h 6858001"/>
              <a:gd name="connsiteX114" fmla="*/ 2168632 w 12191999"/>
              <a:gd name="connsiteY114" fmla="*/ 6380961 h 6858001"/>
              <a:gd name="connsiteX115" fmla="*/ 2165881 w 12191999"/>
              <a:gd name="connsiteY115" fmla="*/ 6373252 h 6858001"/>
              <a:gd name="connsiteX116" fmla="*/ 2165185 w 12191999"/>
              <a:gd name="connsiteY116" fmla="*/ 6354056 h 6858001"/>
              <a:gd name="connsiteX117" fmla="*/ 2165185 w 12191999"/>
              <a:gd name="connsiteY117" fmla="*/ 6339545 h 6858001"/>
              <a:gd name="connsiteX118" fmla="*/ 2164641 w 12191999"/>
              <a:gd name="connsiteY118" fmla="*/ 6329509 h 6858001"/>
              <a:gd name="connsiteX119" fmla="*/ 2161255 w 12191999"/>
              <a:gd name="connsiteY119" fmla="*/ 6322102 h 6858001"/>
              <a:gd name="connsiteX120" fmla="*/ 2153698 w 12191999"/>
              <a:gd name="connsiteY120" fmla="*/ 6317235 h 6858001"/>
              <a:gd name="connsiteX121" fmla="*/ 2140336 w 12191999"/>
              <a:gd name="connsiteY121" fmla="*/ 6315300 h 6858001"/>
              <a:gd name="connsiteX122" fmla="*/ 2076744 w 12191999"/>
              <a:gd name="connsiteY122" fmla="*/ 6315300 h 6858001"/>
              <a:gd name="connsiteX123" fmla="*/ 2056309 w 12191999"/>
              <a:gd name="connsiteY123" fmla="*/ 6325881 h 6858001"/>
              <a:gd name="connsiteX124" fmla="*/ 2056309 w 12191999"/>
              <a:gd name="connsiteY124" fmla="*/ 6316751 h 6858001"/>
              <a:gd name="connsiteX125" fmla="*/ 2046514 w 12191999"/>
              <a:gd name="connsiteY125" fmla="*/ 6316751 h 6858001"/>
              <a:gd name="connsiteX126" fmla="*/ 2046514 w 12191999"/>
              <a:gd name="connsiteY126" fmla="*/ 6380961 h 6858001"/>
              <a:gd name="connsiteX127" fmla="*/ 2057397 w 12191999"/>
              <a:gd name="connsiteY127" fmla="*/ 6380961 h 6858001"/>
              <a:gd name="connsiteX128" fmla="*/ 2057397 w 12191999"/>
              <a:gd name="connsiteY128" fmla="*/ 6345894 h 6858001"/>
              <a:gd name="connsiteX129" fmla="*/ 2062445 w 12191999"/>
              <a:gd name="connsiteY129" fmla="*/ 6329146 h 6858001"/>
              <a:gd name="connsiteX130" fmla="*/ 2074447 w 12191999"/>
              <a:gd name="connsiteY130" fmla="*/ 6324732 h 6858001"/>
              <a:gd name="connsiteX131" fmla="*/ 2082035 w 12191999"/>
              <a:gd name="connsiteY131" fmla="*/ 6326697 h 6858001"/>
              <a:gd name="connsiteX132" fmla="*/ 2086539 w 12191999"/>
              <a:gd name="connsiteY132" fmla="*/ 6331957 h 6858001"/>
              <a:gd name="connsiteX133" fmla="*/ 2087809 w 12191999"/>
              <a:gd name="connsiteY133" fmla="*/ 6341903 h 6858001"/>
              <a:gd name="connsiteX134" fmla="*/ 2087809 w 12191999"/>
              <a:gd name="connsiteY134" fmla="*/ 6380961 h 6858001"/>
              <a:gd name="connsiteX135" fmla="*/ 2098692 w 12191999"/>
              <a:gd name="connsiteY135" fmla="*/ 6380961 h 6858001"/>
              <a:gd name="connsiteX136" fmla="*/ 2098692 w 12191999"/>
              <a:gd name="connsiteY136" fmla="*/ 6341480 h 6858001"/>
              <a:gd name="connsiteX137" fmla="*/ 2098087 w 12191999"/>
              <a:gd name="connsiteY137" fmla="*/ 6330899 h 6858001"/>
              <a:gd name="connsiteX138" fmla="*/ 2094702 w 12191999"/>
              <a:gd name="connsiteY138" fmla="*/ 6322858 h 6858001"/>
              <a:gd name="connsiteX139" fmla="*/ 2087416 w 12191999"/>
              <a:gd name="connsiteY139" fmla="*/ 6317386 h 6858001"/>
              <a:gd name="connsiteX140" fmla="*/ 2076744 w 12191999"/>
              <a:gd name="connsiteY140" fmla="*/ 6315300 h 6858001"/>
              <a:gd name="connsiteX141" fmla="*/ 2010069 w 12191999"/>
              <a:gd name="connsiteY141" fmla="*/ 6315300 h 6858001"/>
              <a:gd name="connsiteX142" fmla="*/ 1989633 w 12191999"/>
              <a:gd name="connsiteY142" fmla="*/ 6325881 h 6858001"/>
              <a:gd name="connsiteX143" fmla="*/ 1989633 w 12191999"/>
              <a:gd name="connsiteY143" fmla="*/ 6316751 h 6858001"/>
              <a:gd name="connsiteX144" fmla="*/ 1979839 w 12191999"/>
              <a:gd name="connsiteY144" fmla="*/ 6316751 h 6858001"/>
              <a:gd name="connsiteX145" fmla="*/ 1979839 w 12191999"/>
              <a:gd name="connsiteY145" fmla="*/ 6380961 h 6858001"/>
              <a:gd name="connsiteX146" fmla="*/ 1990722 w 12191999"/>
              <a:gd name="connsiteY146" fmla="*/ 6380961 h 6858001"/>
              <a:gd name="connsiteX147" fmla="*/ 1990722 w 12191999"/>
              <a:gd name="connsiteY147" fmla="*/ 6345894 h 6858001"/>
              <a:gd name="connsiteX148" fmla="*/ 1995770 w 12191999"/>
              <a:gd name="connsiteY148" fmla="*/ 6329146 h 6858001"/>
              <a:gd name="connsiteX149" fmla="*/ 2007772 w 12191999"/>
              <a:gd name="connsiteY149" fmla="*/ 6324732 h 6858001"/>
              <a:gd name="connsiteX150" fmla="*/ 2015360 w 12191999"/>
              <a:gd name="connsiteY150" fmla="*/ 6326697 h 6858001"/>
              <a:gd name="connsiteX151" fmla="*/ 2019864 w 12191999"/>
              <a:gd name="connsiteY151" fmla="*/ 6331957 h 6858001"/>
              <a:gd name="connsiteX152" fmla="*/ 2021134 w 12191999"/>
              <a:gd name="connsiteY152" fmla="*/ 6341903 h 6858001"/>
              <a:gd name="connsiteX153" fmla="*/ 2021134 w 12191999"/>
              <a:gd name="connsiteY153" fmla="*/ 6380961 h 6858001"/>
              <a:gd name="connsiteX154" fmla="*/ 2032017 w 12191999"/>
              <a:gd name="connsiteY154" fmla="*/ 6380961 h 6858001"/>
              <a:gd name="connsiteX155" fmla="*/ 2032017 w 12191999"/>
              <a:gd name="connsiteY155" fmla="*/ 6341480 h 6858001"/>
              <a:gd name="connsiteX156" fmla="*/ 2031412 w 12191999"/>
              <a:gd name="connsiteY156" fmla="*/ 6330899 h 6858001"/>
              <a:gd name="connsiteX157" fmla="*/ 2028026 w 12191999"/>
              <a:gd name="connsiteY157" fmla="*/ 6322858 h 6858001"/>
              <a:gd name="connsiteX158" fmla="*/ 2020741 w 12191999"/>
              <a:gd name="connsiteY158" fmla="*/ 6317386 h 6858001"/>
              <a:gd name="connsiteX159" fmla="*/ 2010069 w 12191999"/>
              <a:gd name="connsiteY159" fmla="*/ 6315300 h 6858001"/>
              <a:gd name="connsiteX160" fmla="*/ 1939525 w 12191999"/>
              <a:gd name="connsiteY160" fmla="*/ 6315300 h 6858001"/>
              <a:gd name="connsiteX161" fmla="*/ 1917880 w 12191999"/>
              <a:gd name="connsiteY161" fmla="*/ 6324248 h 6858001"/>
              <a:gd name="connsiteX162" fmla="*/ 1909536 w 12191999"/>
              <a:gd name="connsiteY162" fmla="*/ 6349400 h 6858001"/>
              <a:gd name="connsiteX163" fmla="*/ 1917789 w 12191999"/>
              <a:gd name="connsiteY163" fmla="*/ 6373736 h 6858001"/>
              <a:gd name="connsiteX164" fmla="*/ 1940129 w 12191999"/>
              <a:gd name="connsiteY164" fmla="*/ 6382412 h 6858001"/>
              <a:gd name="connsiteX165" fmla="*/ 1958510 w 12191999"/>
              <a:gd name="connsiteY165" fmla="*/ 6376971 h 6858001"/>
              <a:gd name="connsiteX166" fmla="*/ 1968365 w 12191999"/>
              <a:gd name="connsiteY166" fmla="*/ 6361674 h 6858001"/>
              <a:gd name="connsiteX167" fmla="*/ 1957119 w 12191999"/>
              <a:gd name="connsiteY167" fmla="*/ 6360283 h 6858001"/>
              <a:gd name="connsiteX168" fmla="*/ 1950408 w 12191999"/>
              <a:gd name="connsiteY168" fmla="*/ 6370320 h 6858001"/>
              <a:gd name="connsiteX169" fmla="*/ 1940190 w 12191999"/>
              <a:gd name="connsiteY169" fmla="*/ 6373464 h 6858001"/>
              <a:gd name="connsiteX170" fmla="*/ 1926767 w 12191999"/>
              <a:gd name="connsiteY170" fmla="*/ 6367841 h 6858001"/>
              <a:gd name="connsiteX171" fmla="*/ 1920782 w 12191999"/>
              <a:gd name="connsiteY171" fmla="*/ 6351637 h 6858001"/>
              <a:gd name="connsiteX172" fmla="*/ 1968667 w 12191999"/>
              <a:gd name="connsiteY172" fmla="*/ 6351637 h 6858001"/>
              <a:gd name="connsiteX173" fmla="*/ 1968728 w 12191999"/>
              <a:gd name="connsiteY173" fmla="*/ 6348735 h 6858001"/>
              <a:gd name="connsiteX174" fmla="*/ 1960565 w 12191999"/>
              <a:gd name="connsiteY174" fmla="*/ 6324067 h 6858001"/>
              <a:gd name="connsiteX175" fmla="*/ 1939525 w 12191999"/>
              <a:gd name="connsiteY175" fmla="*/ 6315300 h 6858001"/>
              <a:gd name="connsiteX176" fmla="*/ 1805752 w 12191999"/>
              <a:gd name="connsiteY176" fmla="*/ 6315300 h 6858001"/>
              <a:gd name="connsiteX177" fmla="*/ 1790425 w 12191999"/>
              <a:gd name="connsiteY177" fmla="*/ 6319200 h 6858001"/>
              <a:gd name="connsiteX178" fmla="*/ 1779935 w 12191999"/>
              <a:gd name="connsiteY178" fmla="*/ 6330899 h 6858001"/>
              <a:gd name="connsiteX179" fmla="*/ 1776488 w 12191999"/>
              <a:gd name="connsiteY179" fmla="*/ 6349098 h 6858001"/>
              <a:gd name="connsiteX180" fmla="*/ 1784499 w 12191999"/>
              <a:gd name="connsiteY180" fmla="*/ 6373797 h 6858001"/>
              <a:gd name="connsiteX181" fmla="*/ 1805691 w 12191999"/>
              <a:gd name="connsiteY181" fmla="*/ 6382412 h 6858001"/>
              <a:gd name="connsiteX182" fmla="*/ 1823437 w 12191999"/>
              <a:gd name="connsiteY182" fmla="*/ 6376155 h 6858001"/>
              <a:gd name="connsiteX183" fmla="*/ 1832415 w 12191999"/>
              <a:gd name="connsiteY183" fmla="*/ 6358832 h 6858001"/>
              <a:gd name="connsiteX184" fmla="*/ 1821714 w 12191999"/>
              <a:gd name="connsiteY184" fmla="*/ 6357442 h 6858001"/>
              <a:gd name="connsiteX185" fmla="*/ 1816272 w 12191999"/>
              <a:gd name="connsiteY185" fmla="*/ 6369534 h 6858001"/>
              <a:gd name="connsiteX186" fmla="*/ 1805570 w 12191999"/>
              <a:gd name="connsiteY186" fmla="*/ 6373464 h 6858001"/>
              <a:gd name="connsiteX187" fmla="*/ 1792632 w 12191999"/>
              <a:gd name="connsiteY187" fmla="*/ 6367599 h 6858001"/>
              <a:gd name="connsiteX188" fmla="*/ 1787674 w 12191999"/>
              <a:gd name="connsiteY188" fmla="*/ 6348796 h 6858001"/>
              <a:gd name="connsiteX189" fmla="*/ 1792813 w 12191999"/>
              <a:gd name="connsiteY189" fmla="*/ 6330143 h 6858001"/>
              <a:gd name="connsiteX190" fmla="*/ 1806175 w 12191999"/>
              <a:gd name="connsiteY190" fmla="*/ 6324248 h 6858001"/>
              <a:gd name="connsiteX191" fmla="*/ 1815456 w 12191999"/>
              <a:gd name="connsiteY191" fmla="*/ 6327513 h 6858001"/>
              <a:gd name="connsiteX192" fmla="*/ 1820806 w 12191999"/>
              <a:gd name="connsiteY192" fmla="*/ 6337248 h 6858001"/>
              <a:gd name="connsiteX193" fmla="*/ 1831387 w 12191999"/>
              <a:gd name="connsiteY193" fmla="*/ 6335615 h 6858001"/>
              <a:gd name="connsiteX194" fmla="*/ 1822862 w 12191999"/>
              <a:gd name="connsiteY194" fmla="*/ 6320591 h 6858001"/>
              <a:gd name="connsiteX195" fmla="*/ 1805752 w 12191999"/>
              <a:gd name="connsiteY195" fmla="*/ 6315300 h 6858001"/>
              <a:gd name="connsiteX196" fmla="*/ 1515165 w 12191999"/>
              <a:gd name="connsiteY196" fmla="*/ 6315300 h 6858001"/>
              <a:gd name="connsiteX197" fmla="*/ 1505763 w 12191999"/>
              <a:gd name="connsiteY197" fmla="*/ 6316600 h 6858001"/>
              <a:gd name="connsiteX198" fmla="*/ 1498840 w 12191999"/>
              <a:gd name="connsiteY198" fmla="*/ 6319774 h 6858001"/>
              <a:gd name="connsiteX199" fmla="*/ 1493489 w 12191999"/>
              <a:gd name="connsiteY199" fmla="*/ 6325851 h 6858001"/>
              <a:gd name="connsiteX200" fmla="*/ 1491524 w 12191999"/>
              <a:gd name="connsiteY200" fmla="*/ 6333801 h 6858001"/>
              <a:gd name="connsiteX201" fmla="*/ 1493913 w 12191999"/>
              <a:gd name="connsiteY201" fmla="*/ 6342417 h 6858001"/>
              <a:gd name="connsiteX202" fmla="*/ 1500926 w 12191999"/>
              <a:gd name="connsiteY202" fmla="*/ 6348524 h 6858001"/>
              <a:gd name="connsiteX203" fmla="*/ 1517523 w 12191999"/>
              <a:gd name="connsiteY203" fmla="*/ 6353754 h 6858001"/>
              <a:gd name="connsiteX204" fmla="*/ 1528648 w 12191999"/>
              <a:gd name="connsiteY204" fmla="*/ 6357442 h 6858001"/>
              <a:gd name="connsiteX205" fmla="*/ 1531852 w 12191999"/>
              <a:gd name="connsiteY205" fmla="*/ 6363246 h 6858001"/>
              <a:gd name="connsiteX206" fmla="*/ 1528224 w 12191999"/>
              <a:gd name="connsiteY206" fmla="*/ 6370411 h 6858001"/>
              <a:gd name="connsiteX207" fmla="*/ 1517100 w 12191999"/>
              <a:gd name="connsiteY207" fmla="*/ 6373464 h 6858001"/>
              <a:gd name="connsiteX208" fmla="*/ 1505521 w 12191999"/>
              <a:gd name="connsiteY208" fmla="*/ 6370018 h 6858001"/>
              <a:gd name="connsiteX209" fmla="*/ 1500472 w 12191999"/>
              <a:gd name="connsiteY209" fmla="*/ 6360102 h 6858001"/>
              <a:gd name="connsiteX210" fmla="*/ 1489710 w 12191999"/>
              <a:gd name="connsiteY210" fmla="*/ 6361795 h 6858001"/>
              <a:gd name="connsiteX211" fmla="*/ 1498084 w 12191999"/>
              <a:gd name="connsiteY211" fmla="*/ 6377213 h 6858001"/>
              <a:gd name="connsiteX212" fmla="*/ 1517160 w 12191999"/>
              <a:gd name="connsiteY212" fmla="*/ 6382412 h 6858001"/>
              <a:gd name="connsiteX213" fmla="*/ 1530703 w 12191999"/>
              <a:gd name="connsiteY213" fmla="*/ 6379782 h 6858001"/>
              <a:gd name="connsiteX214" fmla="*/ 1539863 w 12191999"/>
              <a:gd name="connsiteY214" fmla="*/ 6372345 h 6858001"/>
              <a:gd name="connsiteX215" fmla="*/ 1543037 w 12191999"/>
              <a:gd name="connsiteY215" fmla="*/ 6362097 h 6858001"/>
              <a:gd name="connsiteX216" fmla="*/ 1540437 w 12191999"/>
              <a:gd name="connsiteY216" fmla="*/ 6352786 h 6858001"/>
              <a:gd name="connsiteX217" fmla="*/ 1533273 w 12191999"/>
              <a:gd name="connsiteY217" fmla="*/ 6347073 h 6858001"/>
              <a:gd name="connsiteX218" fmla="*/ 1517160 w 12191999"/>
              <a:gd name="connsiteY218" fmla="*/ 6342024 h 6858001"/>
              <a:gd name="connsiteX219" fmla="*/ 1507547 w 12191999"/>
              <a:gd name="connsiteY219" fmla="*/ 6339243 h 6858001"/>
              <a:gd name="connsiteX220" fmla="*/ 1503375 w 12191999"/>
              <a:gd name="connsiteY220" fmla="*/ 6336341 h 6858001"/>
              <a:gd name="connsiteX221" fmla="*/ 1502044 w 12191999"/>
              <a:gd name="connsiteY221" fmla="*/ 6332532 h 6858001"/>
              <a:gd name="connsiteX222" fmla="*/ 1505249 w 12191999"/>
              <a:gd name="connsiteY222" fmla="*/ 6326727 h 6858001"/>
              <a:gd name="connsiteX223" fmla="*/ 1515951 w 12191999"/>
              <a:gd name="connsiteY223" fmla="*/ 6324248 h 6858001"/>
              <a:gd name="connsiteX224" fmla="*/ 1525776 w 12191999"/>
              <a:gd name="connsiteY224" fmla="*/ 6327030 h 6858001"/>
              <a:gd name="connsiteX225" fmla="*/ 1529978 w 12191999"/>
              <a:gd name="connsiteY225" fmla="*/ 6334769 h 6858001"/>
              <a:gd name="connsiteX226" fmla="*/ 1540619 w 12191999"/>
              <a:gd name="connsiteY226" fmla="*/ 6333318 h 6858001"/>
              <a:gd name="connsiteX227" fmla="*/ 1536870 w 12191999"/>
              <a:gd name="connsiteY227" fmla="*/ 6323372 h 6858001"/>
              <a:gd name="connsiteX228" fmla="*/ 1528436 w 12191999"/>
              <a:gd name="connsiteY228" fmla="*/ 6317477 h 6858001"/>
              <a:gd name="connsiteX229" fmla="*/ 1515165 w 12191999"/>
              <a:gd name="connsiteY229" fmla="*/ 6315300 h 6858001"/>
              <a:gd name="connsiteX230" fmla="*/ 1479544 w 12191999"/>
              <a:gd name="connsiteY230" fmla="*/ 6315300 h 6858001"/>
              <a:gd name="connsiteX231" fmla="*/ 1472560 w 12191999"/>
              <a:gd name="connsiteY231" fmla="*/ 6317477 h 6858001"/>
              <a:gd name="connsiteX232" fmla="*/ 1465638 w 12191999"/>
              <a:gd name="connsiteY232" fmla="*/ 6326486 h 6858001"/>
              <a:gd name="connsiteX233" fmla="*/ 1465638 w 12191999"/>
              <a:gd name="connsiteY233" fmla="*/ 6316751 h 6858001"/>
              <a:gd name="connsiteX234" fmla="*/ 1455843 w 12191999"/>
              <a:gd name="connsiteY234" fmla="*/ 6316751 h 6858001"/>
              <a:gd name="connsiteX235" fmla="*/ 1455843 w 12191999"/>
              <a:gd name="connsiteY235" fmla="*/ 6380961 h 6858001"/>
              <a:gd name="connsiteX236" fmla="*/ 1466726 w 12191999"/>
              <a:gd name="connsiteY236" fmla="*/ 6380961 h 6858001"/>
              <a:gd name="connsiteX237" fmla="*/ 1466726 w 12191999"/>
              <a:gd name="connsiteY237" fmla="*/ 6347345 h 6858001"/>
              <a:gd name="connsiteX238" fmla="*/ 1468540 w 12191999"/>
              <a:gd name="connsiteY238" fmla="*/ 6334648 h 6858001"/>
              <a:gd name="connsiteX239" fmla="*/ 1472590 w 12191999"/>
              <a:gd name="connsiteY239" fmla="*/ 6328692 h 6858001"/>
              <a:gd name="connsiteX240" fmla="*/ 1479000 w 12191999"/>
              <a:gd name="connsiteY240" fmla="*/ 6326546 h 6858001"/>
              <a:gd name="connsiteX241" fmla="*/ 1486980 w 12191999"/>
              <a:gd name="connsiteY241" fmla="*/ 6328904 h 6858001"/>
              <a:gd name="connsiteX242" fmla="*/ 1490729 w 12191999"/>
              <a:gd name="connsiteY242" fmla="*/ 6318807 h 6858001"/>
              <a:gd name="connsiteX243" fmla="*/ 1479544 w 12191999"/>
              <a:gd name="connsiteY243" fmla="*/ 6315300 h 6858001"/>
              <a:gd name="connsiteX244" fmla="*/ 1416436 w 12191999"/>
              <a:gd name="connsiteY244" fmla="*/ 6315300 h 6858001"/>
              <a:gd name="connsiteX245" fmla="*/ 1401865 w 12191999"/>
              <a:gd name="connsiteY245" fmla="*/ 6317567 h 6858001"/>
              <a:gd name="connsiteX246" fmla="*/ 1392251 w 12191999"/>
              <a:gd name="connsiteY246" fmla="*/ 6324037 h 6858001"/>
              <a:gd name="connsiteX247" fmla="*/ 1387475 w 12191999"/>
              <a:gd name="connsiteY247" fmla="*/ 6335071 h 6858001"/>
              <a:gd name="connsiteX248" fmla="*/ 1398116 w 12191999"/>
              <a:gd name="connsiteY248" fmla="*/ 6336522 h 6858001"/>
              <a:gd name="connsiteX249" fmla="*/ 1403527 w 12191999"/>
              <a:gd name="connsiteY249" fmla="*/ 6326999 h 6858001"/>
              <a:gd name="connsiteX250" fmla="*/ 1414864 w 12191999"/>
              <a:gd name="connsiteY250" fmla="*/ 6324309 h 6858001"/>
              <a:gd name="connsiteX251" fmla="*/ 1427258 w 12191999"/>
              <a:gd name="connsiteY251" fmla="*/ 6327997 h 6858001"/>
              <a:gd name="connsiteX252" fmla="*/ 1430342 w 12191999"/>
              <a:gd name="connsiteY252" fmla="*/ 6337369 h 6858001"/>
              <a:gd name="connsiteX253" fmla="*/ 1430281 w 12191999"/>
              <a:gd name="connsiteY253" fmla="*/ 6340210 h 6858001"/>
              <a:gd name="connsiteX254" fmla="*/ 1410873 w 12191999"/>
              <a:gd name="connsiteY254" fmla="*/ 6343959 h 6858001"/>
              <a:gd name="connsiteX255" fmla="*/ 1401199 w 12191999"/>
              <a:gd name="connsiteY255" fmla="*/ 6345591 h 6858001"/>
              <a:gd name="connsiteX256" fmla="*/ 1393370 w 12191999"/>
              <a:gd name="connsiteY256" fmla="*/ 6349159 h 6858001"/>
              <a:gd name="connsiteX257" fmla="*/ 1387747 w 12191999"/>
              <a:gd name="connsiteY257" fmla="*/ 6355416 h 6858001"/>
              <a:gd name="connsiteX258" fmla="*/ 1385600 w 12191999"/>
              <a:gd name="connsiteY258" fmla="*/ 6364032 h 6858001"/>
              <a:gd name="connsiteX259" fmla="*/ 1391284 w 12191999"/>
              <a:gd name="connsiteY259" fmla="*/ 6377243 h 6858001"/>
              <a:gd name="connsiteX260" fmla="*/ 1407548 w 12191999"/>
              <a:gd name="connsiteY260" fmla="*/ 6382412 h 6858001"/>
              <a:gd name="connsiteX261" fmla="*/ 1419550 w 12191999"/>
              <a:gd name="connsiteY261" fmla="*/ 6380296 h 6858001"/>
              <a:gd name="connsiteX262" fmla="*/ 1431188 w 12191999"/>
              <a:gd name="connsiteY262" fmla="*/ 6373041 h 6858001"/>
              <a:gd name="connsiteX263" fmla="*/ 1433365 w 12191999"/>
              <a:gd name="connsiteY263" fmla="*/ 6380961 h 6858001"/>
              <a:gd name="connsiteX264" fmla="*/ 1444732 w 12191999"/>
              <a:gd name="connsiteY264" fmla="*/ 6380961 h 6858001"/>
              <a:gd name="connsiteX265" fmla="*/ 1441981 w 12191999"/>
              <a:gd name="connsiteY265" fmla="*/ 6373252 h 6858001"/>
              <a:gd name="connsiteX266" fmla="*/ 1441285 w 12191999"/>
              <a:gd name="connsiteY266" fmla="*/ 6354056 h 6858001"/>
              <a:gd name="connsiteX267" fmla="*/ 1441285 w 12191999"/>
              <a:gd name="connsiteY267" fmla="*/ 6339545 h 6858001"/>
              <a:gd name="connsiteX268" fmla="*/ 1440741 w 12191999"/>
              <a:gd name="connsiteY268" fmla="*/ 6329509 h 6858001"/>
              <a:gd name="connsiteX269" fmla="*/ 1437355 w 12191999"/>
              <a:gd name="connsiteY269" fmla="*/ 6322102 h 6858001"/>
              <a:gd name="connsiteX270" fmla="*/ 1429798 w 12191999"/>
              <a:gd name="connsiteY270" fmla="*/ 6317235 h 6858001"/>
              <a:gd name="connsiteX271" fmla="*/ 1416436 w 12191999"/>
              <a:gd name="connsiteY271" fmla="*/ 6315300 h 6858001"/>
              <a:gd name="connsiteX272" fmla="*/ 1167698 w 12191999"/>
              <a:gd name="connsiteY272" fmla="*/ 6315300 h 6858001"/>
              <a:gd name="connsiteX273" fmla="*/ 1147503 w 12191999"/>
              <a:gd name="connsiteY273" fmla="*/ 6322435 h 6858001"/>
              <a:gd name="connsiteX274" fmla="*/ 1137588 w 12191999"/>
              <a:gd name="connsiteY274" fmla="*/ 6348856 h 6858001"/>
              <a:gd name="connsiteX275" fmla="*/ 1145901 w 12191999"/>
              <a:gd name="connsiteY275" fmla="*/ 6373766 h 6858001"/>
              <a:gd name="connsiteX276" fmla="*/ 1167698 w 12191999"/>
              <a:gd name="connsiteY276" fmla="*/ 6382412 h 6858001"/>
              <a:gd name="connsiteX277" fmla="*/ 1183206 w 12191999"/>
              <a:gd name="connsiteY277" fmla="*/ 6378482 h 6858001"/>
              <a:gd name="connsiteX278" fmla="*/ 1194028 w 12191999"/>
              <a:gd name="connsiteY278" fmla="*/ 6367448 h 6858001"/>
              <a:gd name="connsiteX279" fmla="*/ 1197747 w 12191999"/>
              <a:gd name="connsiteY279" fmla="*/ 6347949 h 6858001"/>
              <a:gd name="connsiteX280" fmla="*/ 1189343 w 12191999"/>
              <a:gd name="connsiteY280" fmla="*/ 6323976 h 6858001"/>
              <a:gd name="connsiteX281" fmla="*/ 1167698 w 12191999"/>
              <a:gd name="connsiteY281" fmla="*/ 6315300 h 6858001"/>
              <a:gd name="connsiteX282" fmla="*/ 1057965 w 12191999"/>
              <a:gd name="connsiteY282" fmla="*/ 6315300 h 6858001"/>
              <a:gd name="connsiteX283" fmla="*/ 1048563 w 12191999"/>
              <a:gd name="connsiteY283" fmla="*/ 6316600 h 6858001"/>
              <a:gd name="connsiteX284" fmla="*/ 1041640 w 12191999"/>
              <a:gd name="connsiteY284" fmla="*/ 6319774 h 6858001"/>
              <a:gd name="connsiteX285" fmla="*/ 1036289 w 12191999"/>
              <a:gd name="connsiteY285" fmla="*/ 6325851 h 6858001"/>
              <a:gd name="connsiteX286" fmla="*/ 1034324 w 12191999"/>
              <a:gd name="connsiteY286" fmla="*/ 6333801 h 6858001"/>
              <a:gd name="connsiteX287" fmla="*/ 1036712 w 12191999"/>
              <a:gd name="connsiteY287" fmla="*/ 6342417 h 6858001"/>
              <a:gd name="connsiteX288" fmla="*/ 1043726 w 12191999"/>
              <a:gd name="connsiteY288" fmla="*/ 6348524 h 6858001"/>
              <a:gd name="connsiteX289" fmla="*/ 1060323 w 12191999"/>
              <a:gd name="connsiteY289" fmla="*/ 6353754 h 6858001"/>
              <a:gd name="connsiteX290" fmla="*/ 1071447 w 12191999"/>
              <a:gd name="connsiteY290" fmla="*/ 6357442 h 6858001"/>
              <a:gd name="connsiteX291" fmla="*/ 1074652 w 12191999"/>
              <a:gd name="connsiteY291" fmla="*/ 6363246 h 6858001"/>
              <a:gd name="connsiteX292" fmla="*/ 1071024 w 12191999"/>
              <a:gd name="connsiteY292" fmla="*/ 6370411 h 6858001"/>
              <a:gd name="connsiteX293" fmla="*/ 1059899 w 12191999"/>
              <a:gd name="connsiteY293" fmla="*/ 6373464 h 6858001"/>
              <a:gd name="connsiteX294" fmla="*/ 1048321 w 12191999"/>
              <a:gd name="connsiteY294" fmla="*/ 6370018 h 6858001"/>
              <a:gd name="connsiteX295" fmla="*/ 1043272 w 12191999"/>
              <a:gd name="connsiteY295" fmla="*/ 6360102 h 6858001"/>
              <a:gd name="connsiteX296" fmla="*/ 1032510 w 12191999"/>
              <a:gd name="connsiteY296" fmla="*/ 6361795 h 6858001"/>
              <a:gd name="connsiteX297" fmla="*/ 1040884 w 12191999"/>
              <a:gd name="connsiteY297" fmla="*/ 6377213 h 6858001"/>
              <a:gd name="connsiteX298" fmla="*/ 1059960 w 12191999"/>
              <a:gd name="connsiteY298" fmla="*/ 6382412 h 6858001"/>
              <a:gd name="connsiteX299" fmla="*/ 1073503 w 12191999"/>
              <a:gd name="connsiteY299" fmla="*/ 6379782 h 6858001"/>
              <a:gd name="connsiteX300" fmla="*/ 1082663 w 12191999"/>
              <a:gd name="connsiteY300" fmla="*/ 6372345 h 6858001"/>
              <a:gd name="connsiteX301" fmla="*/ 1085837 w 12191999"/>
              <a:gd name="connsiteY301" fmla="*/ 6362097 h 6858001"/>
              <a:gd name="connsiteX302" fmla="*/ 1083237 w 12191999"/>
              <a:gd name="connsiteY302" fmla="*/ 6352786 h 6858001"/>
              <a:gd name="connsiteX303" fmla="*/ 1076073 w 12191999"/>
              <a:gd name="connsiteY303" fmla="*/ 6347073 h 6858001"/>
              <a:gd name="connsiteX304" fmla="*/ 1059960 w 12191999"/>
              <a:gd name="connsiteY304" fmla="*/ 6342024 h 6858001"/>
              <a:gd name="connsiteX305" fmla="*/ 1050346 w 12191999"/>
              <a:gd name="connsiteY305" fmla="*/ 6339243 h 6858001"/>
              <a:gd name="connsiteX306" fmla="*/ 1046175 w 12191999"/>
              <a:gd name="connsiteY306" fmla="*/ 6336341 h 6858001"/>
              <a:gd name="connsiteX307" fmla="*/ 1044844 w 12191999"/>
              <a:gd name="connsiteY307" fmla="*/ 6332532 h 6858001"/>
              <a:gd name="connsiteX308" fmla="*/ 1048049 w 12191999"/>
              <a:gd name="connsiteY308" fmla="*/ 6326727 h 6858001"/>
              <a:gd name="connsiteX309" fmla="*/ 1058751 w 12191999"/>
              <a:gd name="connsiteY309" fmla="*/ 6324248 h 6858001"/>
              <a:gd name="connsiteX310" fmla="*/ 1068576 w 12191999"/>
              <a:gd name="connsiteY310" fmla="*/ 6327030 h 6858001"/>
              <a:gd name="connsiteX311" fmla="*/ 1072778 w 12191999"/>
              <a:gd name="connsiteY311" fmla="*/ 6334769 h 6858001"/>
              <a:gd name="connsiteX312" fmla="*/ 1083419 w 12191999"/>
              <a:gd name="connsiteY312" fmla="*/ 6333318 h 6858001"/>
              <a:gd name="connsiteX313" fmla="*/ 1079670 w 12191999"/>
              <a:gd name="connsiteY313" fmla="*/ 6323372 h 6858001"/>
              <a:gd name="connsiteX314" fmla="*/ 1071236 w 12191999"/>
              <a:gd name="connsiteY314" fmla="*/ 6317477 h 6858001"/>
              <a:gd name="connsiteX315" fmla="*/ 1057965 w 12191999"/>
              <a:gd name="connsiteY315" fmla="*/ 6315300 h 6858001"/>
              <a:gd name="connsiteX316" fmla="*/ 991290 w 12191999"/>
              <a:gd name="connsiteY316" fmla="*/ 6315300 h 6858001"/>
              <a:gd name="connsiteX317" fmla="*/ 981888 w 12191999"/>
              <a:gd name="connsiteY317" fmla="*/ 6316600 h 6858001"/>
              <a:gd name="connsiteX318" fmla="*/ 974965 w 12191999"/>
              <a:gd name="connsiteY318" fmla="*/ 6319774 h 6858001"/>
              <a:gd name="connsiteX319" fmla="*/ 969614 w 12191999"/>
              <a:gd name="connsiteY319" fmla="*/ 6325851 h 6858001"/>
              <a:gd name="connsiteX320" fmla="*/ 967649 w 12191999"/>
              <a:gd name="connsiteY320" fmla="*/ 6333801 h 6858001"/>
              <a:gd name="connsiteX321" fmla="*/ 970037 w 12191999"/>
              <a:gd name="connsiteY321" fmla="*/ 6342417 h 6858001"/>
              <a:gd name="connsiteX322" fmla="*/ 977051 w 12191999"/>
              <a:gd name="connsiteY322" fmla="*/ 6348524 h 6858001"/>
              <a:gd name="connsiteX323" fmla="*/ 993648 w 12191999"/>
              <a:gd name="connsiteY323" fmla="*/ 6353754 h 6858001"/>
              <a:gd name="connsiteX324" fmla="*/ 1004772 w 12191999"/>
              <a:gd name="connsiteY324" fmla="*/ 6357442 h 6858001"/>
              <a:gd name="connsiteX325" fmla="*/ 1007977 w 12191999"/>
              <a:gd name="connsiteY325" fmla="*/ 6363246 h 6858001"/>
              <a:gd name="connsiteX326" fmla="*/ 1004349 w 12191999"/>
              <a:gd name="connsiteY326" fmla="*/ 6370411 h 6858001"/>
              <a:gd name="connsiteX327" fmla="*/ 993224 w 12191999"/>
              <a:gd name="connsiteY327" fmla="*/ 6373464 h 6858001"/>
              <a:gd name="connsiteX328" fmla="*/ 981646 w 12191999"/>
              <a:gd name="connsiteY328" fmla="*/ 6370018 h 6858001"/>
              <a:gd name="connsiteX329" fmla="*/ 976598 w 12191999"/>
              <a:gd name="connsiteY329" fmla="*/ 6360102 h 6858001"/>
              <a:gd name="connsiteX330" fmla="*/ 965835 w 12191999"/>
              <a:gd name="connsiteY330" fmla="*/ 6361795 h 6858001"/>
              <a:gd name="connsiteX331" fmla="*/ 974209 w 12191999"/>
              <a:gd name="connsiteY331" fmla="*/ 6377213 h 6858001"/>
              <a:gd name="connsiteX332" fmla="*/ 993285 w 12191999"/>
              <a:gd name="connsiteY332" fmla="*/ 6382412 h 6858001"/>
              <a:gd name="connsiteX333" fmla="*/ 1006828 w 12191999"/>
              <a:gd name="connsiteY333" fmla="*/ 6379782 h 6858001"/>
              <a:gd name="connsiteX334" fmla="*/ 1015988 w 12191999"/>
              <a:gd name="connsiteY334" fmla="*/ 6372345 h 6858001"/>
              <a:gd name="connsiteX335" fmla="*/ 1019162 w 12191999"/>
              <a:gd name="connsiteY335" fmla="*/ 6362097 h 6858001"/>
              <a:gd name="connsiteX336" fmla="*/ 1016562 w 12191999"/>
              <a:gd name="connsiteY336" fmla="*/ 6352786 h 6858001"/>
              <a:gd name="connsiteX337" fmla="*/ 1009398 w 12191999"/>
              <a:gd name="connsiteY337" fmla="*/ 6347073 h 6858001"/>
              <a:gd name="connsiteX338" fmla="*/ 993285 w 12191999"/>
              <a:gd name="connsiteY338" fmla="*/ 6342024 h 6858001"/>
              <a:gd name="connsiteX339" fmla="*/ 983671 w 12191999"/>
              <a:gd name="connsiteY339" fmla="*/ 6339243 h 6858001"/>
              <a:gd name="connsiteX340" fmla="*/ 979500 w 12191999"/>
              <a:gd name="connsiteY340" fmla="*/ 6336341 h 6858001"/>
              <a:gd name="connsiteX341" fmla="*/ 978170 w 12191999"/>
              <a:gd name="connsiteY341" fmla="*/ 6332532 h 6858001"/>
              <a:gd name="connsiteX342" fmla="*/ 981374 w 12191999"/>
              <a:gd name="connsiteY342" fmla="*/ 6326727 h 6858001"/>
              <a:gd name="connsiteX343" fmla="*/ 992076 w 12191999"/>
              <a:gd name="connsiteY343" fmla="*/ 6324248 h 6858001"/>
              <a:gd name="connsiteX344" fmla="*/ 1001900 w 12191999"/>
              <a:gd name="connsiteY344" fmla="*/ 6327030 h 6858001"/>
              <a:gd name="connsiteX345" fmla="*/ 1006103 w 12191999"/>
              <a:gd name="connsiteY345" fmla="*/ 6334769 h 6858001"/>
              <a:gd name="connsiteX346" fmla="*/ 1016744 w 12191999"/>
              <a:gd name="connsiteY346" fmla="*/ 6333318 h 6858001"/>
              <a:gd name="connsiteX347" fmla="*/ 1012995 w 12191999"/>
              <a:gd name="connsiteY347" fmla="*/ 6323372 h 6858001"/>
              <a:gd name="connsiteX348" fmla="*/ 1004561 w 12191999"/>
              <a:gd name="connsiteY348" fmla="*/ 6317477 h 6858001"/>
              <a:gd name="connsiteX349" fmla="*/ 991290 w 12191999"/>
              <a:gd name="connsiteY349" fmla="*/ 6315300 h 6858001"/>
              <a:gd name="connsiteX350" fmla="*/ 929875 w 12191999"/>
              <a:gd name="connsiteY350" fmla="*/ 6315300 h 6858001"/>
              <a:gd name="connsiteX351" fmla="*/ 908229 w 12191999"/>
              <a:gd name="connsiteY351" fmla="*/ 6324248 h 6858001"/>
              <a:gd name="connsiteX352" fmla="*/ 899886 w 12191999"/>
              <a:gd name="connsiteY352" fmla="*/ 6349400 h 6858001"/>
              <a:gd name="connsiteX353" fmla="*/ 908139 w 12191999"/>
              <a:gd name="connsiteY353" fmla="*/ 6373736 h 6858001"/>
              <a:gd name="connsiteX354" fmla="*/ 930479 w 12191999"/>
              <a:gd name="connsiteY354" fmla="*/ 6382412 h 6858001"/>
              <a:gd name="connsiteX355" fmla="*/ 948860 w 12191999"/>
              <a:gd name="connsiteY355" fmla="*/ 6376971 h 6858001"/>
              <a:gd name="connsiteX356" fmla="*/ 958715 w 12191999"/>
              <a:gd name="connsiteY356" fmla="*/ 6361674 h 6858001"/>
              <a:gd name="connsiteX357" fmla="*/ 947469 w 12191999"/>
              <a:gd name="connsiteY357" fmla="*/ 6360283 h 6858001"/>
              <a:gd name="connsiteX358" fmla="*/ 940758 w 12191999"/>
              <a:gd name="connsiteY358" fmla="*/ 6370320 h 6858001"/>
              <a:gd name="connsiteX359" fmla="*/ 930540 w 12191999"/>
              <a:gd name="connsiteY359" fmla="*/ 6373464 h 6858001"/>
              <a:gd name="connsiteX360" fmla="*/ 917117 w 12191999"/>
              <a:gd name="connsiteY360" fmla="*/ 6367841 h 6858001"/>
              <a:gd name="connsiteX361" fmla="*/ 911132 w 12191999"/>
              <a:gd name="connsiteY361" fmla="*/ 6351637 h 6858001"/>
              <a:gd name="connsiteX362" fmla="*/ 959017 w 12191999"/>
              <a:gd name="connsiteY362" fmla="*/ 6351637 h 6858001"/>
              <a:gd name="connsiteX363" fmla="*/ 959078 w 12191999"/>
              <a:gd name="connsiteY363" fmla="*/ 6348735 h 6858001"/>
              <a:gd name="connsiteX364" fmla="*/ 950915 w 12191999"/>
              <a:gd name="connsiteY364" fmla="*/ 6324067 h 6858001"/>
              <a:gd name="connsiteX365" fmla="*/ 929875 w 12191999"/>
              <a:gd name="connsiteY365" fmla="*/ 6315300 h 6858001"/>
              <a:gd name="connsiteX366" fmla="*/ 867069 w 12191999"/>
              <a:gd name="connsiteY366" fmla="*/ 6315300 h 6858001"/>
              <a:gd name="connsiteX367" fmla="*/ 846633 w 12191999"/>
              <a:gd name="connsiteY367" fmla="*/ 6325881 h 6858001"/>
              <a:gd name="connsiteX368" fmla="*/ 846633 w 12191999"/>
              <a:gd name="connsiteY368" fmla="*/ 6316751 h 6858001"/>
              <a:gd name="connsiteX369" fmla="*/ 836839 w 12191999"/>
              <a:gd name="connsiteY369" fmla="*/ 6316751 h 6858001"/>
              <a:gd name="connsiteX370" fmla="*/ 836839 w 12191999"/>
              <a:gd name="connsiteY370" fmla="*/ 6380961 h 6858001"/>
              <a:gd name="connsiteX371" fmla="*/ 847722 w 12191999"/>
              <a:gd name="connsiteY371" fmla="*/ 6380961 h 6858001"/>
              <a:gd name="connsiteX372" fmla="*/ 847722 w 12191999"/>
              <a:gd name="connsiteY372" fmla="*/ 6345894 h 6858001"/>
              <a:gd name="connsiteX373" fmla="*/ 852770 w 12191999"/>
              <a:gd name="connsiteY373" fmla="*/ 6329146 h 6858001"/>
              <a:gd name="connsiteX374" fmla="*/ 864772 w 12191999"/>
              <a:gd name="connsiteY374" fmla="*/ 6324732 h 6858001"/>
              <a:gd name="connsiteX375" fmla="*/ 872360 w 12191999"/>
              <a:gd name="connsiteY375" fmla="*/ 6326697 h 6858001"/>
              <a:gd name="connsiteX376" fmla="*/ 876864 w 12191999"/>
              <a:gd name="connsiteY376" fmla="*/ 6331957 h 6858001"/>
              <a:gd name="connsiteX377" fmla="*/ 878134 w 12191999"/>
              <a:gd name="connsiteY377" fmla="*/ 6341903 h 6858001"/>
              <a:gd name="connsiteX378" fmla="*/ 878134 w 12191999"/>
              <a:gd name="connsiteY378" fmla="*/ 6380961 h 6858001"/>
              <a:gd name="connsiteX379" fmla="*/ 889017 w 12191999"/>
              <a:gd name="connsiteY379" fmla="*/ 6380961 h 6858001"/>
              <a:gd name="connsiteX380" fmla="*/ 889017 w 12191999"/>
              <a:gd name="connsiteY380" fmla="*/ 6341480 h 6858001"/>
              <a:gd name="connsiteX381" fmla="*/ 888412 w 12191999"/>
              <a:gd name="connsiteY381" fmla="*/ 6330899 h 6858001"/>
              <a:gd name="connsiteX382" fmla="*/ 885026 w 12191999"/>
              <a:gd name="connsiteY382" fmla="*/ 6322858 h 6858001"/>
              <a:gd name="connsiteX383" fmla="*/ 877741 w 12191999"/>
              <a:gd name="connsiteY383" fmla="*/ 6317386 h 6858001"/>
              <a:gd name="connsiteX384" fmla="*/ 867069 w 12191999"/>
              <a:gd name="connsiteY384" fmla="*/ 6315300 h 6858001"/>
              <a:gd name="connsiteX385" fmla="*/ 762690 w 12191999"/>
              <a:gd name="connsiteY385" fmla="*/ 6315300 h 6858001"/>
              <a:gd name="connsiteX386" fmla="*/ 753288 w 12191999"/>
              <a:gd name="connsiteY386" fmla="*/ 6316600 h 6858001"/>
              <a:gd name="connsiteX387" fmla="*/ 746365 w 12191999"/>
              <a:gd name="connsiteY387" fmla="*/ 6319774 h 6858001"/>
              <a:gd name="connsiteX388" fmla="*/ 741014 w 12191999"/>
              <a:gd name="connsiteY388" fmla="*/ 6325851 h 6858001"/>
              <a:gd name="connsiteX389" fmla="*/ 739049 w 12191999"/>
              <a:gd name="connsiteY389" fmla="*/ 6333801 h 6858001"/>
              <a:gd name="connsiteX390" fmla="*/ 741437 w 12191999"/>
              <a:gd name="connsiteY390" fmla="*/ 6342417 h 6858001"/>
              <a:gd name="connsiteX391" fmla="*/ 748451 w 12191999"/>
              <a:gd name="connsiteY391" fmla="*/ 6348524 h 6858001"/>
              <a:gd name="connsiteX392" fmla="*/ 765048 w 12191999"/>
              <a:gd name="connsiteY392" fmla="*/ 6353754 h 6858001"/>
              <a:gd name="connsiteX393" fmla="*/ 776172 w 12191999"/>
              <a:gd name="connsiteY393" fmla="*/ 6357442 h 6858001"/>
              <a:gd name="connsiteX394" fmla="*/ 779377 w 12191999"/>
              <a:gd name="connsiteY394" fmla="*/ 6363246 h 6858001"/>
              <a:gd name="connsiteX395" fmla="*/ 775749 w 12191999"/>
              <a:gd name="connsiteY395" fmla="*/ 6370411 h 6858001"/>
              <a:gd name="connsiteX396" fmla="*/ 764624 w 12191999"/>
              <a:gd name="connsiteY396" fmla="*/ 6373464 h 6858001"/>
              <a:gd name="connsiteX397" fmla="*/ 753046 w 12191999"/>
              <a:gd name="connsiteY397" fmla="*/ 6370018 h 6858001"/>
              <a:gd name="connsiteX398" fmla="*/ 747997 w 12191999"/>
              <a:gd name="connsiteY398" fmla="*/ 6360102 h 6858001"/>
              <a:gd name="connsiteX399" fmla="*/ 737235 w 12191999"/>
              <a:gd name="connsiteY399" fmla="*/ 6361795 h 6858001"/>
              <a:gd name="connsiteX400" fmla="*/ 745609 w 12191999"/>
              <a:gd name="connsiteY400" fmla="*/ 6377213 h 6858001"/>
              <a:gd name="connsiteX401" fmla="*/ 764685 w 12191999"/>
              <a:gd name="connsiteY401" fmla="*/ 6382412 h 6858001"/>
              <a:gd name="connsiteX402" fmla="*/ 778228 w 12191999"/>
              <a:gd name="connsiteY402" fmla="*/ 6379782 h 6858001"/>
              <a:gd name="connsiteX403" fmla="*/ 787388 w 12191999"/>
              <a:gd name="connsiteY403" fmla="*/ 6372345 h 6858001"/>
              <a:gd name="connsiteX404" fmla="*/ 790562 w 12191999"/>
              <a:gd name="connsiteY404" fmla="*/ 6362097 h 6858001"/>
              <a:gd name="connsiteX405" fmla="*/ 787962 w 12191999"/>
              <a:gd name="connsiteY405" fmla="*/ 6352786 h 6858001"/>
              <a:gd name="connsiteX406" fmla="*/ 780798 w 12191999"/>
              <a:gd name="connsiteY406" fmla="*/ 6347073 h 6858001"/>
              <a:gd name="connsiteX407" fmla="*/ 764685 w 12191999"/>
              <a:gd name="connsiteY407" fmla="*/ 6342024 h 6858001"/>
              <a:gd name="connsiteX408" fmla="*/ 755071 w 12191999"/>
              <a:gd name="connsiteY408" fmla="*/ 6339243 h 6858001"/>
              <a:gd name="connsiteX409" fmla="*/ 750900 w 12191999"/>
              <a:gd name="connsiteY409" fmla="*/ 6336341 h 6858001"/>
              <a:gd name="connsiteX410" fmla="*/ 749569 w 12191999"/>
              <a:gd name="connsiteY410" fmla="*/ 6332532 h 6858001"/>
              <a:gd name="connsiteX411" fmla="*/ 752774 w 12191999"/>
              <a:gd name="connsiteY411" fmla="*/ 6326727 h 6858001"/>
              <a:gd name="connsiteX412" fmla="*/ 763476 w 12191999"/>
              <a:gd name="connsiteY412" fmla="*/ 6324248 h 6858001"/>
              <a:gd name="connsiteX413" fmla="*/ 773301 w 12191999"/>
              <a:gd name="connsiteY413" fmla="*/ 6327030 h 6858001"/>
              <a:gd name="connsiteX414" fmla="*/ 777503 w 12191999"/>
              <a:gd name="connsiteY414" fmla="*/ 6334769 h 6858001"/>
              <a:gd name="connsiteX415" fmla="*/ 788144 w 12191999"/>
              <a:gd name="connsiteY415" fmla="*/ 6333318 h 6858001"/>
              <a:gd name="connsiteX416" fmla="*/ 784395 w 12191999"/>
              <a:gd name="connsiteY416" fmla="*/ 6323372 h 6858001"/>
              <a:gd name="connsiteX417" fmla="*/ 775961 w 12191999"/>
              <a:gd name="connsiteY417" fmla="*/ 6317477 h 6858001"/>
              <a:gd name="connsiteX418" fmla="*/ 762690 w 12191999"/>
              <a:gd name="connsiteY418" fmla="*/ 6315300 h 6858001"/>
              <a:gd name="connsiteX419" fmla="*/ 525681 w 12191999"/>
              <a:gd name="connsiteY419" fmla="*/ 6301636 h 6858001"/>
              <a:gd name="connsiteX420" fmla="*/ 531969 w 12191999"/>
              <a:gd name="connsiteY420" fmla="*/ 6320016 h 6858001"/>
              <a:gd name="connsiteX421" fmla="*/ 541219 w 12191999"/>
              <a:gd name="connsiteY421" fmla="*/ 6344563 h 6858001"/>
              <a:gd name="connsiteX422" fmla="*/ 511170 w 12191999"/>
              <a:gd name="connsiteY422" fmla="*/ 6344563 h 6858001"/>
              <a:gd name="connsiteX423" fmla="*/ 520904 w 12191999"/>
              <a:gd name="connsiteY423" fmla="*/ 6318565 h 6858001"/>
              <a:gd name="connsiteX424" fmla="*/ 525681 w 12191999"/>
              <a:gd name="connsiteY424" fmla="*/ 6301636 h 6858001"/>
              <a:gd name="connsiteX425" fmla="*/ 1847396 w 12191999"/>
              <a:gd name="connsiteY425" fmla="*/ 6292325 h 6858001"/>
              <a:gd name="connsiteX426" fmla="*/ 1847396 w 12191999"/>
              <a:gd name="connsiteY426" fmla="*/ 6380961 h 6858001"/>
              <a:gd name="connsiteX427" fmla="*/ 1902778 w 12191999"/>
              <a:gd name="connsiteY427" fmla="*/ 6380961 h 6858001"/>
              <a:gd name="connsiteX428" fmla="*/ 1902778 w 12191999"/>
              <a:gd name="connsiteY428" fmla="*/ 6370501 h 6858001"/>
              <a:gd name="connsiteX429" fmla="*/ 1859125 w 12191999"/>
              <a:gd name="connsiteY429" fmla="*/ 6370501 h 6858001"/>
              <a:gd name="connsiteX430" fmla="*/ 1859125 w 12191999"/>
              <a:gd name="connsiteY430" fmla="*/ 6292325 h 6858001"/>
              <a:gd name="connsiteX431" fmla="*/ 1676067 w 12191999"/>
              <a:gd name="connsiteY431" fmla="*/ 6292325 h 6858001"/>
              <a:gd name="connsiteX432" fmla="*/ 1676067 w 12191999"/>
              <a:gd name="connsiteY432" fmla="*/ 6380961 h 6858001"/>
              <a:gd name="connsiteX433" fmla="*/ 1687373 w 12191999"/>
              <a:gd name="connsiteY433" fmla="*/ 6380961 h 6858001"/>
              <a:gd name="connsiteX434" fmla="*/ 1687373 w 12191999"/>
              <a:gd name="connsiteY434" fmla="*/ 6305505 h 6858001"/>
              <a:gd name="connsiteX435" fmla="*/ 1713008 w 12191999"/>
              <a:gd name="connsiteY435" fmla="*/ 6380961 h 6858001"/>
              <a:gd name="connsiteX436" fmla="*/ 1723589 w 12191999"/>
              <a:gd name="connsiteY436" fmla="*/ 6380961 h 6858001"/>
              <a:gd name="connsiteX437" fmla="*/ 1749346 w 12191999"/>
              <a:gd name="connsiteY437" fmla="*/ 6306775 h 6858001"/>
              <a:gd name="connsiteX438" fmla="*/ 1749346 w 12191999"/>
              <a:gd name="connsiteY438" fmla="*/ 6380961 h 6858001"/>
              <a:gd name="connsiteX439" fmla="*/ 1760652 w 12191999"/>
              <a:gd name="connsiteY439" fmla="*/ 6380961 h 6858001"/>
              <a:gd name="connsiteX440" fmla="*/ 1760652 w 12191999"/>
              <a:gd name="connsiteY440" fmla="*/ 6292325 h 6858001"/>
              <a:gd name="connsiteX441" fmla="*/ 1744872 w 12191999"/>
              <a:gd name="connsiteY441" fmla="*/ 6292325 h 6858001"/>
              <a:gd name="connsiteX442" fmla="*/ 1723650 w 12191999"/>
              <a:gd name="connsiteY442" fmla="*/ 6353995 h 6858001"/>
              <a:gd name="connsiteX443" fmla="*/ 1718933 w 12191999"/>
              <a:gd name="connsiteY443" fmla="*/ 6368204 h 6858001"/>
              <a:gd name="connsiteX444" fmla="*/ 1714701 w 12191999"/>
              <a:gd name="connsiteY444" fmla="*/ 6355084 h 6858001"/>
              <a:gd name="connsiteX445" fmla="*/ 1693721 w 12191999"/>
              <a:gd name="connsiteY445" fmla="*/ 6292325 h 6858001"/>
              <a:gd name="connsiteX446" fmla="*/ 1560739 w 12191999"/>
              <a:gd name="connsiteY446" fmla="*/ 6292325 h 6858001"/>
              <a:gd name="connsiteX447" fmla="*/ 1560739 w 12191999"/>
              <a:gd name="connsiteY447" fmla="*/ 6380961 h 6858001"/>
              <a:gd name="connsiteX448" fmla="*/ 1571622 w 12191999"/>
              <a:gd name="connsiteY448" fmla="*/ 6380961 h 6858001"/>
              <a:gd name="connsiteX449" fmla="*/ 1571622 w 12191999"/>
              <a:gd name="connsiteY449" fmla="*/ 6345833 h 6858001"/>
              <a:gd name="connsiteX450" fmla="*/ 1573435 w 12191999"/>
              <a:gd name="connsiteY450" fmla="*/ 6333983 h 6858001"/>
              <a:gd name="connsiteX451" fmla="*/ 1579512 w 12191999"/>
              <a:gd name="connsiteY451" fmla="*/ 6327181 h 6858001"/>
              <a:gd name="connsiteX452" fmla="*/ 1588611 w 12191999"/>
              <a:gd name="connsiteY452" fmla="*/ 6324672 h 6858001"/>
              <a:gd name="connsiteX453" fmla="*/ 1598618 w 12191999"/>
              <a:gd name="connsiteY453" fmla="*/ 6328390 h 6858001"/>
              <a:gd name="connsiteX454" fmla="*/ 1602155 w 12191999"/>
              <a:gd name="connsiteY454" fmla="*/ 6340271 h 6858001"/>
              <a:gd name="connsiteX455" fmla="*/ 1602155 w 12191999"/>
              <a:gd name="connsiteY455" fmla="*/ 6380961 h 6858001"/>
              <a:gd name="connsiteX456" fmla="*/ 1613038 w 12191999"/>
              <a:gd name="connsiteY456" fmla="*/ 6380961 h 6858001"/>
              <a:gd name="connsiteX457" fmla="*/ 1613038 w 12191999"/>
              <a:gd name="connsiteY457" fmla="*/ 6340271 h 6858001"/>
              <a:gd name="connsiteX458" fmla="*/ 1610771 w 12191999"/>
              <a:gd name="connsiteY458" fmla="*/ 6325881 h 6858001"/>
              <a:gd name="connsiteX459" fmla="*/ 1603243 w 12191999"/>
              <a:gd name="connsiteY459" fmla="*/ 6318112 h 6858001"/>
              <a:gd name="connsiteX460" fmla="*/ 1590848 w 12191999"/>
              <a:gd name="connsiteY460" fmla="*/ 6315300 h 6858001"/>
              <a:gd name="connsiteX461" fmla="*/ 1571622 w 12191999"/>
              <a:gd name="connsiteY461" fmla="*/ 6324128 h 6858001"/>
              <a:gd name="connsiteX462" fmla="*/ 1571622 w 12191999"/>
              <a:gd name="connsiteY462" fmla="*/ 6292325 h 6858001"/>
              <a:gd name="connsiteX463" fmla="*/ 1285542 w 12191999"/>
              <a:gd name="connsiteY463" fmla="*/ 6292325 h 6858001"/>
              <a:gd name="connsiteX464" fmla="*/ 1285542 w 12191999"/>
              <a:gd name="connsiteY464" fmla="*/ 6380961 h 6858001"/>
              <a:gd name="connsiteX465" fmla="*/ 1296848 w 12191999"/>
              <a:gd name="connsiteY465" fmla="*/ 6380961 h 6858001"/>
              <a:gd name="connsiteX466" fmla="*/ 1296848 w 12191999"/>
              <a:gd name="connsiteY466" fmla="*/ 6305505 h 6858001"/>
              <a:gd name="connsiteX467" fmla="*/ 1322484 w 12191999"/>
              <a:gd name="connsiteY467" fmla="*/ 6380961 h 6858001"/>
              <a:gd name="connsiteX468" fmla="*/ 1333064 w 12191999"/>
              <a:gd name="connsiteY468" fmla="*/ 6380961 h 6858001"/>
              <a:gd name="connsiteX469" fmla="*/ 1358821 w 12191999"/>
              <a:gd name="connsiteY469" fmla="*/ 6306775 h 6858001"/>
              <a:gd name="connsiteX470" fmla="*/ 1358821 w 12191999"/>
              <a:gd name="connsiteY470" fmla="*/ 6380961 h 6858001"/>
              <a:gd name="connsiteX471" fmla="*/ 1370127 w 12191999"/>
              <a:gd name="connsiteY471" fmla="*/ 6380961 h 6858001"/>
              <a:gd name="connsiteX472" fmla="*/ 1370127 w 12191999"/>
              <a:gd name="connsiteY472" fmla="*/ 6292325 h 6858001"/>
              <a:gd name="connsiteX473" fmla="*/ 1354347 w 12191999"/>
              <a:gd name="connsiteY473" fmla="*/ 6292325 h 6858001"/>
              <a:gd name="connsiteX474" fmla="*/ 1333125 w 12191999"/>
              <a:gd name="connsiteY474" fmla="*/ 6353995 h 6858001"/>
              <a:gd name="connsiteX475" fmla="*/ 1328409 w 12191999"/>
              <a:gd name="connsiteY475" fmla="*/ 6368204 h 6858001"/>
              <a:gd name="connsiteX476" fmla="*/ 1324176 w 12191999"/>
              <a:gd name="connsiteY476" fmla="*/ 6355084 h 6858001"/>
              <a:gd name="connsiteX477" fmla="*/ 1303196 w 12191999"/>
              <a:gd name="connsiteY477" fmla="*/ 6292325 h 6858001"/>
              <a:gd name="connsiteX478" fmla="*/ 808324 w 12191999"/>
              <a:gd name="connsiteY478" fmla="*/ 6292325 h 6858001"/>
              <a:gd name="connsiteX479" fmla="*/ 808324 w 12191999"/>
              <a:gd name="connsiteY479" fmla="*/ 6304840 h 6858001"/>
              <a:gd name="connsiteX480" fmla="*/ 819207 w 12191999"/>
              <a:gd name="connsiteY480" fmla="*/ 6304840 h 6858001"/>
              <a:gd name="connsiteX481" fmla="*/ 819207 w 12191999"/>
              <a:gd name="connsiteY481" fmla="*/ 6292325 h 6858001"/>
              <a:gd name="connsiteX482" fmla="*/ 608178 w 12191999"/>
              <a:gd name="connsiteY482" fmla="*/ 6292325 h 6858001"/>
              <a:gd name="connsiteX483" fmla="*/ 608178 w 12191999"/>
              <a:gd name="connsiteY483" fmla="*/ 6380961 h 6858001"/>
              <a:gd name="connsiteX484" fmla="*/ 618275 w 12191999"/>
              <a:gd name="connsiteY484" fmla="*/ 6380961 h 6858001"/>
              <a:gd name="connsiteX485" fmla="*/ 618275 w 12191999"/>
              <a:gd name="connsiteY485" fmla="*/ 6372920 h 6858001"/>
              <a:gd name="connsiteX486" fmla="*/ 636111 w 12191999"/>
              <a:gd name="connsiteY486" fmla="*/ 6382412 h 6858001"/>
              <a:gd name="connsiteX487" fmla="*/ 655701 w 12191999"/>
              <a:gd name="connsiteY487" fmla="*/ 6373404 h 6858001"/>
              <a:gd name="connsiteX488" fmla="*/ 663863 w 12191999"/>
              <a:gd name="connsiteY488" fmla="*/ 6347889 h 6858001"/>
              <a:gd name="connsiteX489" fmla="*/ 661928 w 12191999"/>
              <a:gd name="connsiteY489" fmla="*/ 6334829 h 6858001"/>
              <a:gd name="connsiteX490" fmla="*/ 656577 w 12191999"/>
              <a:gd name="connsiteY490" fmla="*/ 6324400 h 6858001"/>
              <a:gd name="connsiteX491" fmla="*/ 647871 w 12191999"/>
              <a:gd name="connsiteY491" fmla="*/ 6317688 h 6858001"/>
              <a:gd name="connsiteX492" fmla="*/ 636655 w 12191999"/>
              <a:gd name="connsiteY492" fmla="*/ 6315300 h 6858001"/>
              <a:gd name="connsiteX493" fmla="*/ 619061 w 12191999"/>
              <a:gd name="connsiteY493" fmla="*/ 6323946 h 6858001"/>
              <a:gd name="connsiteX494" fmla="*/ 619061 w 12191999"/>
              <a:gd name="connsiteY494" fmla="*/ 6292325 h 6858001"/>
              <a:gd name="connsiteX495" fmla="*/ 519635 w 12191999"/>
              <a:gd name="connsiteY495" fmla="*/ 6292325 h 6858001"/>
              <a:gd name="connsiteX496" fmla="*/ 485595 w 12191999"/>
              <a:gd name="connsiteY496" fmla="*/ 6380961 h 6858001"/>
              <a:gd name="connsiteX497" fmla="*/ 498050 w 12191999"/>
              <a:gd name="connsiteY497" fmla="*/ 6380961 h 6858001"/>
              <a:gd name="connsiteX498" fmla="*/ 507784 w 12191999"/>
              <a:gd name="connsiteY498" fmla="*/ 6354116 h 6858001"/>
              <a:gd name="connsiteX499" fmla="*/ 544847 w 12191999"/>
              <a:gd name="connsiteY499" fmla="*/ 6354116 h 6858001"/>
              <a:gd name="connsiteX500" fmla="*/ 555186 w 12191999"/>
              <a:gd name="connsiteY500" fmla="*/ 6380961 h 6858001"/>
              <a:gd name="connsiteX501" fmla="*/ 568548 w 12191999"/>
              <a:gd name="connsiteY501" fmla="*/ 6380961 h 6858001"/>
              <a:gd name="connsiteX502" fmla="*/ 532271 w 12191999"/>
              <a:gd name="connsiteY502" fmla="*/ 6292325 h 6858001"/>
              <a:gd name="connsiteX503" fmla="*/ 1228689 w 12191999"/>
              <a:gd name="connsiteY503" fmla="*/ 6290813 h 6858001"/>
              <a:gd name="connsiteX504" fmla="*/ 1217594 w 12191999"/>
              <a:gd name="connsiteY504" fmla="*/ 6293443 h 6858001"/>
              <a:gd name="connsiteX505" fmla="*/ 1212062 w 12191999"/>
              <a:gd name="connsiteY505" fmla="*/ 6300306 h 6858001"/>
              <a:gd name="connsiteX506" fmla="*/ 1210914 w 12191999"/>
              <a:gd name="connsiteY506" fmla="*/ 6309919 h 6858001"/>
              <a:gd name="connsiteX507" fmla="*/ 1210914 w 12191999"/>
              <a:gd name="connsiteY507" fmla="*/ 6316751 h 6858001"/>
              <a:gd name="connsiteX508" fmla="*/ 1201300 w 12191999"/>
              <a:gd name="connsiteY508" fmla="*/ 6316751 h 6858001"/>
              <a:gd name="connsiteX509" fmla="*/ 1201300 w 12191999"/>
              <a:gd name="connsiteY509" fmla="*/ 6325216 h 6858001"/>
              <a:gd name="connsiteX510" fmla="*/ 1210914 w 12191999"/>
              <a:gd name="connsiteY510" fmla="*/ 6325216 h 6858001"/>
              <a:gd name="connsiteX511" fmla="*/ 1210914 w 12191999"/>
              <a:gd name="connsiteY511" fmla="*/ 6380961 h 6858001"/>
              <a:gd name="connsiteX512" fmla="*/ 1221736 w 12191999"/>
              <a:gd name="connsiteY512" fmla="*/ 6380961 h 6858001"/>
              <a:gd name="connsiteX513" fmla="*/ 1221736 w 12191999"/>
              <a:gd name="connsiteY513" fmla="*/ 6325216 h 6858001"/>
              <a:gd name="connsiteX514" fmla="*/ 1234252 w 12191999"/>
              <a:gd name="connsiteY514" fmla="*/ 6325216 h 6858001"/>
              <a:gd name="connsiteX515" fmla="*/ 1234252 w 12191999"/>
              <a:gd name="connsiteY515" fmla="*/ 6316751 h 6858001"/>
              <a:gd name="connsiteX516" fmla="*/ 1221736 w 12191999"/>
              <a:gd name="connsiteY516" fmla="*/ 6316751 h 6858001"/>
              <a:gd name="connsiteX517" fmla="*/ 1221736 w 12191999"/>
              <a:gd name="connsiteY517" fmla="*/ 6310826 h 6858001"/>
              <a:gd name="connsiteX518" fmla="*/ 1223792 w 12191999"/>
              <a:gd name="connsiteY518" fmla="*/ 6302906 h 6858001"/>
              <a:gd name="connsiteX519" fmla="*/ 1230805 w 12191999"/>
              <a:gd name="connsiteY519" fmla="*/ 6300789 h 6858001"/>
              <a:gd name="connsiteX520" fmla="*/ 1237214 w 12191999"/>
              <a:gd name="connsiteY520" fmla="*/ 6301394 h 6858001"/>
              <a:gd name="connsiteX521" fmla="*/ 1238847 w 12191999"/>
              <a:gd name="connsiteY521" fmla="*/ 6291902 h 6858001"/>
              <a:gd name="connsiteX522" fmla="*/ 1228689 w 12191999"/>
              <a:gd name="connsiteY522" fmla="*/ 6290813 h 6858001"/>
              <a:gd name="connsiteX523" fmla="*/ 7175501 w 12191999"/>
              <a:gd name="connsiteY523" fmla="*/ 1 h 6858001"/>
              <a:gd name="connsiteX524" fmla="*/ 12191999 w 12191999"/>
              <a:gd name="connsiteY524" fmla="*/ 1 h 6858001"/>
              <a:gd name="connsiteX525" fmla="*/ 12191999 w 12191999"/>
              <a:gd name="connsiteY525" fmla="*/ 6858001 h 6858001"/>
              <a:gd name="connsiteX526" fmla="*/ 1 w 12191999"/>
              <a:gd name="connsiteY526" fmla="*/ 6858001 h 6858001"/>
              <a:gd name="connsiteX527" fmla="*/ 1 w 12191999"/>
              <a:gd name="connsiteY527" fmla="*/ 5752619 h 6858001"/>
              <a:gd name="connsiteX528" fmla="*/ 7175501 w 12191999"/>
              <a:gd name="connsiteY528" fmla="*/ 5752619 h 6858001"/>
              <a:gd name="connsiteX529" fmla="*/ 0 w 12191999"/>
              <a:gd name="connsiteY529" fmla="*/ 0 h 6858001"/>
              <a:gd name="connsiteX530" fmla="*/ 7175501 w 12191999"/>
              <a:gd name="connsiteY530" fmla="*/ 0 h 6858001"/>
              <a:gd name="connsiteX531" fmla="*/ 7175501 w 12191999"/>
              <a:gd name="connsiteY531" fmla="*/ 1 h 6858001"/>
              <a:gd name="connsiteX532" fmla="*/ 1 w 12191999"/>
              <a:gd name="connsiteY532" fmla="*/ 1 h 6858001"/>
              <a:gd name="connsiteX533" fmla="*/ 1 w 12191999"/>
              <a:gd name="connsiteY533" fmla="*/ 5752619 h 6858001"/>
              <a:gd name="connsiteX534" fmla="*/ 0 w 12191999"/>
              <a:gd name="connsiteY534" fmla="*/ 575261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Lst>
            <a:rect l="l" t="t" r="r" b="b"/>
            <a:pathLst>
              <a:path w="12191999" h="6858001">
                <a:moveTo>
                  <a:pt x="2154182" y="6348735"/>
                </a:moveTo>
                <a:lnTo>
                  <a:pt x="2154182" y="6352726"/>
                </a:lnTo>
                <a:cubicBezTo>
                  <a:pt x="2154182" y="6357522"/>
                  <a:pt x="2153597" y="6361150"/>
                  <a:pt x="2152428" y="6363609"/>
                </a:cubicBezTo>
                <a:cubicBezTo>
                  <a:pt x="2150896" y="6366793"/>
                  <a:pt x="2148498" y="6369302"/>
                  <a:pt x="2145233" y="6371136"/>
                </a:cubicBezTo>
                <a:cubicBezTo>
                  <a:pt x="2141968" y="6372970"/>
                  <a:pt x="2138240" y="6373887"/>
                  <a:pt x="2134048" y="6373887"/>
                </a:cubicBezTo>
                <a:cubicBezTo>
                  <a:pt x="2129816" y="6373887"/>
                  <a:pt x="2126601" y="6372920"/>
                  <a:pt x="2124404" y="6370985"/>
                </a:cubicBezTo>
                <a:cubicBezTo>
                  <a:pt x="2122207" y="6369050"/>
                  <a:pt x="2121109" y="6366632"/>
                  <a:pt x="2121109" y="6363730"/>
                </a:cubicBezTo>
                <a:cubicBezTo>
                  <a:pt x="2121109" y="6361835"/>
                  <a:pt x="2121613" y="6360112"/>
                  <a:pt x="2122621" y="6358560"/>
                </a:cubicBezTo>
                <a:cubicBezTo>
                  <a:pt x="2123628" y="6357008"/>
                  <a:pt x="2125059" y="6355829"/>
                  <a:pt x="2126913" y="6355023"/>
                </a:cubicBezTo>
                <a:cubicBezTo>
                  <a:pt x="2128768" y="6354217"/>
                  <a:pt x="2131932" y="6353492"/>
                  <a:pt x="2136406" y="6352847"/>
                </a:cubicBezTo>
                <a:cubicBezTo>
                  <a:pt x="2144306" y="6351718"/>
                  <a:pt x="2150231" y="6350348"/>
                  <a:pt x="2154182" y="6348735"/>
                </a:cubicBezTo>
                <a:close/>
                <a:moveTo>
                  <a:pt x="1430281" y="6348735"/>
                </a:moveTo>
                <a:lnTo>
                  <a:pt x="1430281" y="6352726"/>
                </a:lnTo>
                <a:cubicBezTo>
                  <a:pt x="1430281" y="6357522"/>
                  <a:pt x="1429697" y="6361150"/>
                  <a:pt x="1428528" y="6363609"/>
                </a:cubicBezTo>
                <a:cubicBezTo>
                  <a:pt x="1426997" y="6366793"/>
                  <a:pt x="1424598" y="6369302"/>
                  <a:pt x="1421333" y="6371136"/>
                </a:cubicBezTo>
                <a:cubicBezTo>
                  <a:pt x="1418068" y="6372970"/>
                  <a:pt x="1414340" y="6373887"/>
                  <a:pt x="1410148" y="6373887"/>
                </a:cubicBezTo>
                <a:cubicBezTo>
                  <a:pt x="1405916" y="6373887"/>
                  <a:pt x="1402701" y="6372920"/>
                  <a:pt x="1400504" y="6370985"/>
                </a:cubicBezTo>
                <a:cubicBezTo>
                  <a:pt x="1398308" y="6369050"/>
                  <a:pt x="1397209" y="6366632"/>
                  <a:pt x="1397209" y="6363730"/>
                </a:cubicBezTo>
                <a:cubicBezTo>
                  <a:pt x="1397209" y="6361835"/>
                  <a:pt x="1397713" y="6360112"/>
                  <a:pt x="1398721" y="6358560"/>
                </a:cubicBezTo>
                <a:cubicBezTo>
                  <a:pt x="1399728" y="6357008"/>
                  <a:pt x="1401159" y="6355829"/>
                  <a:pt x="1403013" y="6355023"/>
                </a:cubicBezTo>
                <a:cubicBezTo>
                  <a:pt x="1404867" y="6354217"/>
                  <a:pt x="1408032" y="6353492"/>
                  <a:pt x="1412506" y="6352847"/>
                </a:cubicBezTo>
                <a:cubicBezTo>
                  <a:pt x="1420406" y="6351718"/>
                  <a:pt x="1426331" y="6350348"/>
                  <a:pt x="1430281" y="6348735"/>
                </a:cubicBezTo>
                <a:close/>
                <a:moveTo>
                  <a:pt x="1167698" y="6324309"/>
                </a:moveTo>
                <a:cubicBezTo>
                  <a:pt x="1173058" y="6324309"/>
                  <a:pt x="1177543" y="6326355"/>
                  <a:pt x="1181150" y="6330446"/>
                </a:cubicBezTo>
                <a:cubicBezTo>
                  <a:pt x="1184758" y="6334537"/>
                  <a:pt x="1186561" y="6340553"/>
                  <a:pt x="1186561" y="6348493"/>
                </a:cubicBezTo>
                <a:cubicBezTo>
                  <a:pt x="1186561" y="6356918"/>
                  <a:pt x="1184768" y="6363186"/>
                  <a:pt x="1181180" y="6367297"/>
                </a:cubicBezTo>
                <a:cubicBezTo>
                  <a:pt x="1177593" y="6371408"/>
                  <a:pt x="1173099" y="6373464"/>
                  <a:pt x="1167698" y="6373464"/>
                </a:cubicBezTo>
                <a:cubicBezTo>
                  <a:pt x="1162256" y="6373464"/>
                  <a:pt x="1157741" y="6371418"/>
                  <a:pt x="1154154" y="6367327"/>
                </a:cubicBezTo>
                <a:cubicBezTo>
                  <a:pt x="1150567" y="6363236"/>
                  <a:pt x="1148773" y="6357079"/>
                  <a:pt x="1148773" y="6348856"/>
                </a:cubicBezTo>
                <a:cubicBezTo>
                  <a:pt x="1148773" y="6340633"/>
                  <a:pt x="1150567" y="6334487"/>
                  <a:pt x="1154154" y="6330415"/>
                </a:cubicBezTo>
                <a:cubicBezTo>
                  <a:pt x="1157741" y="6326344"/>
                  <a:pt x="1162256" y="6324309"/>
                  <a:pt x="1167698" y="6324309"/>
                </a:cubicBezTo>
                <a:close/>
                <a:moveTo>
                  <a:pt x="1939646" y="6324248"/>
                </a:moveTo>
                <a:cubicBezTo>
                  <a:pt x="1945168" y="6324248"/>
                  <a:pt x="1949662" y="6326344"/>
                  <a:pt x="1953129" y="6330536"/>
                </a:cubicBezTo>
                <a:cubicBezTo>
                  <a:pt x="1955386" y="6333237"/>
                  <a:pt x="1956756" y="6337288"/>
                  <a:pt x="1957240" y="6342689"/>
                </a:cubicBezTo>
                <a:lnTo>
                  <a:pt x="1921387" y="6342689"/>
                </a:lnTo>
                <a:cubicBezTo>
                  <a:pt x="1921749" y="6337086"/>
                  <a:pt x="1923634" y="6332612"/>
                  <a:pt x="1927040" y="6329267"/>
                </a:cubicBezTo>
                <a:cubicBezTo>
                  <a:pt x="1930445" y="6325921"/>
                  <a:pt x="1934648" y="6324248"/>
                  <a:pt x="1939646" y="6324248"/>
                </a:cubicBezTo>
                <a:close/>
                <a:moveTo>
                  <a:pt x="929996" y="6324248"/>
                </a:moveTo>
                <a:cubicBezTo>
                  <a:pt x="935518" y="6324248"/>
                  <a:pt x="940012" y="6326344"/>
                  <a:pt x="943479" y="6330536"/>
                </a:cubicBezTo>
                <a:cubicBezTo>
                  <a:pt x="945736" y="6333237"/>
                  <a:pt x="947106" y="6337288"/>
                  <a:pt x="947590" y="6342689"/>
                </a:cubicBezTo>
                <a:lnTo>
                  <a:pt x="911736" y="6342689"/>
                </a:lnTo>
                <a:cubicBezTo>
                  <a:pt x="912099" y="6337086"/>
                  <a:pt x="913983" y="6332612"/>
                  <a:pt x="917389" y="6329267"/>
                </a:cubicBezTo>
                <a:cubicBezTo>
                  <a:pt x="920795" y="6325921"/>
                  <a:pt x="924997" y="6324248"/>
                  <a:pt x="929996" y="6324248"/>
                </a:cubicBezTo>
                <a:close/>
                <a:moveTo>
                  <a:pt x="635688" y="6324248"/>
                </a:moveTo>
                <a:cubicBezTo>
                  <a:pt x="640404" y="6324248"/>
                  <a:pt x="644425" y="6326244"/>
                  <a:pt x="647750" y="6330234"/>
                </a:cubicBezTo>
                <a:cubicBezTo>
                  <a:pt x="651075" y="6334225"/>
                  <a:pt x="652738" y="6340412"/>
                  <a:pt x="652738" y="6348796"/>
                </a:cubicBezTo>
                <a:cubicBezTo>
                  <a:pt x="652738" y="6356978"/>
                  <a:pt x="651005" y="6363135"/>
                  <a:pt x="647538" y="6367267"/>
                </a:cubicBezTo>
                <a:cubicBezTo>
                  <a:pt x="644072" y="6371398"/>
                  <a:pt x="639961" y="6373464"/>
                  <a:pt x="635204" y="6373464"/>
                </a:cubicBezTo>
                <a:cubicBezTo>
                  <a:pt x="629360" y="6373464"/>
                  <a:pt x="624724" y="6370663"/>
                  <a:pt x="621298" y="6365060"/>
                </a:cubicBezTo>
                <a:cubicBezTo>
                  <a:pt x="619202" y="6361634"/>
                  <a:pt x="618154" y="6356071"/>
                  <a:pt x="618154" y="6348373"/>
                </a:cubicBezTo>
                <a:cubicBezTo>
                  <a:pt x="618154" y="6340553"/>
                  <a:pt x="619887" y="6334577"/>
                  <a:pt x="623354" y="6330446"/>
                </a:cubicBezTo>
                <a:cubicBezTo>
                  <a:pt x="626820" y="6326314"/>
                  <a:pt x="630932" y="6324248"/>
                  <a:pt x="635688" y="6324248"/>
                </a:cubicBezTo>
                <a:close/>
                <a:moveTo>
                  <a:pt x="808324" y="6316751"/>
                </a:moveTo>
                <a:lnTo>
                  <a:pt x="808324" y="6380961"/>
                </a:lnTo>
                <a:lnTo>
                  <a:pt x="819207" y="6380961"/>
                </a:lnTo>
                <a:lnTo>
                  <a:pt x="819207" y="6316751"/>
                </a:lnTo>
                <a:close/>
                <a:moveTo>
                  <a:pt x="674672" y="6316751"/>
                </a:moveTo>
                <a:lnTo>
                  <a:pt x="674672" y="6356535"/>
                </a:lnTo>
                <a:cubicBezTo>
                  <a:pt x="674672" y="6361170"/>
                  <a:pt x="674893" y="6364556"/>
                  <a:pt x="675337" y="6366692"/>
                </a:cubicBezTo>
                <a:cubicBezTo>
                  <a:pt x="675982" y="6369877"/>
                  <a:pt x="677100" y="6372567"/>
                  <a:pt x="678692" y="6374764"/>
                </a:cubicBezTo>
                <a:cubicBezTo>
                  <a:pt x="680284" y="6376961"/>
                  <a:pt x="682723" y="6378785"/>
                  <a:pt x="686008" y="6380236"/>
                </a:cubicBezTo>
                <a:cubicBezTo>
                  <a:pt x="689293" y="6381687"/>
                  <a:pt x="692830" y="6382412"/>
                  <a:pt x="696619" y="6382412"/>
                </a:cubicBezTo>
                <a:cubicBezTo>
                  <a:pt x="705205" y="6382412"/>
                  <a:pt x="711997" y="6378785"/>
                  <a:pt x="716995" y="6371529"/>
                </a:cubicBezTo>
                <a:lnTo>
                  <a:pt x="716995" y="6380961"/>
                </a:lnTo>
                <a:lnTo>
                  <a:pt x="726729" y="6380961"/>
                </a:lnTo>
                <a:lnTo>
                  <a:pt x="726729" y="6316751"/>
                </a:lnTo>
                <a:lnTo>
                  <a:pt x="715846" y="6316751"/>
                </a:lnTo>
                <a:lnTo>
                  <a:pt x="715846" y="6351154"/>
                </a:lnTo>
                <a:cubicBezTo>
                  <a:pt x="715846" y="6356636"/>
                  <a:pt x="715251" y="6360818"/>
                  <a:pt x="714062" y="6363700"/>
                </a:cubicBezTo>
                <a:cubicBezTo>
                  <a:pt x="712873" y="6366582"/>
                  <a:pt x="710848" y="6368859"/>
                  <a:pt x="707986" y="6370532"/>
                </a:cubicBezTo>
                <a:cubicBezTo>
                  <a:pt x="705124" y="6372204"/>
                  <a:pt x="702061" y="6373041"/>
                  <a:pt x="698796" y="6373041"/>
                </a:cubicBezTo>
                <a:cubicBezTo>
                  <a:pt x="695531" y="6373041"/>
                  <a:pt x="692790" y="6372225"/>
                  <a:pt x="690573" y="6370592"/>
                </a:cubicBezTo>
                <a:cubicBezTo>
                  <a:pt x="688356" y="6368960"/>
                  <a:pt x="686905" y="6366713"/>
                  <a:pt x="686220" y="6363851"/>
                </a:cubicBezTo>
                <a:cubicBezTo>
                  <a:pt x="685776" y="6361876"/>
                  <a:pt x="685555" y="6358046"/>
                  <a:pt x="685555" y="6352363"/>
                </a:cubicBezTo>
                <a:lnTo>
                  <a:pt x="685555" y="6316751"/>
                </a:lnTo>
                <a:close/>
                <a:moveTo>
                  <a:pt x="2210094" y="6315300"/>
                </a:moveTo>
                <a:cubicBezTo>
                  <a:pt x="2201186" y="6315300"/>
                  <a:pt x="2194374" y="6318827"/>
                  <a:pt x="2189659" y="6325881"/>
                </a:cubicBezTo>
                <a:lnTo>
                  <a:pt x="2189659" y="6316751"/>
                </a:lnTo>
                <a:lnTo>
                  <a:pt x="2179864" y="6316751"/>
                </a:lnTo>
                <a:lnTo>
                  <a:pt x="2179864" y="6380961"/>
                </a:lnTo>
                <a:lnTo>
                  <a:pt x="2190747" y="6380961"/>
                </a:lnTo>
                <a:lnTo>
                  <a:pt x="2190747" y="6345894"/>
                </a:lnTo>
                <a:cubicBezTo>
                  <a:pt x="2190747" y="6337671"/>
                  <a:pt x="2192430" y="6332088"/>
                  <a:pt x="2195795" y="6329146"/>
                </a:cubicBezTo>
                <a:cubicBezTo>
                  <a:pt x="2199161" y="6326203"/>
                  <a:pt x="2203161" y="6324732"/>
                  <a:pt x="2207797" y="6324732"/>
                </a:cubicBezTo>
                <a:cubicBezTo>
                  <a:pt x="2210699" y="6324732"/>
                  <a:pt x="2213228" y="6325387"/>
                  <a:pt x="2215385" y="6326697"/>
                </a:cubicBezTo>
                <a:cubicBezTo>
                  <a:pt x="2217541" y="6328007"/>
                  <a:pt x="2219043" y="6329761"/>
                  <a:pt x="2219889" y="6331957"/>
                </a:cubicBezTo>
                <a:cubicBezTo>
                  <a:pt x="2220735" y="6334154"/>
                  <a:pt x="2221159" y="6337469"/>
                  <a:pt x="2221159" y="6341903"/>
                </a:cubicBezTo>
                <a:lnTo>
                  <a:pt x="2221159" y="6380961"/>
                </a:lnTo>
                <a:lnTo>
                  <a:pt x="2232042" y="6380961"/>
                </a:lnTo>
                <a:lnTo>
                  <a:pt x="2232042" y="6341480"/>
                </a:lnTo>
                <a:cubicBezTo>
                  <a:pt x="2232042" y="6336441"/>
                  <a:pt x="2231840" y="6332915"/>
                  <a:pt x="2231437" y="6330899"/>
                </a:cubicBezTo>
                <a:cubicBezTo>
                  <a:pt x="2230792" y="6327796"/>
                  <a:pt x="2229664" y="6325115"/>
                  <a:pt x="2228052" y="6322858"/>
                </a:cubicBezTo>
                <a:cubicBezTo>
                  <a:pt x="2226439" y="6320601"/>
                  <a:pt x="2224011" y="6318777"/>
                  <a:pt x="2220766" y="6317386"/>
                </a:cubicBezTo>
                <a:cubicBezTo>
                  <a:pt x="2217521" y="6315995"/>
                  <a:pt x="2213964" y="6315300"/>
                  <a:pt x="2210094" y="6315300"/>
                </a:cubicBezTo>
                <a:close/>
                <a:moveTo>
                  <a:pt x="2140336" y="6315300"/>
                </a:moveTo>
                <a:cubicBezTo>
                  <a:pt x="2134814" y="6315300"/>
                  <a:pt x="2129957" y="6316056"/>
                  <a:pt x="2125765" y="6317567"/>
                </a:cubicBezTo>
                <a:cubicBezTo>
                  <a:pt x="2121573" y="6319079"/>
                  <a:pt x="2118368" y="6321235"/>
                  <a:pt x="2116151" y="6324037"/>
                </a:cubicBezTo>
                <a:cubicBezTo>
                  <a:pt x="2113934" y="6326838"/>
                  <a:pt x="2112342" y="6330516"/>
                  <a:pt x="2111375" y="6335071"/>
                </a:cubicBezTo>
                <a:lnTo>
                  <a:pt x="2122016" y="6336522"/>
                </a:lnTo>
                <a:cubicBezTo>
                  <a:pt x="2123185" y="6331967"/>
                  <a:pt x="2124989" y="6328793"/>
                  <a:pt x="2127427" y="6326999"/>
                </a:cubicBezTo>
                <a:cubicBezTo>
                  <a:pt x="2129866" y="6325206"/>
                  <a:pt x="2133645" y="6324309"/>
                  <a:pt x="2138764" y="6324309"/>
                </a:cubicBezTo>
                <a:cubicBezTo>
                  <a:pt x="2144246" y="6324309"/>
                  <a:pt x="2148377" y="6325538"/>
                  <a:pt x="2151159" y="6327997"/>
                </a:cubicBezTo>
                <a:cubicBezTo>
                  <a:pt x="2153214" y="6329811"/>
                  <a:pt x="2154242" y="6332935"/>
                  <a:pt x="2154242" y="6337369"/>
                </a:cubicBezTo>
                <a:cubicBezTo>
                  <a:pt x="2154242" y="6337772"/>
                  <a:pt x="2154222" y="6338719"/>
                  <a:pt x="2154182" y="6340210"/>
                </a:cubicBezTo>
                <a:cubicBezTo>
                  <a:pt x="2150030" y="6341661"/>
                  <a:pt x="2143560" y="6342911"/>
                  <a:pt x="2134773" y="6343959"/>
                </a:cubicBezTo>
                <a:cubicBezTo>
                  <a:pt x="2130460" y="6344483"/>
                  <a:pt x="2127236" y="6345027"/>
                  <a:pt x="2125100" y="6345591"/>
                </a:cubicBezTo>
                <a:cubicBezTo>
                  <a:pt x="2122197" y="6346397"/>
                  <a:pt x="2119587" y="6347587"/>
                  <a:pt x="2117270" y="6349159"/>
                </a:cubicBezTo>
                <a:cubicBezTo>
                  <a:pt x="2114952" y="6350731"/>
                  <a:pt x="2113078" y="6352816"/>
                  <a:pt x="2111647" y="6355416"/>
                </a:cubicBezTo>
                <a:cubicBezTo>
                  <a:pt x="2110216" y="6358016"/>
                  <a:pt x="2109500" y="6360888"/>
                  <a:pt x="2109500" y="6364032"/>
                </a:cubicBezTo>
                <a:cubicBezTo>
                  <a:pt x="2109500" y="6369393"/>
                  <a:pt x="2111395" y="6373797"/>
                  <a:pt x="2115184" y="6377243"/>
                </a:cubicBezTo>
                <a:cubicBezTo>
                  <a:pt x="2118973" y="6380689"/>
                  <a:pt x="2124394" y="6382412"/>
                  <a:pt x="2131448" y="6382412"/>
                </a:cubicBezTo>
                <a:cubicBezTo>
                  <a:pt x="2135721" y="6382412"/>
                  <a:pt x="2139721" y="6381707"/>
                  <a:pt x="2143450" y="6380296"/>
                </a:cubicBezTo>
                <a:cubicBezTo>
                  <a:pt x="2147178" y="6378885"/>
                  <a:pt x="2151058" y="6376467"/>
                  <a:pt x="2155089" y="6373041"/>
                </a:cubicBezTo>
                <a:cubicBezTo>
                  <a:pt x="2155411" y="6376064"/>
                  <a:pt x="2156136" y="6378704"/>
                  <a:pt x="2157265" y="6380961"/>
                </a:cubicBezTo>
                <a:lnTo>
                  <a:pt x="2168632" y="6380961"/>
                </a:lnTo>
                <a:cubicBezTo>
                  <a:pt x="2167261" y="6378502"/>
                  <a:pt x="2166344" y="6375933"/>
                  <a:pt x="2165881" y="6373252"/>
                </a:cubicBezTo>
                <a:cubicBezTo>
                  <a:pt x="2165417" y="6370572"/>
                  <a:pt x="2165185" y="6364173"/>
                  <a:pt x="2165185" y="6354056"/>
                </a:cubicBezTo>
                <a:lnTo>
                  <a:pt x="2165185" y="6339545"/>
                </a:lnTo>
                <a:cubicBezTo>
                  <a:pt x="2165185" y="6334708"/>
                  <a:pt x="2165004" y="6331363"/>
                  <a:pt x="2164641" y="6329509"/>
                </a:cubicBezTo>
                <a:cubicBezTo>
                  <a:pt x="2163996" y="6326526"/>
                  <a:pt x="2162868" y="6324057"/>
                  <a:pt x="2161255" y="6322102"/>
                </a:cubicBezTo>
                <a:cubicBezTo>
                  <a:pt x="2159643" y="6320147"/>
                  <a:pt x="2157124" y="6318525"/>
                  <a:pt x="2153698" y="6317235"/>
                </a:cubicBezTo>
                <a:cubicBezTo>
                  <a:pt x="2150272" y="6315945"/>
                  <a:pt x="2145818" y="6315300"/>
                  <a:pt x="2140336" y="6315300"/>
                </a:cubicBezTo>
                <a:close/>
                <a:moveTo>
                  <a:pt x="2076744" y="6315300"/>
                </a:moveTo>
                <a:cubicBezTo>
                  <a:pt x="2067836" y="6315300"/>
                  <a:pt x="2061024" y="6318827"/>
                  <a:pt x="2056309" y="6325881"/>
                </a:cubicBezTo>
                <a:lnTo>
                  <a:pt x="2056309" y="6316751"/>
                </a:lnTo>
                <a:lnTo>
                  <a:pt x="2046514" y="6316751"/>
                </a:lnTo>
                <a:lnTo>
                  <a:pt x="2046514" y="6380961"/>
                </a:lnTo>
                <a:lnTo>
                  <a:pt x="2057397" y="6380961"/>
                </a:lnTo>
                <a:lnTo>
                  <a:pt x="2057397" y="6345894"/>
                </a:lnTo>
                <a:cubicBezTo>
                  <a:pt x="2057397" y="6337671"/>
                  <a:pt x="2059079" y="6332088"/>
                  <a:pt x="2062445" y="6329146"/>
                </a:cubicBezTo>
                <a:cubicBezTo>
                  <a:pt x="2065811" y="6326203"/>
                  <a:pt x="2069811" y="6324732"/>
                  <a:pt x="2074447" y="6324732"/>
                </a:cubicBezTo>
                <a:cubicBezTo>
                  <a:pt x="2077349" y="6324732"/>
                  <a:pt x="2079878" y="6325387"/>
                  <a:pt x="2082035" y="6326697"/>
                </a:cubicBezTo>
                <a:cubicBezTo>
                  <a:pt x="2084191" y="6328007"/>
                  <a:pt x="2085692" y="6329761"/>
                  <a:pt x="2086539" y="6331957"/>
                </a:cubicBezTo>
                <a:cubicBezTo>
                  <a:pt x="2087385" y="6334154"/>
                  <a:pt x="2087809" y="6337469"/>
                  <a:pt x="2087809" y="6341903"/>
                </a:cubicBezTo>
                <a:lnTo>
                  <a:pt x="2087809" y="6380961"/>
                </a:lnTo>
                <a:lnTo>
                  <a:pt x="2098692" y="6380961"/>
                </a:lnTo>
                <a:lnTo>
                  <a:pt x="2098692" y="6341480"/>
                </a:lnTo>
                <a:cubicBezTo>
                  <a:pt x="2098692" y="6336441"/>
                  <a:pt x="2098490" y="6332915"/>
                  <a:pt x="2098087" y="6330899"/>
                </a:cubicBezTo>
                <a:cubicBezTo>
                  <a:pt x="2097442" y="6327796"/>
                  <a:pt x="2096314" y="6325115"/>
                  <a:pt x="2094702" y="6322858"/>
                </a:cubicBezTo>
                <a:cubicBezTo>
                  <a:pt x="2093089" y="6320601"/>
                  <a:pt x="2090661" y="6318777"/>
                  <a:pt x="2087416" y="6317386"/>
                </a:cubicBezTo>
                <a:cubicBezTo>
                  <a:pt x="2084171" y="6315995"/>
                  <a:pt x="2080614" y="6315300"/>
                  <a:pt x="2076744" y="6315300"/>
                </a:cubicBezTo>
                <a:close/>
                <a:moveTo>
                  <a:pt x="2010069" y="6315300"/>
                </a:moveTo>
                <a:cubicBezTo>
                  <a:pt x="2001161" y="6315300"/>
                  <a:pt x="1994349" y="6318827"/>
                  <a:pt x="1989633" y="6325881"/>
                </a:cubicBezTo>
                <a:lnTo>
                  <a:pt x="1989633" y="6316751"/>
                </a:lnTo>
                <a:lnTo>
                  <a:pt x="1979839" y="6316751"/>
                </a:lnTo>
                <a:lnTo>
                  <a:pt x="1979839" y="6380961"/>
                </a:lnTo>
                <a:lnTo>
                  <a:pt x="1990722" y="6380961"/>
                </a:lnTo>
                <a:lnTo>
                  <a:pt x="1990722" y="6345894"/>
                </a:lnTo>
                <a:cubicBezTo>
                  <a:pt x="1990722" y="6337671"/>
                  <a:pt x="1992405" y="6332088"/>
                  <a:pt x="1995770" y="6329146"/>
                </a:cubicBezTo>
                <a:cubicBezTo>
                  <a:pt x="1999136" y="6326203"/>
                  <a:pt x="2003136" y="6324732"/>
                  <a:pt x="2007772" y="6324732"/>
                </a:cubicBezTo>
                <a:cubicBezTo>
                  <a:pt x="2010674" y="6324732"/>
                  <a:pt x="2013203" y="6325387"/>
                  <a:pt x="2015360" y="6326697"/>
                </a:cubicBezTo>
                <a:cubicBezTo>
                  <a:pt x="2017516" y="6328007"/>
                  <a:pt x="2019018" y="6329761"/>
                  <a:pt x="2019864" y="6331957"/>
                </a:cubicBezTo>
                <a:cubicBezTo>
                  <a:pt x="2020710" y="6334154"/>
                  <a:pt x="2021134" y="6337469"/>
                  <a:pt x="2021134" y="6341903"/>
                </a:cubicBezTo>
                <a:lnTo>
                  <a:pt x="2021134" y="6380961"/>
                </a:lnTo>
                <a:lnTo>
                  <a:pt x="2032017" y="6380961"/>
                </a:lnTo>
                <a:lnTo>
                  <a:pt x="2032017" y="6341480"/>
                </a:lnTo>
                <a:cubicBezTo>
                  <a:pt x="2032017" y="6336441"/>
                  <a:pt x="2031815" y="6332915"/>
                  <a:pt x="2031412" y="6330899"/>
                </a:cubicBezTo>
                <a:cubicBezTo>
                  <a:pt x="2030767" y="6327796"/>
                  <a:pt x="2029639" y="6325115"/>
                  <a:pt x="2028026" y="6322858"/>
                </a:cubicBezTo>
                <a:cubicBezTo>
                  <a:pt x="2026414" y="6320601"/>
                  <a:pt x="2023985" y="6318777"/>
                  <a:pt x="2020741" y="6317386"/>
                </a:cubicBezTo>
                <a:cubicBezTo>
                  <a:pt x="2017496" y="6315995"/>
                  <a:pt x="2013939" y="6315300"/>
                  <a:pt x="2010069" y="6315300"/>
                </a:cubicBezTo>
                <a:close/>
                <a:moveTo>
                  <a:pt x="1939525" y="6315300"/>
                </a:moveTo>
                <a:cubicBezTo>
                  <a:pt x="1930657" y="6315300"/>
                  <a:pt x="1923442" y="6318283"/>
                  <a:pt x="1917880" y="6324248"/>
                </a:cubicBezTo>
                <a:cubicBezTo>
                  <a:pt x="1912317" y="6330214"/>
                  <a:pt x="1909536" y="6338598"/>
                  <a:pt x="1909536" y="6349400"/>
                </a:cubicBezTo>
                <a:cubicBezTo>
                  <a:pt x="1909536" y="6359840"/>
                  <a:pt x="1912287" y="6367952"/>
                  <a:pt x="1917789" y="6373736"/>
                </a:cubicBezTo>
                <a:cubicBezTo>
                  <a:pt x="1923291" y="6379520"/>
                  <a:pt x="1930738" y="6382412"/>
                  <a:pt x="1940129" y="6382412"/>
                </a:cubicBezTo>
                <a:cubicBezTo>
                  <a:pt x="1947586" y="6382412"/>
                  <a:pt x="1953713" y="6380598"/>
                  <a:pt x="1958510" y="6376971"/>
                </a:cubicBezTo>
                <a:cubicBezTo>
                  <a:pt x="1963306" y="6373343"/>
                  <a:pt x="1966591" y="6368244"/>
                  <a:pt x="1968365" y="6361674"/>
                </a:cubicBezTo>
                <a:lnTo>
                  <a:pt x="1957119" y="6360283"/>
                </a:lnTo>
                <a:cubicBezTo>
                  <a:pt x="1955466" y="6364879"/>
                  <a:pt x="1953229" y="6368224"/>
                  <a:pt x="1950408" y="6370320"/>
                </a:cubicBezTo>
                <a:cubicBezTo>
                  <a:pt x="1947586" y="6372416"/>
                  <a:pt x="1944180" y="6373464"/>
                  <a:pt x="1940190" y="6373464"/>
                </a:cubicBezTo>
                <a:cubicBezTo>
                  <a:pt x="1934829" y="6373464"/>
                  <a:pt x="1930355" y="6371590"/>
                  <a:pt x="1926767" y="6367841"/>
                </a:cubicBezTo>
                <a:cubicBezTo>
                  <a:pt x="1923180" y="6364093"/>
                  <a:pt x="1921185" y="6358691"/>
                  <a:pt x="1920782" y="6351637"/>
                </a:cubicBezTo>
                <a:lnTo>
                  <a:pt x="1968667" y="6351637"/>
                </a:lnTo>
                <a:cubicBezTo>
                  <a:pt x="1968707" y="6350348"/>
                  <a:pt x="1968728" y="6349380"/>
                  <a:pt x="1968728" y="6348735"/>
                </a:cubicBezTo>
                <a:cubicBezTo>
                  <a:pt x="1968728" y="6338134"/>
                  <a:pt x="1966007" y="6329912"/>
                  <a:pt x="1960565" y="6324067"/>
                </a:cubicBezTo>
                <a:cubicBezTo>
                  <a:pt x="1955124" y="6318222"/>
                  <a:pt x="1948110" y="6315300"/>
                  <a:pt x="1939525" y="6315300"/>
                </a:cubicBezTo>
                <a:close/>
                <a:moveTo>
                  <a:pt x="1805752" y="6315300"/>
                </a:moveTo>
                <a:cubicBezTo>
                  <a:pt x="1800230" y="6315300"/>
                  <a:pt x="1795120" y="6316600"/>
                  <a:pt x="1790425" y="6319200"/>
                </a:cubicBezTo>
                <a:cubicBezTo>
                  <a:pt x="1785729" y="6321800"/>
                  <a:pt x="1782232" y="6325700"/>
                  <a:pt x="1779935" y="6330899"/>
                </a:cubicBezTo>
                <a:cubicBezTo>
                  <a:pt x="1777637" y="6336099"/>
                  <a:pt x="1776488" y="6342165"/>
                  <a:pt x="1776488" y="6349098"/>
                </a:cubicBezTo>
                <a:cubicBezTo>
                  <a:pt x="1776488" y="6359820"/>
                  <a:pt x="1779159" y="6368053"/>
                  <a:pt x="1784499" y="6373797"/>
                </a:cubicBezTo>
                <a:cubicBezTo>
                  <a:pt x="1789840" y="6379540"/>
                  <a:pt x="1796904" y="6382412"/>
                  <a:pt x="1805691" y="6382412"/>
                </a:cubicBezTo>
                <a:cubicBezTo>
                  <a:pt x="1812705" y="6382412"/>
                  <a:pt x="1818620" y="6380326"/>
                  <a:pt x="1823437" y="6376155"/>
                </a:cubicBezTo>
                <a:cubicBezTo>
                  <a:pt x="1828253" y="6371983"/>
                  <a:pt x="1831246" y="6366209"/>
                  <a:pt x="1832415" y="6358832"/>
                </a:cubicBezTo>
                <a:lnTo>
                  <a:pt x="1821714" y="6357442"/>
                </a:lnTo>
                <a:cubicBezTo>
                  <a:pt x="1820948" y="6362883"/>
                  <a:pt x="1819134" y="6366914"/>
                  <a:pt x="1816272" y="6369534"/>
                </a:cubicBezTo>
                <a:cubicBezTo>
                  <a:pt x="1813410" y="6372154"/>
                  <a:pt x="1809843" y="6373464"/>
                  <a:pt x="1805570" y="6373464"/>
                </a:cubicBezTo>
                <a:cubicBezTo>
                  <a:pt x="1800250" y="6373464"/>
                  <a:pt x="1795937" y="6371509"/>
                  <a:pt x="1792632" y="6367599"/>
                </a:cubicBezTo>
                <a:cubicBezTo>
                  <a:pt x="1789326" y="6363689"/>
                  <a:pt x="1787674" y="6357422"/>
                  <a:pt x="1787674" y="6348796"/>
                </a:cubicBezTo>
                <a:cubicBezTo>
                  <a:pt x="1787674" y="6340291"/>
                  <a:pt x="1789387" y="6334073"/>
                  <a:pt x="1792813" y="6330143"/>
                </a:cubicBezTo>
                <a:cubicBezTo>
                  <a:pt x="1796239" y="6326213"/>
                  <a:pt x="1800693" y="6324248"/>
                  <a:pt x="1806175" y="6324248"/>
                </a:cubicBezTo>
                <a:cubicBezTo>
                  <a:pt x="1809803" y="6324248"/>
                  <a:pt x="1812896" y="6325337"/>
                  <a:pt x="1815456" y="6327513"/>
                </a:cubicBezTo>
                <a:cubicBezTo>
                  <a:pt x="1818015" y="6329690"/>
                  <a:pt x="1819799" y="6332935"/>
                  <a:pt x="1820806" y="6337248"/>
                </a:cubicBezTo>
                <a:lnTo>
                  <a:pt x="1831387" y="6335615"/>
                </a:lnTo>
                <a:cubicBezTo>
                  <a:pt x="1830138" y="6329126"/>
                  <a:pt x="1827296" y="6324117"/>
                  <a:pt x="1822862" y="6320591"/>
                </a:cubicBezTo>
                <a:cubicBezTo>
                  <a:pt x="1818428" y="6317064"/>
                  <a:pt x="1812725" y="6315300"/>
                  <a:pt x="1805752" y="6315300"/>
                </a:cubicBezTo>
                <a:close/>
                <a:moveTo>
                  <a:pt x="1515165" y="6315300"/>
                </a:moveTo>
                <a:cubicBezTo>
                  <a:pt x="1511819" y="6315300"/>
                  <a:pt x="1508685" y="6315733"/>
                  <a:pt x="1505763" y="6316600"/>
                </a:cubicBezTo>
                <a:cubicBezTo>
                  <a:pt x="1502840" y="6317467"/>
                  <a:pt x="1500533" y="6318525"/>
                  <a:pt x="1498840" y="6319774"/>
                </a:cubicBezTo>
                <a:cubicBezTo>
                  <a:pt x="1496583" y="6321387"/>
                  <a:pt x="1494799" y="6323412"/>
                  <a:pt x="1493489" y="6325851"/>
                </a:cubicBezTo>
                <a:cubicBezTo>
                  <a:pt x="1492179" y="6328289"/>
                  <a:pt x="1491524" y="6330939"/>
                  <a:pt x="1491524" y="6333801"/>
                </a:cubicBezTo>
                <a:cubicBezTo>
                  <a:pt x="1491524" y="6336945"/>
                  <a:pt x="1492320" y="6339817"/>
                  <a:pt x="1493913" y="6342417"/>
                </a:cubicBezTo>
                <a:cubicBezTo>
                  <a:pt x="1495505" y="6345017"/>
                  <a:pt x="1497843" y="6347052"/>
                  <a:pt x="1500926" y="6348524"/>
                </a:cubicBezTo>
                <a:cubicBezTo>
                  <a:pt x="1504009" y="6349995"/>
                  <a:pt x="1509542" y="6351738"/>
                  <a:pt x="1517523" y="6353754"/>
                </a:cubicBezTo>
                <a:cubicBezTo>
                  <a:pt x="1523448" y="6355245"/>
                  <a:pt x="1527156" y="6356474"/>
                  <a:pt x="1528648" y="6357442"/>
                </a:cubicBezTo>
                <a:cubicBezTo>
                  <a:pt x="1530784" y="6358853"/>
                  <a:pt x="1531852" y="6360787"/>
                  <a:pt x="1531852" y="6363246"/>
                </a:cubicBezTo>
                <a:cubicBezTo>
                  <a:pt x="1531852" y="6365987"/>
                  <a:pt x="1530643" y="6368375"/>
                  <a:pt x="1528224" y="6370411"/>
                </a:cubicBezTo>
                <a:cubicBezTo>
                  <a:pt x="1525806" y="6372446"/>
                  <a:pt x="1522097" y="6373464"/>
                  <a:pt x="1517100" y="6373464"/>
                </a:cubicBezTo>
                <a:cubicBezTo>
                  <a:pt x="1512141" y="6373464"/>
                  <a:pt x="1508282" y="6372315"/>
                  <a:pt x="1505521" y="6370018"/>
                </a:cubicBezTo>
                <a:cubicBezTo>
                  <a:pt x="1502760" y="6367720"/>
                  <a:pt x="1501077" y="6364415"/>
                  <a:pt x="1500472" y="6360102"/>
                </a:cubicBezTo>
                <a:lnTo>
                  <a:pt x="1489710" y="6361795"/>
                </a:lnTo>
                <a:cubicBezTo>
                  <a:pt x="1490920" y="6368607"/>
                  <a:pt x="1493711" y="6373746"/>
                  <a:pt x="1498084" y="6377213"/>
                </a:cubicBezTo>
                <a:cubicBezTo>
                  <a:pt x="1502458" y="6380679"/>
                  <a:pt x="1508816" y="6382412"/>
                  <a:pt x="1517160" y="6382412"/>
                </a:cubicBezTo>
                <a:cubicBezTo>
                  <a:pt x="1522198" y="6382412"/>
                  <a:pt x="1526713" y="6381536"/>
                  <a:pt x="1530703" y="6379782"/>
                </a:cubicBezTo>
                <a:cubicBezTo>
                  <a:pt x="1534694" y="6378029"/>
                  <a:pt x="1537747" y="6375550"/>
                  <a:pt x="1539863" y="6372345"/>
                </a:cubicBezTo>
                <a:cubicBezTo>
                  <a:pt x="1541979" y="6369141"/>
                  <a:pt x="1543037" y="6365725"/>
                  <a:pt x="1543037" y="6362097"/>
                </a:cubicBezTo>
                <a:cubicBezTo>
                  <a:pt x="1543037" y="6358389"/>
                  <a:pt x="1542171" y="6355285"/>
                  <a:pt x="1540437" y="6352786"/>
                </a:cubicBezTo>
                <a:cubicBezTo>
                  <a:pt x="1538704" y="6350287"/>
                  <a:pt x="1536316" y="6348383"/>
                  <a:pt x="1533273" y="6347073"/>
                </a:cubicBezTo>
                <a:cubicBezTo>
                  <a:pt x="1530230" y="6345763"/>
                  <a:pt x="1524859" y="6344080"/>
                  <a:pt x="1517160" y="6342024"/>
                </a:cubicBezTo>
                <a:cubicBezTo>
                  <a:pt x="1511839" y="6340573"/>
                  <a:pt x="1508635" y="6339646"/>
                  <a:pt x="1507547" y="6339243"/>
                </a:cubicBezTo>
                <a:cubicBezTo>
                  <a:pt x="1505652" y="6338477"/>
                  <a:pt x="1504261" y="6337510"/>
                  <a:pt x="1503375" y="6336341"/>
                </a:cubicBezTo>
                <a:cubicBezTo>
                  <a:pt x="1502488" y="6335212"/>
                  <a:pt x="1502044" y="6333942"/>
                  <a:pt x="1502044" y="6332532"/>
                </a:cubicBezTo>
                <a:cubicBezTo>
                  <a:pt x="1502044" y="6330315"/>
                  <a:pt x="1503113" y="6328380"/>
                  <a:pt x="1505249" y="6326727"/>
                </a:cubicBezTo>
                <a:cubicBezTo>
                  <a:pt x="1507385" y="6325075"/>
                  <a:pt x="1510953" y="6324248"/>
                  <a:pt x="1515951" y="6324248"/>
                </a:cubicBezTo>
                <a:cubicBezTo>
                  <a:pt x="1520183" y="6324248"/>
                  <a:pt x="1523458" y="6325176"/>
                  <a:pt x="1525776" y="6327030"/>
                </a:cubicBezTo>
                <a:cubicBezTo>
                  <a:pt x="1528093" y="6328884"/>
                  <a:pt x="1529494" y="6331463"/>
                  <a:pt x="1529978" y="6334769"/>
                </a:cubicBezTo>
                <a:lnTo>
                  <a:pt x="1540619" y="6333318"/>
                </a:lnTo>
                <a:cubicBezTo>
                  <a:pt x="1539934" y="6329166"/>
                  <a:pt x="1538684" y="6325851"/>
                  <a:pt x="1536870" y="6323372"/>
                </a:cubicBezTo>
                <a:cubicBezTo>
                  <a:pt x="1535056" y="6320893"/>
                  <a:pt x="1532245" y="6318928"/>
                  <a:pt x="1528436" y="6317477"/>
                </a:cubicBezTo>
                <a:cubicBezTo>
                  <a:pt x="1524627" y="6316026"/>
                  <a:pt x="1520203" y="6315300"/>
                  <a:pt x="1515165" y="6315300"/>
                </a:cubicBezTo>
                <a:close/>
                <a:moveTo>
                  <a:pt x="1479544" y="6315300"/>
                </a:moveTo>
                <a:cubicBezTo>
                  <a:pt x="1477004" y="6315300"/>
                  <a:pt x="1474676" y="6316026"/>
                  <a:pt x="1472560" y="6317477"/>
                </a:cubicBezTo>
                <a:cubicBezTo>
                  <a:pt x="1470444" y="6318928"/>
                  <a:pt x="1468136" y="6321931"/>
                  <a:pt x="1465638" y="6326486"/>
                </a:cubicBezTo>
                <a:lnTo>
                  <a:pt x="1465638" y="6316751"/>
                </a:lnTo>
                <a:lnTo>
                  <a:pt x="1455843" y="6316751"/>
                </a:lnTo>
                <a:lnTo>
                  <a:pt x="1455843" y="6380961"/>
                </a:lnTo>
                <a:lnTo>
                  <a:pt x="1466726" y="6380961"/>
                </a:lnTo>
                <a:lnTo>
                  <a:pt x="1466726" y="6347345"/>
                </a:lnTo>
                <a:cubicBezTo>
                  <a:pt x="1466726" y="6342750"/>
                  <a:pt x="1467330" y="6338517"/>
                  <a:pt x="1468540" y="6334648"/>
                </a:cubicBezTo>
                <a:cubicBezTo>
                  <a:pt x="1469346" y="6332108"/>
                  <a:pt x="1470696" y="6330123"/>
                  <a:pt x="1472590" y="6328692"/>
                </a:cubicBezTo>
                <a:cubicBezTo>
                  <a:pt x="1474485" y="6327261"/>
                  <a:pt x="1476621" y="6326546"/>
                  <a:pt x="1479000" y="6326546"/>
                </a:cubicBezTo>
                <a:cubicBezTo>
                  <a:pt x="1481660" y="6326546"/>
                  <a:pt x="1484320" y="6327332"/>
                  <a:pt x="1486980" y="6328904"/>
                </a:cubicBezTo>
                <a:lnTo>
                  <a:pt x="1490729" y="6318807"/>
                </a:lnTo>
                <a:cubicBezTo>
                  <a:pt x="1486940" y="6316469"/>
                  <a:pt x="1483212" y="6315300"/>
                  <a:pt x="1479544" y="6315300"/>
                </a:cubicBezTo>
                <a:close/>
                <a:moveTo>
                  <a:pt x="1416436" y="6315300"/>
                </a:moveTo>
                <a:cubicBezTo>
                  <a:pt x="1410914" y="6315300"/>
                  <a:pt x="1406057" y="6316056"/>
                  <a:pt x="1401865" y="6317567"/>
                </a:cubicBezTo>
                <a:cubicBezTo>
                  <a:pt x="1397673" y="6319079"/>
                  <a:pt x="1394468" y="6321235"/>
                  <a:pt x="1392251" y="6324037"/>
                </a:cubicBezTo>
                <a:cubicBezTo>
                  <a:pt x="1390034" y="6326838"/>
                  <a:pt x="1388442" y="6330516"/>
                  <a:pt x="1387475" y="6335071"/>
                </a:cubicBezTo>
                <a:lnTo>
                  <a:pt x="1398116" y="6336522"/>
                </a:lnTo>
                <a:cubicBezTo>
                  <a:pt x="1399285" y="6331967"/>
                  <a:pt x="1401089" y="6328793"/>
                  <a:pt x="1403527" y="6326999"/>
                </a:cubicBezTo>
                <a:cubicBezTo>
                  <a:pt x="1405966" y="6325206"/>
                  <a:pt x="1409745" y="6324309"/>
                  <a:pt x="1414864" y="6324309"/>
                </a:cubicBezTo>
                <a:cubicBezTo>
                  <a:pt x="1420345" y="6324309"/>
                  <a:pt x="1424477" y="6325538"/>
                  <a:pt x="1427258" y="6327997"/>
                </a:cubicBezTo>
                <a:cubicBezTo>
                  <a:pt x="1429314" y="6329811"/>
                  <a:pt x="1430342" y="6332935"/>
                  <a:pt x="1430342" y="6337369"/>
                </a:cubicBezTo>
                <a:cubicBezTo>
                  <a:pt x="1430342" y="6337772"/>
                  <a:pt x="1430322" y="6338719"/>
                  <a:pt x="1430281" y="6340210"/>
                </a:cubicBezTo>
                <a:cubicBezTo>
                  <a:pt x="1426130" y="6341661"/>
                  <a:pt x="1419660" y="6342911"/>
                  <a:pt x="1410873" y="6343959"/>
                </a:cubicBezTo>
                <a:cubicBezTo>
                  <a:pt x="1406561" y="6344483"/>
                  <a:pt x="1403336" y="6345027"/>
                  <a:pt x="1401199" y="6345591"/>
                </a:cubicBezTo>
                <a:cubicBezTo>
                  <a:pt x="1398297" y="6346397"/>
                  <a:pt x="1395687" y="6347587"/>
                  <a:pt x="1393370" y="6349159"/>
                </a:cubicBezTo>
                <a:cubicBezTo>
                  <a:pt x="1391052" y="6350731"/>
                  <a:pt x="1389178" y="6352816"/>
                  <a:pt x="1387747" y="6355416"/>
                </a:cubicBezTo>
                <a:cubicBezTo>
                  <a:pt x="1386316" y="6358016"/>
                  <a:pt x="1385600" y="6360888"/>
                  <a:pt x="1385600" y="6364032"/>
                </a:cubicBezTo>
                <a:cubicBezTo>
                  <a:pt x="1385600" y="6369393"/>
                  <a:pt x="1387495" y="6373797"/>
                  <a:pt x="1391284" y="6377243"/>
                </a:cubicBezTo>
                <a:cubicBezTo>
                  <a:pt x="1395073" y="6380689"/>
                  <a:pt x="1400494" y="6382412"/>
                  <a:pt x="1407548" y="6382412"/>
                </a:cubicBezTo>
                <a:cubicBezTo>
                  <a:pt x="1411821" y="6382412"/>
                  <a:pt x="1415821" y="6381707"/>
                  <a:pt x="1419550" y="6380296"/>
                </a:cubicBezTo>
                <a:cubicBezTo>
                  <a:pt x="1423278" y="6378885"/>
                  <a:pt x="1427158" y="6376467"/>
                  <a:pt x="1431188" y="6373041"/>
                </a:cubicBezTo>
                <a:cubicBezTo>
                  <a:pt x="1431511" y="6376064"/>
                  <a:pt x="1432236" y="6378704"/>
                  <a:pt x="1433365" y="6380961"/>
                </a:cubicBezTo>
                <a:lnTo>
                  <a:pt x="1444732" y="6380961"/>
                </a:lnTo>
                <a:cubicBezTo>
                  <a:pt x="1443361" y="6378502"/>
                  <a:pt x="1442444" y="6375933"/>
                  <a:pt x="1441981" y="6373252"/>
                </a:cubicBezTo>
                <a:cubicBezTo>
                  <a:pt x="1441517" y="6370572"/>
                  <a:pt x="1441285" y="6364173"/>
                  <a:pt x="1441285" y="6354056"/>
                </a:cubicBezTo>
                <a:lnTo>
                  <a:pt x="1441285" y="6339545"/>
                </a:lnTo>
                <a:cubicBezTo>
                  <a:pt x="1441285" y="6334708"/>
                  <a:pt x="1441104" y="6331363"/>
                  <a:pt x="1440741" y="6329509"/>
                </a:cubicBezTo>
                <a:cubicBezTo>
                  <a:pt x="1440096" y="6326526"/>
                  <a:pt x="1438968" y="6324057"/>
                  <a:pt x="1437355" y="6322102"/>
                </a:cubicBezTo>
                <a:cubicBezTo>
                  <a:pt x="1435743" y="6320147"/>
                  <a:pt x="1433224" y="6318525"/>
                  <a:pt x="1429798" y="6317235"/>
                </a:cubicBezTo>
                <a:cubicBezTo>
                  <a:pt x="1426372" y="6315945"/>
                  <a:pt x="1421917" y="6315300"/>
                  <a:pt x="1416436" y="6315300"/>
                </a:cubicBezTo>
                <a:close/>
                <a:moveTo>
                  <a:pt x="1167698" y="6315300"/>
                </a:moveTo>
                <a:cubicBezTo>
                  <a:pt x="1159757" y="6315300"/>
                  <a:pt x="1153026" y="6317678"/>
                  <a:pt x="1147503" y="6322435"/>
                </a:cubicBezTo>
                <a:cubicBezTo>
                  <a:pt x="1140893" y="6328158"/>
                  <a:pt x="1137588" y="6336965"/>
                  <a:pt x="1137588" y="6348856"/>
                </a:cubicBezTo>
                <a:cubicBezTo>
                  <a:pt x="1137588" y="6359699"/>
                  <a:pt x="1140359" y="6368002"/>
                  <a:pt x="1145901" y="6373766"/>
                </a:cubicBezTo>
                <a:cubicBezTo>
                  <a:pt x="1151443" y="6379530"/>
                  <a:pt x="1158709" y="6382412"/>
                  <a:pt x="1167698" y="6382412"/>
                </a:cubicBezTo>
                <a:cubicBezTo>
                  <a:pt x="1173300" y="6382412"/>
                  <a:pt x="1178470" y="6381102"/>
                  <a:pt x="1183206" y="6378482"/>
                </a:cubicBezTo>
                <a:cubicBezTo>
                  <a:pt x="1187942" y="6375862"/>
                  <a:pt x="1191550" y="6372184"/>
                  <a:pt x="1194028" y="6367448"/>
                </a:cubicBezTo>
                <a:cubicBezTo>
                  <a:pt x="1196507" y="6362712"/>
                  <a:pt x="1197747" y="6356212"/>
                  <a:pt x="1197747" y="6347949"/>
                </a:cubicBezTo>
                <a:cubicBezTo>
                  <a:pt x="1197747" y="6337751"/>
                  <a:pt x="1194945" y="6329761"/>
                  <a:pt x="1189343" y="6323976"/>
                </a:cubicBezTo>
                <a:cubicBezTo>
                  <a:pt x="1183740" y="6318192"/>
                  <a:pt x="1176525" y="6315300"/>
                  <a:pt x="1167698" y="6315300"/>
                </a:cubicBezTo>
                <a:close/>
                <a:moveTo>
                  <a:pt x="1057965" y="6315300"/>
                </a:moveTo>
                <a:cubicBezTo>
                  <a:pt x="1054619" y="6315300"/>
                  <a:pt x="1051485" y="6315733"/>
                  <a:pt x="1048563" y="6316600"/>
                </a:cubicBezTo>
                <a:cubicBezTo>
                  <a:pt x="1045641" y="6317467"/>
                  <a:pt x="1043333" y="6318525"/>
                  <a:pt x="1041640" y="6319774"/>
                </a:cubicBezTo>
                <a:cubicBezTo>
                  <a:pt x="1039383" y="6321387"/>
                  <a:pt x="1037599" y="6323412"/>
                  <a:pt x="1036289" y="6325851"/>
                </a:cubicBezTo>
                <a:cubicBezTo>
                  <a:pt x="1034979" y="6328289"/>
                  <a:pt x="1034324" y="6330939"/>
                  <a:pt x="1034324" y="6333801"/>
                </a:cubicBezTo>
                <a:cubicBezTo>
                  <a:pt x="1034324" y="6336945"/>
                  <a:pt x="1035120" y="6339817"/>
                  <a:pt x="1036712" y="6342417"/>
                </a:cubicBezTo>
                <a:cubicBezTo>
                  <a:pt x="1038304" y="6345017"/>
                  <a:pt x="1040642" y="6347052"/>
                  <a:pt x="1043726" y="6348524"/>
                </a:cubicBezTo>
                <a:cubicBezTo>
                  <a:pt x="1046809" y="6349995"/>
                  <a:pt x="1052342" y="6351738"/>
                  <a:pt x="1060323" y="6353754"/>
                </a:cubicBezTo>
                <a:cubicBezTo>
                  <a:pt x="1066248" y="6355245"/>
                  <a:pt x="1069956" y="6356474"/>
                  <a:pt x="1071447" y="6357442"/>
                </a:cubicBezTo>
                <a:cubicBezTo>
                  <a:pt x="1073584" y="6358853"/>
                  <a:pt x="1074652" y="6360787"/>
                  <a:pt x="1074652" y="6363246"/>
                </a:cubicBezTo>
                <a:cubicBezTo>
                  <a:pt x="1074652" y="6365987"/>
                  <a:pt x="1073443" y="6368375"/>
                  <a:pt x="1071024" y="6370411"/>
                </a:cubicBezTo>
                <a:cubicBezTo>
                  <a:pt x="1068606" y="6372446"/>
                  <a:pt x="1064898" y="6373464"/>
                  <a:pt x="1059899" y="6373464"/>
                </a:cubicBezTo>
                <a:cubicBezTo>
                  <a:pt x="1054942" y="6373464"/>
                  <a:pt x="1051082" y="6372315"/>
                  <a:pt x="1048321" y="6370018"/>
                </a:cubicBezTo>
                <a:cubicBezTo>
                  <a:pt x="1045560" y="6367720"/>
                  <a:pt x="1043877" y="6364415"/>
                  <a:pt x="1043272" y="6360102"/>
                </a:cubicBezTo>
                <a:lnTo>
                  <a:pt x="1032510" y="6361795"/>
                </a:lnTo>
                <a:cubicBezTo>
                  <a:pt x="1033720" y="6368607"/>
                  <a:pt x="1036511" y="6373746"/>
                  <a:pt x="1040884" y="6377213"/>
                </a:cubicBezTo>
                <a:cubicBezTo>
                  <a:pt x="1045258" y="6380679"/>
                  <a:pt x="1051616" y="6382412"/>
                  <a:pt x="1059960" y="6382412"/>
                </a:cubicBezTo>
                <a:cubicBezTo>
                  <a:pt x="1064998" y="6382412"/>
                  <a:pt x="1069513" y="6381536"/>
                  <a:pt x="1073503" y="6379782"/>
                </a:cubicBezTo>
                <a:cubicBezTo>
                  <a:pt x="1077494" y="6378029"/>
                  <a:pt x="1080547" y="6375550"/>
                  <a:pt x="1082663" y="6372345"/>
                </a:cubicBezTo>
                <a:cubicBezTo>
                  <a:pt x="1084779" y="6369141"/>
                  <a:pt x="1085837" y="6365725"/>
                  <a:pt x="1085837" y="6362097"/>
                </a:cubicBezTo>
                <a:cubicBezTo>
                  <a:pt x="1085837" y="6358389"/>
                  <a:pt x="1084971" y="6355285"/>
                  <a:pt x="1083237" y="6352786"/>
                </a:cubicBezTo>
                <a:cubicBezTo>
                  <a:pt x="1081504" y="6350287"/>
                  <a:pt x="1079116" y="6348383"/>
                  <a:pt x="1076073" y="6347073"/>
                </a:cubicBezTo>
                <a:cubicBezTo>
                  <a:pt x="1073030" y="6345763"/>
                  <a:pt x="1067659" y="6344080"/>
                  <a:pt x="1059960" y="6342024"/>
                </a:cubicBezTo>
                <a:cubicBezTo>
                  <a:pt x="1054639" y="6340573"/>
                  <a:pt x="1051435" y="6339646"/>
                  <a:pt x="1050346" y="6339243"/>
                </a:cubicBezTo>
                <a:cubicBezTo>
                  <a:pt x="1048452" y="6338477"/>
                  <a:pt x="1047061" y="6337510"/>
                  <a:pt x="1046175" y="6336341"/>
                </a:cubicBezTo>
                <a:cubicBezTo>
                  <a:pt x="1045288" y="6335212"/>
                  <a:pt x="1044844" y="6333942"/>
                  <a:pt x="1044844" y="6332532"/>
                </a:cubicBezTo>
                <a:cubicBezTo>
                  <a:pt x="1044844" y="6330315"/>
                  <a:pt x="1045913" y="6328380"/>
                  <a:pt x="1048049" y="6326727"/>
                </a:cubicBezTo>
                <a:cubicBezTo>
                  <a:pt x="1050185" y="6325075"/>
                  <a:pt x="1053753" y="6324248"/>
                  <a:pt x="1058751" y="6324248"/>
                </a:cubicBezTo>
                <a:cubicBezTo>
                  <a:pt x="1062983" y="6324248"/>
                  <a:pt x="1066258" y="6325176"/>
                  <a:pt x="1068576" y="6327030"/>
                </a:cubicBezTo>
                <a:cubicBezTo>
                  <a:pt x="1070893" y="6328884"/>
                  <a:pt x="1072294" y="6331463"/>
                  <a:pt x="1072778" y="6334769"/>
                </a:cubicBezTo>
                <a:lnTo>
                  <a:pt x="1083419" y="6333318"/>
                </a:lnTo>
                <a:cubicBezTo>
                  <a:pt x="1082734" y="6329166"/>
                  <a:pt x="1081484" y="6325851"/>
                  <a:pt x="1079670" y="6323372"/>
                </a:cubicBezTo>
                <a:cubicBezTo>
                  <a:pt x="1077856" y="6320893"/>
                  <a:pt x="1075045" y="6318928"/>
                  <a:pt x="1071236" y="6317477"/>
                </a:cubicBezTo>
                <a:cubicBezTo>
                  <a:pt x="1067427" y="6316026"/>
                  <a:pt x="1063003" y="6315300"/>
                  <a:pt x="1057965" y="6315300"/>
                </a:cubicBezTo>
                <a:close/>
                <a:moveTo>
                  <a:pt x="991290" y="6315300"/>
                </a:moveTo>
                <a:cubicBezTo>
                  <a:pt x="987944" y="6315300"/>
                  <a:pt x="984810" y="6315733"/>
                  <a:pt x="981888" y="6316600"/>
                </a:cubicBezTo>
                <a:cubicBezTo>
                  <a:pt x="978965" y="6317467"/>
                  <a:pt x="976658" y="6318525"/>
                  <a:pt x="974965" y="6319774"/>
                </a:cubicBezTo>
                <a:cubicBezTo>
                  <a:pt x="972708" y="6321387"/>
                  <a:pt x="970924" y="6323412"/>
                  <a:pt x="969614" y="6325851"/>
                </a:cubicBezTo>
                <a:cubicBezTo>
                  <a:pt x="968304" y="6328289"/>
                  <a:pt x="967649" y="6330939"/>
                  <a:pt x="967649" y="6333801"/>
                </a:cubicBezTo>
                <a:cubicBezTo>
                  <a:pt x="967649" y="6336945"/>
                  <a:pt x="968445" y="6339817"/>
                  <a:pt x="970037" y="6342417"/>
                </a:cubicBezTo>
                <a:cubicBezTo>
                  <a:pt x="971630" y="6345017"/>
                  <a:pt x="973967" y="6347052"/>
                  <a:pt x="977051" y="6348524"/>
                </a:cubicBezTo>
                <a:cubicBezTo>
                  <a:pt x="980134" y="6349995"/>
                  <a:pt x="985667" y="6351738"/>
                  <a:pt x="993648" y="6353754"/>
                </a:cubicBezTo>
                <a:cubicBezTo>
                  <a:pt x="999573" y="6355245"/>
                  <a:pt x="1003281" y="6356474"/>
                  <a:pt x="1004772" y="6357442"/>
                </a:cubicBezTo>
                <a:cubicBezTo>
                  <a:pt x="1006909" y="6358853"/>
                  <a:pt x="1007977" y="6360787"/>
                  <a:pt x="1007977" y="6363246"/>
                </a:cubicBezTo>
                <a:cubicBezTo>
                  <a:pt x="1007977" y="6365987"/>
                  <a:pt x="1006768" y="6368375"/>
                  <a:pt x="1004349" y="6370411"/>
                </a:cubicBezTo>
                <a:cubicBezTo>
                  <a:pt x="1001931" y="6372446"/>
                  <a:pt x="998222" y="6373464"/>
                  <a:pt x="993224" y="6373464"/>
                </a:cubicBezTo>
                <a:cubicBezTo>
                  <a:pt x="988266" y="6373464"/>
                  <a:pt x="984407" y="6372315"/>
                  <a:pt x="981646" y="6370018"/>
                </a:cubicBezTo>
                <a:cubicBezTo>
                  <a:pt x="978885" y="6367720"/>
                  <a:pt x="977202" y="6364415"/>
                  <a:pt x="976598" y="6360102"/>
                </a:cubicBezTo>
                <a:lnTo>
                  <a:pt x="965835" y="6361795"/>
                </a:lnTo>
                <a:cubicBezTo>
                  <a:pt x="967044" y="6368607"/>
                  <a:pt x="969836" y="6373746"/>
                  <a:pt x="974209" y="6377213"/>
                </a:cubicBezTo>
                <a:cubicBezTo>
                  <a:pt x="978583" y="6380679"/>
                  <a:pt x="984941" y="6382412"/>
                  <a:pt x="993285" y="6382412"/>
                </a:cubicBezTo>
                <a:cubicBezTo>
                  <a:pt x="998323" y="6382412"/>
                  <a:pt x="1002838" y="6381536"/>
                  <a:pt x="1006828" y="6379782"/>
                </a:cubicBezTo>
                <a:cubicBezTo>
                  <a:pt x="1010819" y="6378029"/>
                  <a:pt x="1013872" y="6375550"/>
                  <a:pt x="1015988" y="6372345"/>
                </a:cubicBezTo>
                <a:cubicBezTo>
                  <a:pt x="1018104" y="6369141"/>
                  <a:pt x="1019162" y="6365725"/>
                  <a:pt x="1019162" y="6362097"/>
                </a:cubicBezTo>
                <a:cubicBezTo>
                  <a:pt x="1019162" y="6358389"/>
                  <a:pt x="1018296" y="6355285"/>
                  <a:pt x="1016562" y="6352786"/>
                </a:cubicBezTo>
                <a:cubicBezTo>
                  <a:pt x="1014829" y="6350287"/>
                  <a:pt x="1012441" y="6348383"/>
                  <a:pt x="1009398" y="6347073"/>
                </a:cubicBezTo>
                <a:cubicBezTo>
                  <a:pt x="1006354" y="6345763"/>
                  <a:pt x="1000984" y="6344080"/>
                  <a:pt x="993285" y="6342024"/>
                </a:cubicBezTo>
                <a:cubicBezTo>
                  <a:pt x="987964" y="6340573"/>
                  <a:pt x="984760" y="6339646"/>
                  <a:pt x="983671" y="6339243"/>
                </a:cubicBezTo>
                <a:cubicBezTo>
                  <a:pt x="981777" y="6338477"/>
                  <a:pt x="980386" y="6337510"/>
                  <a:pt x="979500" y="6336341"/>
                </a:cubicBezTo>
                <a:cubicBezTo>
                  <a:pt x="978613" y="6335212"/>
                  <a:pt x="978170" y="6333942"/>
                  <a:pt x="978170" y="6332532"/>
                </a:cubicBezTo>
                <a:cubicBezTo>
                  <a:pt x="978170" y="6330315"/>
                  <a:pt x="979238" y="6328380"/>
                  <a:pt x="981374" y="6326727"/>
                </a:cubicBezTo>
                <a:cubicBezTo>
                  <a:pt x="983510" y="6325075"/>
                  <a:pt x="987077" y="6324248"/>
                  <a:pt x="992076" y="6324248"/>
                </a:cubicBezTo>
                <a:cubicBezTo>
                  <a:pt x="996308" y="6324248"/>
                  <a:pt x="999583" y="6325176"/>
                  <a:pt x="1001900" y="6327030"/>
                </a:cubicBezTo>
                <a:cubicBezTo>
                  <a:pt x="1004218" y="6328884"/>
                  <a:pt x="1005619" y="6331463"/>
                  <a:pt x="1006103" y="6334769"/>
                </a:cubicBezTo>
                <a:lnTo>
                  <a:pt x="1016744" y="6333318"/>
                </a:lnTo>
                <a:cubicBezTo>
                  <a:pt x="1016059" y="6329166"/>
                  <a:pt x="1014809" y="6325851"/>
                  <a:pt x="1012995" y="6323372"/>
                </a:cubicBezTo>
                <a:cubicBezTo>
                  <a:pt x="1011181" y="6320893"/>
                  <a:pt x="1008370" y="6318928"/>
                  <a:pt x="1004561" y="6317477"/>
                </a:cubicBezTo>
                <a:cubicBezTo>
                  <a:pt x="1000752" y="6316026"/>
                  <a:pt x="996328" y="6315300"/>
                  <a:pt x="991290" y="6315300"/>
                </a:cubicBezTo>
                <a:close/>
                <a:moveTo>
                  <a:pt x="929875" y="6315300"/>
                </a:moveTo>
                <a:cubicBezTo>
                  <a:pt x="921007" y="6315300"/>
                  <a:pt x="913792" y="6318283"/>
                  <a:pt x="908229" y="6324248"/>
                </a:cubicBezTo>
                <a:cubicBezTo>
                  <a:pt x="902667" y="6330214"/>
                  <a:pt x="899886" y="6338598"/>
                  <a:pt x="899886" y="6349400"/>
                </a:cubicBezTo>
                <a:cubicBezTo>
                  <a:pt x="899886" y="6359840"/>
                  <a:pt x="902637" y="6367952"/>
                  <a:pt x="908139" y="6373736"/>
                </a:cubicBezTo>
                <a:cubicBezTo>
                  <a:pt x="913641" y="6379520"/>
                  <a:pt x="921088" y="6382412"/>
                  <a:pt x="930479" y="6382412"/>
                </a:cubicBezTo>
                <a:cubicBezTo>
                  <a:pt x="937936" y="6382412"/>
                  <a:pt x="944063" y="6380598"/>
                  <a:pt x="948860" y="6376971"/>
                </a:cubicBezTo>
                <a:cubicBezTo>
                  <a:pt x="953656" y="6373343"/>
                  <a:pt x="956941" y="6368244"/>
                  <a:pt x="958715" y="6361674"/>
                </a:cubicBezTo>
                <a:lnTo>
                  <a:pt x="947469" y="6360283"/>
                </a:lnTo>
                <a:cubicBezTo>
                  <a:pt x="945816" y="6364879"/>
                  <a:pt x="943579" y="6368224"/>
                  <a:pt x="940758" y="6370320"/>
                </a:cubicBezTo>
                <a:cubicBezTo>
                  <a:pt x="937936" y="6372416"/>
                  <a:pt x="934530" y="6373464"/>
                  <a:pt x="930540" y="6373464"/>
                </a:cubicBezTo>
                <a:cubicBezTo>
                  <a:pt x="925179" y="6373464"/>
                  <a:pt x="920705" y="6371590"/>
                  <a:pt x="917117" y="6367841"/>
                </a:cubicBezTo>
                <a:cubicBezTo>
                  <a:pt x="913530" y="6364093"/>
                  <a:pt x="911535" y="6358691"/>
                  <a:pt x="911132" y="6351637"/>
                </a:cubicBezTo>
                <a:lnTo>
                  <a:pt x="959017" y="6351637"/>
                </a:lnTo>
                <a:cubicBezTo>
                  <a:pt x="959057" y="6350348"/>
                  <a:pt x="959078" y="6349380"/>
                  <a:pt x="959078" y="6348735"/>
                </a:cubicBezTo>
                <a:cubicBezTo>
                  <a:pt x="959078" y="6338134"/>
                  <a:pt x="956357" y="6329912"/>
                  <a:pt x="950915" y="6324067"/>
                </a:cubicBezTo>
                <a:cubicBezTo>
                  <a:pt x="945474" y="6318222"/>
                  <a:pt x="938460" y="6315300"/>
                  <a:pt x="929875" y="6315300"/>
                </a:cubicBezTo>
                <a:close/>
                <a:moveTo>
                  <a:pt x="867069" y="6315300"/>
                </a:moveTo>
                <a:cubicBezTo>
                  <a:pt x="858161" y="6315300"/>
                  <a:pt x="851349" y="6318827"/>
                  <a:pt x="846633" y="6325881"/>
                </a:cubicBezTo>
                <a:lnTo>
                  <a:pt x="846633" y="6316751"/>
                </a:lnTo>
                <a:lnTo>
                  <a:pt x="836839" y="6316751"/>
                </a:lnTo>
                <a:lnTo>
                  <a:pt x="836839" y="6380961"/>
                </a:lnTo>
                <a:lnTo>
                  <a:pt x="847722" y="6380961"/>
                </a:lnTo>
                <a:lnTo>
                  <a:pt x="847722" y="6345894"/>
                </a:lnTo>
                <a:cubicBezTo>
                  <a:pt x="847722" y="6337671"/>
                  <a:pt x="849405" y="6332088"/>
                  <a:pt x="852770" y="6329146"/>
                </a:cubicBezTo>
                <a:cubicBezTo>
                  <a:pt x="856136" y="6326203"/>
                  <a:pt x="860136" y="6324732"/>
                  <a:pt x="864772" y="6324732"/>
                </a:cubicBezTo>
                <a:cubicBezTo>
                  <a:pt x="867674" y="6324732"/>
                  <a:pt x="870203" y="6325387"/>
                  <a:pt x="872360" y="6326697"/>
                </a:cubicBezTo>
                <a:cubicBezTo>
                  <a:pt x="874516" y="6328007"/>
                  <a:pt x="876018" y="6329761"/>
                  <a:pt x="876864" y="6331957"/>
                </a:cubicBezTo>
                <a:cubicBezTo>
                  <a:pt x="877710" y="6334154"/>
                  <a:pt x="878134" y="6337469"/>
                  <a:pt x="878134" y="6341903"/>
                </a:cubicBezTo>
                <a:lnTo>
                  <a:pt x="878134" y="6380961"/>
                </a:lnTo>
                <a:lnTo>
                  <a:pt x="889017" y="6380961"/>
                </a:lnTo>
                <a:lnTo>
                  <a:pt x="889017" y="6341480"/>
                </a:lnTo>
                <a:cubicBezTo>
                  <a:pt x="889017" y="6336441"/>
                  <a:pt x="888815" y="6332915"/>
                  <a:pt x="888412" y="6330899"/>
                </a:cubicBezTo>
                <a:cubicBezTo>
                  <a:pt x="887767" y="6327796"/>
                  <a:pt x="886639" y="6325115"/>
                  <a:pt x="885026" y="6322858"/>
                </a:cubicBezTo>
                <a:cubicBezTo>
                  <a:pt x="883414" y="6320601"/>
                  <a:pt x="880985" y="6318777"/>
                  <a:pt x="877741" y="6317386"/>
                </a:cubicBezTo>
                <a:cubicBezTo>
                  <a:pt x="874496" y="6315995"/>
                  <a:pt x="870939" y="6315300"/>
                  <a:pt x="867069" y="6315300"/>
                </a:cubicBezTo>
                <a:close/>
                <a:moveTo>
                  <a:pt x="762690" y="6315300"/>
                </a:moveTo>
                <a:cubicBezTo>
                  <a:pt x="759344" y="6315300"/>
                  <a:pt x="756210" y="6315733"/>
                  <a:pt x="753288" y="6316600"/>
                </a:cubicBezTo>
                <a:cubicBezTo>
                  <a:pt x="750366" y="6317467"/>
                  <a:pt x="748058" y="6318525"/>
                  <a:pt x="746365" y="6319774"/>
                </a:cubicBezTo>
                <a:cubicBezTo>
                  <a:pt x="744108" y="6321387"/>
                  <a:pt x="742324" y="6323412"/>
                  <a:pt x="741014" y="6325851"/>
                </a:cubicBezTo>
                <a:cubicBezTo>
                  <a:pt x="739704" y="6328289"/>
                  <a:pt x="739049" y="6330939"/>
                  <a:pt x="739049" y="6333801"/>
                </a:cubicBezTo>
                <a:cubicBezTo>
                  <a:pt x="739049" y="6336945"/>
                  <a:pt x="739845" y="6339817"/>
                  <a:pt x="741437" y="6342417"/>
                </a:cubicBezTo>
                <a:cubicBezTo>
                  <a:pt x="743030" y="6345017"/>
                  <a:pt x="745367" y="6347052"/>
                  <a:pt x="748451" y="6348524"/>
                </a:cubicBezTo>
                <a:cubicBezTo>
                  <a:pt x="751534" y="6349995"/>
                  <a:pt x="757067" y="6351738"/>
                  <a:pt x="765048" y="6353754"/>
                </a:cubicBezTo>
                <a:cubicBezTo>
                  <a:pt x="770973" y="6355245"/>
                  <a:pt x="774681" y="6356474"/>
                  <a:pt x="776172" y="6357442"/>
                </a:cubicBezTo>
                <a:cubicBezTo>
                  <a:pt x="778309" y="6358853"/>
                  <a:pt x="779377" y="6360787"/>
                  <a:pt x="779377" y="6363246"/>
                </a:cubicBezTo>
                <a:cubicBezTo>
                  <a:pt x="779377" y="6365987"/>
                  <a:pt x="778168" y="6368375"/>
                  <a:pt x="775749" y="6370411"/>
                </a:cubicBezTo>
                <a:cubicBezTo>
                  <a:pt x="773331" y="6372446"/>
                  <a:pt x="769623" y="6373464"/>
                  <a:pt x="764624" y="6373464"/>
                </a:cubicBezTo>
                <a:cubicBezTo>
                  <a:pt x="759666" y="6373464"/>
                  <a:pt x="755807" y="6372315"/>
                  <a:pt x="753046" y="6370018"/>
                </a:cubicBezTo>
                <a:cubicBezTo>
                  <a:pt x="750285" y="6367720"/>
                  <a:pt x="748602" y="6364415"/>
                  <a:pt x="747997" y="6360102"/>
                </a:cubicBezTo>
                <a:lnTo>
                  <a:pt x="737235" y="6361795"/>
                </a:lnTo>
                <a:cubicBezTo>
                  <a:pt x="738445" y="6368607"/>
                  <a:pt x="741236" y="6373746"/>
                  <a:pt x="745609" y="6377213"/>
                </a:cubicBezTo>
                <a:cubicBezTo>
                  <a:pt x="749983" y="6380679"/>
                  <a:pt x="756341" y="6382412"/>
                  <a:pt x="764685" y="6382412"/>
                </a:cubicBezTo>
                <a:cubicBezTo>
                  <a:pt x="769723" y="6382412"/>
                  <a:pt x="774238" y="6381536"/>
                  <a:pt x="778228" y="6379782"/>
                </a:cubicBezTo>
                <a:cubicBezTo>
                  <a:pt x="782219" y="6378029"/>
                  <a:pt x="785272" y="6375550"/>
                  <a:pt x="787388" y="6372345"/>
                </a:cubicBezTo>
                <a:cubicBezTo>
                  <a:pt x="789504" y="6369141"/>
                  <a:pt x="790562" y="6365725"/>
                  <a:pt x="790562" y="6362097"/>
                </a:cubicBezTo>
                <a:cubicBezTo>
                  <a:pt x="790562" y="6358389"/>
                  <a:pt x="789696" y="6355285"/>
                  <a:pt x="787962" y="6352786"/>
                </a:cubicBezTo>
                <a:cubicBezTo>
                  <a:pt x="786229" y="6350287"/>
                  <a:pt x="783841" y="6348383"/>
                  <a:pt x="780798" y="6347073"/>
                </a:cubicBezTo>
                <a:cubicBezTo>
                  <a:pt x="777754" y="6345763"/>
                  <a:pt x="772383" y="6344080"/>
                  <a:pt x="764685" y="6342024"/>
                </a:cubicBezTo>
                <a:cubicBezTo>
                  <a:pt x="759364" y="6340573"/>
                  <a:pt x="756160" y="6339646"/>
                  <a:pt x="755071" y="6339243"/>
                </a:cubicBezTo>
                <a:cubicBezTo>
                  <a:pt x="753177" y="6338477"/>
                  <a:pt x="751786" y="6337510"/>
                  <a:pt x="750900" y="6336341"/>
                </a:cubicBezTo>
                <a:cubicBezTo>
                  <a:pt x="750013" y="6335212"/>
                  <a:pt x="749569" y="6333942"/>
                  <a:pt x="749569" y="6332532"/>
                </a:cubicBezTo>
                <a:cubicBezTo>
                  <a:pt x="749569" y="6330315"/>
                  <a:pt x="750638" y="6328380"/>
                  <a:pt x="752774" y="6326727"/>
                </a:cubicBezTo>
                <a:cubicBezTo>
                  <a:pt x="754910" y="6325075"/>
                  <a:pt x="758477" y="6324248"/>
                  <a:pt x="763476" y="6324248"/>
                </a:cubicBezTo>
                <a:cubicBezTo>
                  <a:pt x="767708" y="6324248"/>
                  <a:pt x="770983" y="6325176"/>
                  <a:pt x="773301" y="6327030"/>
                </a:cubicBezTo>
                <a:cubicBezTo>
                  <a:pt x="775618" y="6328884"/>
                  <a:pt x="777019" y="6331463"/>
                  <a:pt x="777503" y="6334769"/>
                </a:cubicBezTo>
                <a:lnTo>
                  <a:pt x="788144" y="6333318"/>
                </a:lnTo>
                <a:cubicBezTo>
                  <a:pt x="787459" y="6329166"/>
                  <a:pt x="786209" y="6325851"/>
                  <a:pt x="784395" y="6323372"/>
                </a:cubicBezTo>
                <a:cubicBezTo>
                  <a:pt x="782581" y="6320893"/>
                  <a:pt x="779770" y="6318928"/>
                  <a:pt x="775961" y="6317477"/>
                </a:cubicBezTo>
                <a:cubicBezTo>
                  <a:pt x="772152" y="6316026"/>
                  <a:pt x="767728" y="6315300"/>
                  <a:pt x="762690" y="6315300"/>
                </a:cubicBezTo>
                <a:close/>
                <a:moveTo>
                  <a:pt x="525681" y="6301636"/>
                </a:moveTo>
                <a:cubicBezTo>
                  <a:pt x="527051" y="6306432"/>
                  <a:pt x="529147" y="6312559"/>
                  <a:pt x="531969" y="6320016"/>
                </a:cubicBezTo>
                <a:lnTo>
                  <a:pt x="541219" y="6344563"/>
                </a:lnTo>
                <a:lnTo>
                  <a:pt x="511170" y="6344563"/>
                </a:lnTo>
                <a:lnTo>
                  <a:pt x="520904" y="6318565"/>
                </a:lnTo>
                <a:cubicBezTo>
                  <a:pt x="522960" y="6312962"/>
                  <a:pt x="524552" y="6307319"/>
                  <a:pt x="525681" y="6301636"/>
                </a:cubicBezTo>
                <a:close/>
                <a:moveTo>
                  <a:pt x="1847396" y="6292325"/>
                </a:moveTo>
                <a:lnTo>
                  <a:pt x="1847396" y="6380961"/>
                </a:lnTo>
                <a:lnTo>
                  <a:pt x="1902778" y="6380961"/>
                </a:lnTo>
                <a:lnTo>
                  <a:pt x="1902778" y="6370501"/>
                </a:lnTo>
                <a:lnTo>
                  <a:pt x="1859125" y="6370501"/>
                </a:lnTo>
                <a:lnTo>
                  <a:pt x="1859125" y="6292325"/>
                </a:lnTo>
                <a:close/>
                <a:moveTo>
                  <a:pt x="1676067" y="6292325"/>
                </a:moveTo>
                <a:lnTo>
                  <a:pt x="1676067" y="6380961"/>
                </a:lnTo>
                <a:lnTo>
                  <a:pt x="1687373" y="6380961"/>
                </a:lnTo>
                <a:lnTo>
                  <a:pt x="1687373" y="6305505"/>
                </a:lnTo>
                <a:lnTo>
                  <a:pt x="1713008" y="6380961"/>
                </a:lnTo>
                <a:lnTo>
                  <a:pt x="1723589" y="6380961"/>
                </a:lnTo>
                <a:lnTo>
                  <a:pt x="1749346" y="6306775"/>
                </a:lnTo>
                <a:lnTo>
                  <a:pt x="1749346" y="6380961"/>
                </a:lnTo>
                <a:lnTo>
                  <a:pt x="1760652" y="6380961"/>
                </a:lnTo>
                <a:lnTo>
                  <a:pt x="1760652" y="6292325"/>
                </a:lnTo>
                <a:lnTo>
                  <a:pt x="1744872" y="6292325"/>
                </a:lnTo>
                <a:lnTo>
                  <a:pt x="1723650" y="6353995"/>
                </a:lnTo>
                <a:cubicBezTo>
                  <a:pt x="1721513" y="6360243"/>
                  <a:pt x="1719941" y="6364979"/>
                  <a:pt x="1718933" y="6368204"/>
                </a:cubicBezTo>
                <a:cubicBezTo>
                  <a:pt x="1718047" y="6365302"/>
                  <a:pt x="1716636" y="6360928"/>
                  <a:pt x="1714701" y="6355084"/>
                </a:cubicBezTo>
                <a:lnTo>
                  <a:pt x="1693721" y="6292325"/>
                </a:lnTo>
                <a:close/>
                <a:moveTo>
                  <a:pt x="1560739" y="6292325"/>
                </a:moveTo>
                <a:lnTo>
                  <a:pt x="1560739" y="6380961"/>
                </a:lnTo>
                <a:lnTo>
                  <a:pt x="1571622" y="6380961"/>
                </a:lnTo>
                <a:lnTo>
                  <a:pt x="1571622" y="6345833"/>
                </a:lnTo>
                <a:cubicBezTo>
                  <a:pt x="1571622" y="6340795"/>
                  <a:pt x="1572226" y="6336845"/>
                  <a:pt x="1573435" y="6333983"/>
                </a:cubicBezTo>
                <a:cubicBezTo>
                  <a:pt x="1574645" y="6331121"/>
                  <a:pt x="1576670" y="6328854"/>
                  <a:pt x="1579512" y="6327181"/>
                </a:cubicBezTo>
                <a:cubicBezTo>
                  <a:pt x="1582354" y="6325508"/>
                  <a:pt x="1585387" y="6324672"/>
                  <a:pt x="1588611" y="6324672"/>
                </a:cubicBezTo>
                <a:cubicBezTo>
                  <a:pt x="1592924" y="6324672"/>
                  <a:pt x="1596260" y="6325911"/>
                  <a:pt x="1598618" y="6328390"/>
                </a:cubicBezTo>
                <a:cubicBezTo>
                  <a:pt x="1600976" y="6330869"/>
                  <a:pt x="1602155" y="6334829"/>
                  <a:pt x="1602155" y="6340271"/>
                </a:cubicBezTo>
                <a:lnTo>
                  <a:pt x="1602155" y="6380961"/>
                </a:lnTo>
                <a:lnTo>
                  <a:pt x="1613038" y="6380961"/>
                </a:lnTo>
                <a:lnTo>
                  <a:pt x="1613038" y="6340271"/>
                </a:lnTo>
                <a:cubicBezTo>
                  <a:pt x="1613038" y="6333983"/>
                  <a:pt x="1612282" y="6329186"/>
                  <a:pt x="1610771" y="6325881"/>
                </a:cubicBezTo>
                <a:cubicBezTo>
                  <a:pt x="1609259" y="6322576"/>
                  <a:pt x="1606750" y="6319986"/>
                  <a:pt x="1603243" y="6318112"/>
                </a:cubicBezTo>
                <a:cubicBezTo>
                  <a:pt x="1599736" y="6316237"/>
                  <a:pt x="1595605" y="6315300"/>
                  <a:pt x="1590848" y="6315300"/>
                </a:cubicBezTo>
                <a:cubicBezTo>
                  <a:pt x="1583109" y="6315300"/>
                  <a:pt x="1576700" y="6318243"/>
                  <a:pt x="1571622" y="6324128"/>
                </a:cubicBezTo>
                <a:lnTo>
                  <a:pt x="1571622" y="6292325"/>
                </a:lnTo>
                <a:close/>
                <a:moveTo>
                  <a:pt x="1285542" y="6292325"/>
                </a:moveTo>
                <a:lnTo>
                  <a:pt x="1285542" y="6380961"/>
                </a:lnTo>
                <a:lnTo>
                  <a:pt x="1296848" y="6380961"/>
                </a:lnTo>
                <a:lnTo>
                  <a:pt x="1296848" y="6305505"/>
                </a:lnTo>
                <a:lnTo>
                  <a:pt x="1322484" y="6380961"/>
                </a:lnTo>
                <a:lnTo>
                  <a:pt x="1333064" y="6380961"/>
                </a:lnTo>
                <a:lnTo>
                  <a:pt x="1358821" y="6306775"/>
                </a:lnTo>
                <a:lnTo>
                  <a:pt x="1358821" y="6380961"/>
                </a:lnTo>
                <a:lnTo>
                  <a:pt x="1370127" y="6380961"/>
                </a:lnTo>
                <a:lnTo>
                  <a:pt x="1370127" y="6292325"/>
                </a:lnTo>
                <a:lnTo>
                  <a:pt x="1354347" y="6292325"/>
                </a:lnTo>
                <a:lnTo>
                  <a:pt x="1333125" y="6353995"/>
                </a:lnTo>
                <a:cubicBezTo>
                  <a:pt x="1330988" y="6360243"/>
                  <a:pt x="1329416" y="6364979"/>
                  <a:pt x="1328409" y="6368204"/>
                </a:cubicBezTo>
                <a:cubicBezTo>
                  <a:pt x="1327522" y="6365302"/>
                  <a:pt x="1326111" y="6360928"/>
                  <a:pt x="1324176" y="6355084"/>
                </a:cubicBezTo>
                <a:lnTo>
                  <a:pt x="1303196" y="6292325"/>
                </a:lnTo>
                <a:close/>
                <a:moveTo>
                  <a:pt x="808324" y="6292325"/>
                </a:moveTo>
                <a:lnTo>
                  <a:pt x="808324" y="6304840"/>
                </a:lnTo>
                <a:lnTo>
                  <a:pt x="819207" y="6304840"/>
                </a:lnTo>
                <a:lnTo>
                  <a:pt x="819207" y="6292325"/>
                </a:lnTo>
                <a:close/>
                <a:moveTo>
                  <a:pt x="608178" y="6292325"/>
                </a:moveTo>
                <a:lnTo>
                  <a:pt x="608178" y="6380961"/>
                </a:lnTo>
                <a:lnTo>
                  <a:pt x="618275" y="6380961"/>
                </a:lnTo>
                <a:lnTo>
                  <a:pt x="618275" y="6372920"/>
                </a:lnTo>
                <a:cubicBezTo>
                  <a:pt x="622588" y="6379248"/>
                  <a:pt x="628533" y="6382412"/>
                  <a:pt x="636111" y="6382412"/>
                </a:cubicBezTo>
                <a:cubicBezTo>
                  <a:pt x="643729" y="6382412"/>
                  <a:pt x="650259" y="6379409"/>
                  <a:pt x="655701" y="6373404"/>
                </a:cubicBezTo>
                <a:cubicBezTo>
                  <a:pt x="661142" y="6367398"/>
                  <a:pt x="663863" y="6358893"/>
                  <a:pt x="663863" y="6347889"/>
                </a:cubicBezTo>
                <a:cubicBezTo>
                  <a:pt x="663863" y="6343253"/>
                  <a:pt x="663218" y="6338900"/>
                  <a:pt x="661928" y="6334829"/>
                </a:cubicBezTo>
                <a:cubicBezTo>
                  <a:pt x="660638" y="6330758"/>
                  <a:pt x="658855" y="6327282"/>
                  <a:pt x="656577" y="6324400"/>
                </a:cubicBezTo>
                <a:cubicBezTo>
                  <a:pt x="654300" y="6321518"/>
                  <a:pt x="651398" y="6319281"/>
                  <a:pt x="647871" y="6317688"/>
                </a:cubicBezTo>
                <a:cubicBezTo>
                  <a:pt x="644344" y="6316096"/>
                  <a:pt x="640606" y="6315300"/>
                  <a:pt x="636655" y="6315300"/>
                </a:cubicBezTo>
                <a:cubicBezTo>
                  <a:pt x="629521" y="6315300"/>
                  <a:pt x="623656" y="6318182"/>
                  <a:pt x="619061" y="6323946"/>
                </a:cubicBezTo>
                <a:lnTo>
                  <a:pt x="619061" y="6292325"/>
                </a:lnTo>
                <a:close/>
                <a:moveTo>
                  <a:pt x="519635" y="6292325"/>
                </a:moveTo>
                <a:lnTo>
                  <a:pt x="485595" y="6380961"/>
                </a:lnTo>
                <a:lnTo>
                  <a:pt x="498050" y="6380961"/>
                </a:lnTo>
                <a:lnTo>
                  <a:pt x="507784" y="6354116"/>
                </a:lnTo>
                <a:lnTo>
                  <a:pt x="544847" y="6354116"/>
                </a:lnTo>
                <a:lnTo>
                  <a:pt x="555186" y="6380961"/>
                </a:lnTo>
                <a:lnTo>
                  <a:pt x="568548" y="6380961"/>
                </a:lnTo>
                <a:lnTo>
                  <a:pt x="532271" y="6292325"/>
                </a:lnTo>
                <a:close/>
                <a:moveTo>
                  <a:pt x="1228689" y="6290813"/>
                </a:moveTo>
                <a:cubicBezTo>
                  <a:pt x="1223933" y="6290813"/>
                  <a:pt x="1220235" y="6291690"/>
                  <a:pt x="1217594" y="6293443"/>
                </a:cubicBezTo>
                <a:cubicBezTo>
                  <a:pt x="1214954" y="6295197"/>
                  <a:pt x="1213110" y="6297484"/>
                  <a:pt x="1212062" y="6300306"/>
                </a:cubicBezTo>
                <a:cubicBezTo>
                  <a:pt x="1211296" y="6302402"/>
                  <a:pt x="1210914" y="6305606"/>
                  <a:pt x="1210914" y="6309919"/>
                </a:cubicBezTo>
                <a:lnTo>
                  <a:pt x="1210914" y="6316751"/>
                </a:lnTo>
                <a:lnTo>
                  <a:pt x="1201300" y="6316751"/>
                </a:lnTo>
                <a:lnTo>
                  <a:pt x="1201300" y="6325216"/>
                </a:lnTo>
                <a:lnTo>
                  <a:pt x="1210914" y="6325216"/>
                </a:lnTo>
                <a:lnTo>
                  <a:pt x="1210914" y="6380961"/>
                </a:lnTo>
                <a:lnTo>
                  <a:pt x="1221736" y="6380961"/>
                </a:lnTo>
                <a:lnTo>
                  <a:pt x="1221736" y="6325216"/>
                </a:lnTo>
                <a:lnTo>
                  <a:pt x="1234252" y="6325216"/>
                </a:lnTo>
                <a:lnTo>
                  <a:pt x="1234252" y="6316751"/>
                </a:lnTo>
                <a:lnTo>
                  <a:pt x="1221736" y="6316751"/>
                </a:lnTo>
                <a:lnTo>
                  <a:pt x="1221736" y="6310826"/>
                </a:lnTo>
                <a:cubicBezTo>
                  <a:pt x="1221736" y="6306956"/>
                  <a:pt x="1222421" y="6304316"/>
                  <a:pt x="1223792" y="6302906"/>
                </a:cubicBezTo>
                <a:cubicBezTo>
                  <a:pt x="1225162" y="6301495"/>
                  <a:pt x="1227500" y="6300789"/>
                  <a:pt x="1230805" y="6300789"/>
                </a:cubicBezTo>
                <a:cubicBezTo>
                  <a:pt x="1232820" y="6300789"/>
                  <a:pt x="1234957" y="6300991"/>
                  <a:pt x="1237214" y="6301394"/>
                </a:cubicBezTo>
                <a:lnTo>
                  <a:pt x="1238847" y="6291902"/>
                </a:lnTo>
                <a:cubicBezTo>
                  <a:pt x="1235138" y="6291176"/>
                  <a:pt x="1231753" y="6290813"/>
                  <a:pt x="1228689" y="6290813"/>
                </a:cubicBezTo>
                <a:close/>
                <a:moveTo>
                  <a:pt x="7175501" y="1"/>
                </a:moveTo>
                <a:lnTo>
                  <a:pt x="12191999" y="1"/>
                </a:lnTo>
                <a:lnTo>
                  <a:pt x="12191999" y="6858001"/>
                </a:lnTo>
                <a:lnTo>
                  <a:pt x="1" y="6858001"/>
                </a:lnTo>
                <a:lnTo>
                  <a:pt x="1" y="5752619"/>
                </a:lnTo>
                <a:lnTo>
                  <a:pt x="7175501" y="5752619"/>
                </a:lnTo>
                <a:close/>
                <a:moveTo>
                  <a:pt x="0" y="0"/>
                </a:moveTo>
                <a:lnTo>
                  <a:pt x="7175501" y="0"/>
                </a:lnTo>
                <a:lnTo>
                  <a:pt x="7175501" y="1"/>
                </a:lnTo>
                <a:lnTo>
                  <a:pt x="1" y="1"/>
                </a:lnTo>
                <a:lnTo>
                  <a:pt x="1" y="5752619"/>
                </a:lnTo>
                <a:lnTo>
                  <a:pt x="0" y="5752619"/>
                </a:lnTo>
                <a:close/>
              </a:path>
            </a:pathLst>
          </a:custGeom>
          <a:solidFill>
            <a:srgbClr val="F0F0F0"/>
          </a:solidFill>
        </p:spPr>
        <p:txBody>
          <a:bodyPr wrap="square">
            <a:no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1200">
                <a:solidFill>
                  <a:srgbClr val="FF0000"/>
                </a:solidFill>
              </a:defRPr>
            </a:lvl1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t>Click on picture icon to insert picture. Reset layout.</a:t>
            </a:r>
          </a:p>
        </p:txBody>
      </p:sp>
      <p:sp>
        <p:nvSpPr>
          <p:cNvPr id="12"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baseline="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a:t>
            </a:r>
            <a:r>
              <a:rPr lang="en-US" sz="1000" dirty="0">
                <a:ea typeface="Open Sans" panose="020B0606030504020204" pitchFamily="34" charset="0"/>
                <a:cs typeface="Arial" panose="020B0604020202020204" pitchFamily="34" charset="0"/>
              </a:rPr>
              <a:t>Give the logo equal visual weight as Marsh’s. </a:t>
            </a:r>
            <a:r>
              <a:rPr lang="en-US" dirty="0"/>
              <a:t>Delete box if not used.</a:t>
            </a:r>
          </a:p>
        </p:txBody>
      </p:sp>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609725"/>
            <a:ext cx="6485763" cy="1600200"/>
          </a:xfrm>
        </p:spPr>
        <p:txBody>
          <a:bodyPr vert="horz" anchor="b" anchorCtr="0"/>
          <a:lstStyle>
            <a:lvl1pPr>
              <a:lnSpc>
                <a:spcPct val="90000"/>
              </a:lnSpc>
              <a:defRPr lang="en-US" sz="4800" b="1" i="0" kern="1200" cap="none" baseline="0" dirty="0">
                <a:solidFill>
                  <a:schemeClr val="bg1"/>
                </a:solidFill>
                <a:latin typeface="Arial" panose="020B0604020202020204" pitchFamily="34" charset="0"/>
                <a:ea typeface="+mj-ea"/>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405820"/>
            <a:ext cx="6447769" cy="807913"/>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9" name="Text Placeholder 3">
            <a:extLst>
              <a:ext uri="{FF2B5EF4-FFF2-40B4-BE49-F238E27FC236}">
                <a16:creationId xmlns:a16="http://schemas.microsoft.com/office/drawing/2014/main" id="{408D7265-22AD-444D-9DAE-694197297FA6}"/>
              </a:ext>
            </a:extLst>
          </p:cNvPr>
          <p:cNvSpPr>
            <a:spLocks noGrp="1"/>
          </p:cNvSpPr>
          <p:nvPr>
            <p:ph type="body" sz="half" idx="2" hasCustomPrompt="1"/>
          </p:nvPr>
        </p:nvSpPr>
        <p:spPr>
          <a:xfrm>
            <a:off x="485775" y="4429126"/>
            <a:ext cx="64484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pic>
        <p:nvPicPr>
          <p:cNvPr id="73" name="Graphic 12">
            <a:extLst>
              <a:ext uri="{FF2B5EF4-FFF2-40B4-BE49-F238E27FC236}">
                <a16:creationId xmlns:a16="http://schemas.microsoft.com/office/drawing/2014/main" id="{D426043B-0359-FC46-BCF1-DAFF274E7589}"/>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6803" y="341762"/>
            <a:ext cx="1623974" cy="338328"/>
          </a:xfrm>
          <a:prstGeom prst="rect">
            <a:avLst/>
          </a:prstGeom>
        </p:spPr>
      </p:pic>
    </p:spTree>
    <p:extLst>
      <p:ext uri="{BB962C8B-B14F-4D97-AF65-F5344CB8AC3E}">
        <p14:creationId xmlns:p14="http://schemas.microsoft.com/office/powerpoint/2010/main" val="1779634399"/>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Title slide A: image light box">
    <p:bg>
      <p:bgPr>
        <a:solidFill>
          <a:schemeClr val="accent3"/>
        </a:solidFill>
        <a:effectLst/>
      </p:bgPr>
    </p:bg>
    <p:spTree>
      <p:nvGrpSpPr>
        <p:cNvPr id="1" name=""/>
        <p:cNvGrpSpPr/>
        <p:nvPr/>
      </p:nvGrpSpPr>
      <p:grpSpPr>
        <a:xfrm>
          <a:off x="0" y="0"/>
          <a:ext cx="0" cy="0"/>
          <a:chOff x="0" y="0"/>
          <a:chExt cx="0" cy="0"/>
        </a:xfrm>
      </p:grpSpPr>
      <p:sp>
        <p:nvSpPr>
          <p:cNvPr id="17" name="Rectangle 16"/>
          <p:cNvSpPr/>
          <p:nvPr userDrawn="1"/>
        </p:nvSpPr>
        <p:spPr>
          <a:xfrm>
            <a:off x="355599" y="6121400"/>
            <a:ext cx="2032001" cy="4953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Picture Placeholder 17">
            <a:extLst>
              <a:ext uri="{FF2B5EF4-FFF2-40B4-BE49-F238E27FC236}">
                <a16:creationId xmlns:a16="http://schemas.microsoft.com/office/drawing/2014/main" id="{73319BE5-0EF3-DD4B-B826-A8E9F0755285}"/>
              </a:ext>
            </a:extLst>
          </p:cNvPr>
          <p:cNvSpPr>
            <a:spLocks noGrp="1"/>
          </p:cNvSpPr>
          <p:nvPr>
            <p:ph type="pic" sz="quarter" idx="10" hasCustomPrompt="1"/>
          </p:nvPr>
        </p:nvSpPr>
        <p:spPr>
          <a:xfrm>
            <a:off x="-1" y="-1"/>
            <a:ext cx="12191999" cy="6858001"/>
          </a:xfrm>
          <a:custGeom>
            <a:avLst/>
            <a:gdLst>
              <a:gd name="connsiteX0" fmla="*/ 2154182 w 12191999"/>
              <a:gd name="connsiteY0" fmla="*/ 6348735 h 6858001"/>
              <a:gd name="connsiteX1" fmla="*/ 2154182 w 12191999"/>
              <a:gd name="connsiteY1" fmla="*/ 6352726 h 6858001"/>
              <a:gd name="connsiteX2" fmla="*/ 2152428 w 12191999"/>
              <a:gd name="connsiteY2" fmla="*/ 6363609 h 6858001"/>
              <a:gd name="connsiteX3" fmla="*/ 2145233 w 12191999"/>
              <a:gd name="connsiteY3" fmla="*/ 6371136 h 6858001"/>
              <a:gd name="connsiteX4" fmla="*/ 2134048 w 12191999"/>
              <a:gd name="connsiteY4" fmla="*/ 6373887 h 6858001"/>
              <a:gd name="connsiteX5" fmla="*/ 2124404 w 12191999"/>
              <a:gd name="connsiteY5" fmla="*/ 6370985 h 6858001"/>
              <a:gd name="connsiteX6" fmla="*/ 2121109 w 12191999"/>
              <a:gd name="connsiteY6" fmla="*/ 6363730 h 6858001"/>
              <a:gd name="connsiteX7" fmla="*/ 2122621 w 12191999"/>
              <a:gd name="connsiteY7" fmla="*/ 6358560 h 6858001"/>
              <a:gd name="connsiteX8" fmla="*/ 2126913 w 12191999"/>
              <a:gd name="connsiteY8" fmla="*/ 6355023 h 6858001"/>
              <a:gd name="connsiteX9" fmla="*/ 2136406 w 12191999"/>
              <a:gd name="connsiteY9" fmla="*/ 6352847 h 6858001"/>
              <a:gd name="connsiteX10" fmla="*/ 2154182 w 12191999"/>
              <a:gd name="connsiteY10" fmla="*/ 6348735 h 6858001"/>
              <a:gd name="connsiteX11" fmla="*/ 1430281 w 12191999"/>
              <a:gd name="connsiteY11" fmla="*/ 6348735 h 6858001"/>
              <a:gd name="connsiteX12" fmla="*/ 1430281 w 12191999"/>
              <a:gd name="connsiteY12" fmla="*/ 6352726 h 6858001"/>
              <a:gd name="connsiteX13" fmla="*/ 1428528 w 12191999"/>
              <a:gd name="connsiteY13" fmla="*/ 6363609 h 6858001"/>
              <a:gd name="connsiteX14" fmla="*/ 1421333 w 12191999"/>
              <a:gd name="connsiteY14" fmla="*/ 6371136 h 6858001"/>
              <a:gd name="connsiteX15" fmla="*/ 1410148 w 12191999"/>
              <a:gd name="connsiteY15" fmla="*/ 6373887 h 6858001"/>
              <a:gd name="connsiteX16" fmla="*/ 1400504 w 12191999"/>
              <a:gd name="connsiteY16" fmla="*/ 6370985 h 6858001"/>
              <a:gd name="connsiteX17" fmla="*/ 1397209 w 12191999"/>
              <a:gd name="connsiteY17" fmla="*/ 6363730 h 6858001"/>
              <a:gd name="connsiteX18" fmla="*/ 1398721 w 12191999"/>
              <a:gd name="connsiteY18" fmla="*/ 6358560 h 6858001"/>
              <a:gd name="connsiteX19" fmla="*/ 1403013 w 12191999"/>
              <a:gd name="connsiteY19" fmla="*/ 6355023 h 6858001"/>
              <a:gd name="connsiteX20" fmla="*/ 1412506 w 12191999"/>
              <a:gd name="connsiteY20" fmla="*/ 6352847 h 6858001"/>
              <a:gd name="connsiteX21" fmla="*/ 1430281 w 12191999"/>
              <a:gd name="connsiteY21" fmla="*/ 6348735 h 6858001"/>
              <a:gd name="connsiteX22" fmla="*/ 1167698 w 12191999"/>
              <a:gd name="connsiteY22" fmla="*/ 6324309 h 6858001"/>
              <a:gd name="connsiteX23" fmla="*/ 1181150 w 12191999"/>
              <a:gd name="connsiteY23" fmla="*/ 6330446 h 6858001"/>
              <a:gd name="connsiteX24" fmla="*/ 1186561 w 12191999"/>
              <a:gd name="connsiteY24" fmla="*/ 6348493 h 6858001"/>
              <a:gd name="connsiteX25" fmla="*/ 1181180 w 12191999"/>
              <a:gd name="connsiteY25" fmla="*/ 6367297 h 6858001"/>
              <a:gd name="connsiteX26" fmla="*/ 1167698 w 12191999"/>
              <a:gd name="connsiteY26" fmla="*/ 6373464 h 6858001"/>
              <a:gd name="connsiteX27" fmla="*/ 1154154 w 12191999"/>
              <a:gd name="connsiteY27" fmla="*/ 6367327 h 6858001"/>
              <a:gd name="connsiteX28" fmla="*/ 1148773 w 12191999"/>
              <a:gd name="connsiteY28" fmla="*/ 6348856 h 6858001"/>
              <a:gd name="connsiteX29" fmla="*/ 1154154 w 12191999"/>
              <a:gd name="connsiteY29" fmla="*/ 6330415 h 6858001"/>
              <a:gd name="connsiteX30" fmla="*/ 1167698 w 12191999"/>
              <a:gd name="connsiteY30" fmla="*/ 6324309 h 6858001"/>
              <a:gd name="connsiteX31" fmla="*/ 1939646 w 12191999"/>
              <a:gd name="connsiteY31" fmla="*/ 6324248 h 6858001"/>
              <a:gd name="connsiteX32" fmla="*/ 1953129 w 12191999"/>
              <a:gd name="connsiteY32" fmla="*/ 6330536 h 6858001"/>
              <a:gd name="connsiteX33" fmla="*/ 1957240 w 12191999"/>
              <a:gd name="connsiteY33" fmla="*/ 6342689 h 6858001"/>
              <a:gd name="connsiteX34" fmla="*/ 1921387 w 12191999"/>
              <a:gd name="connsiteY34" fmla="*/ 6342689 h 6858001"/>
              <a:gd name="connsiteX35" fmla="*/ 1927040 w 12191999"/>
              <a:gd name="connsiteY35" fmla="*/ 6329267 h 6858001"/>
              <a:gd name="connsiteX36" fmla="*/ 1939646 w 12191999"/>
              <a:gd name="connsiteY36" fmla="*/ 6324248 h 6858001"/>
              <a:gd name="connsiteX37" fmla="*/ 929996 w 12191999"/>
              <a:gd name="connsiteY37" fmla="*/ 6324248 h 6858001"/>
              <a:gd name="connsiteX38" fmla="*/ 943479 w 12191999"/>
              <a:gd name="connsiteY38" fmla="*/ 6330536 h 6858001"/>
              <a:gd name="connsiteX39" fmla="*/ 947590 w 12191999"/>
              <a:gd name="connsiteY39" fmla="*/ 6342689 h 6858001"/>
              <a:gd name="connsiteX40" fmla="*/ 911736 w 12191999"/>
              <a:gd name="connsiteY40" fmla="*/ 6342689 h 6858001"/>
              <a:gd name="connsiteX41" fmla="*/ 917389 w 12191999"/>
              <a:gd name="connsiteY41" fmla="*/ 6329267 h 6858001"/>
              <a:gd name="connsiteX42" fmla="*/ 929996 w 12191999"/>
              <a:gd name="connsiteY42" fmla="*/ 6324248 h 6858001"/>
              <a:gd name="connsiteX43" fmla="*/ 635688 w 12191999"/>
              <a:gd name="connsiteY43" fmla="*/ 6324248 h 6858001"/>
              <a:gd name="connsiteX44" fmla="*/ 647750 w 12191999"/>
              <a:gd name="connsiteY44" fmla="*/ 6330234 h 6858001"/>
              <a:gd name="connsiteX45" fmla="*/ 652738 w 12191999"/>
              <a:gd name="connsiteY45" fmla="*/ 6348796 h 6858001"/>
              <a:gd name="connsiteX46" fmla="*/ 647538 w 12191999"/>
              <a:gd name="connsiteY46" fmla="*/ 6367267 h 6858001"/>
              <a:gd name="connsiteX47" fmla="*/ 635204 w 12191999"/>
              <a:gd name="connsiteY47" fmla="*/ 6373464 h 6858001"/>
              <a:gd name="connsiteX48" fmla="*/ 621298 w 12191999"/>
              <a:gd name="connsiteY48" fmla="*/ 6365060 h 6858001"/>
              <a:gd name="connsiteX49" fmla="*/ 618154 w 12191999"/>
              <a:gd name="connsiteY49" fmla="*/ 6348373 h 6858001"/>
              <a:gd name="connsiteX50" fmla="*/ 623354 w 12191999"/>
              <a:gd name="connsiteY50" fmla="*/ 6330446 h 6858001"/>
              <a:gd name="connsiteX51" fmla="*/ 635688 w 12191999"/>
              <a:gd name="connsiteY51" fmla="*/ 6324248 h 6858001"/>
              <a:gd name="connsiteX52" fmla="*/ 808324 w 12191999"/>
              <a:gd name="connsiteY52" fmla="*/ 6316751 h 6858001"/>
              <a:gd name="connsiteX53" fmla="*/ 808324 w 12191999"/>
              <a:gd name="connsiteY53" fmla="*/ 6380961 h 6858001"/>
              <a:gd name="connsiteX54" fmla="*/ 819207 w 12191999"/>
              <a:gd name="connsiteY54" fmla="*/ 6380961 h 6858001"/>
              <a:gd name="connsiteX55" fmla="*/ 819207 w 12191999"/>
              <a:gd name="connsiteY55" fmla="*/ 6316751 h 6858001"/>
              <a:gd name="connsiteX56" fmla="*/ 674672 w 12191999"/>
              <a:gd name="connsiteY56" fmla="*/ 6316751 h 6858001"/>
              <a:gd name="connsiteX57" fmla="*/ 674672 w 12191999"/>
              <a:gd name="connsiteY57" fmla="*/ 6356535 h 6858001"/>
              <a:gd name="connsiteX58" fmla="*/ 675337 w 12191999"/>
              <a:gd name="connsiteY58" fmla="*/ 6366692 h 6858001"/>
              <a:gd name="connsiteX59" fmla="*/ 678692 w 12191999"/>
              <a:gd name="connsiteY59" fmla="*/ 6374764 h 6858001"/>
              <a:gd name="connsiteX60" fmla="*/ 686008 w 12191999"/>
              <a:gd name="connsiteY60" fmla="*/ 6380236 h 6858001"/>
              <a:gd name="connsiteX61" fmla="*/ 696619 w 12191999"/>
              <a:gd name="connsiteY61" fmla="*/ 6382412 h 6858001"/>
              <a:gd name="connsiteX62" fmla="*/ 716995 w 12191999"/>
              <a:gd name="connsiteY62" fmla="*/ 6371529 h 6858001"/>
              <a:gd name="connsiteX63" fmla="*/ 716995 w 12191999"/>
              <a:gd name="connsiteY63" fmla="*/ 6380961 h 6858001"/>
              <a:gd name="connsiteX64" fmla="*/ 726729 w 12191999"/>
              <a:gd name="connsiteY64" fmla="*/ 6380961 h 6858001"/>
              <a:gd name="connsiteX65" fmla="*/ 726729 w 12191999"/>
              <a:gd name="connsiteY65" fmla="*/ 6316751 h 6858001"/>
              <a:gd name="connsiteX66" fmla="*/ 715846 w 12191999"/>
              <a:gd name="connsiteY66" fmla="*/ 6316751 h 6858001"/>
              <a:gd name="connsiteX67" fmla="*/ 715846 w 12191999"/>
              <a:gd name="connsiteY67" fmla="*/ 6351154 h 6858001"/>
              <a:gd name="connsiteX68" fmla="*/ 714062 w 12191999"/>
              <a:gd name="connsiteY68" fmla="*/ 6363700 h 6858001"/>
              <a:gd name="connsiteX69" fmla="*/ 707986 w 12191999"/>
              <a:gd name="connsiteY69" fmla="*/ 6370532 h 6858001"/>
              <a:gd name="connsiteX70" fmla="*/ 698796 w 12191999"/>
              <a:gd name="connsiteY70" fmla="*/ 6373041 h 6858001"/>
              <a:gd name="connsiteX71" fmla="*/ 690573 w 12191999"/>
              <a:gd name="connsiteY71" fmla="*/ 6370592 h 6858001"/>
              <a:gd name="connsiteX72" fmla="*/ 686220 w 12191999"/>
              <a:gd name="connsiteY72" fmla="*/ 6363851 h 6858001"/>
              <a:gd name="connsiteX73" fmla="*/ 685555 w 12191999"/>
              <a:gd name="connsiteY73" fmla="*/ 6352363 h 6858001"/>
              <a:gd name="connsiteX74" fmla="*/ 685555 w 12191999"/>
              <a:gd name="connsiteY74" fmla="*/ 6316751 h 6858001"/>
              <a:gd name="connsiteX75" fmla="*/ 2210094 w 12191999"/>
              <a:gd name="connsiteY75" fmla="*/ 6315300 h 6858001"/>
              <a:gd name="connsiteX76" fmla="*/ 2189659 w 12191999"/>
              <a:gd name="connsiteY76" fmla="*/ 6325881 h 6858001"/>
              <a:gd name="connsiteX77" fmla="*/ 2189659 w 12191999"/>
              <a:gd name="connsiteY77" fmla="*/ 6316751 h 6858001"/>
              <a:gd name="connsiteX78" fmla="*/ 2179864 w 12191999"/>
              <a:gd name="connsiteY78" fmla="*/ 6316751 h 6858001"/>
              <a:gd name="connsiteX79" fmla="*/ 2179864 w 12191999"/>
              <a:gd name="connsiteY79" fmla="*/ 6380961 h 6858001"/>
              <a:gd name="connsiteX80" fmla="*/ 2190747 w 12191999"/>
              <a:gd name="connsiteY80" fmla="*/ 6380961 h 6858001"/>
              <a:gd name="connsiteX81" fmla="*/ 2190747 w 12191999"/>
              <a:gd name="connsiteY81" fmla="*/ 6345894 h 6858001"/>
              <a:gd name="connsiteX82" fmla="*/ 2195795 w 12191999"/>
              <a:gd name="connsiteY82" fmla="*/ 6329146 h 6858001"/>
              <a:gd name="connsiteX83" fmla="*/ 2207797 w 12191999"/>
              <a:gd name="connsiteY83" fmla="*/ 6324732 h 6858001"/>
              <a:gd name="connsiteX84" fmla="*/ 2215385 w 12191999"/>
              <a:gd name="connsiteY84" fmla="*/ 6326697 h 6858001"/>
              <a:gd name="connsiteX85" fmla="*/ 2219889 w 12191999"/>
              <a:gd name="connsiteY85" fmla="*/ 6331957 h 6858001"/>
              <a:gd name="connsiteX86" fmla="*/ 2221159 w 12191999"/>
              <a:gd name="connsiteY86" fmla="*/ 6341903 h 6858001"/>
              <a:gd name="connsiteX87" fmla="*/ 2221159 w 12191999"/>
              <a:gd name="connsiteY87" fmla="*/ 6380961 h 6858001"/>
              <a:gd name="connsiteX88" fmla="*/ 2232042 w 12191999"/>
              <a:gd name="connsiteY88" fmla="*/ 6380961 h 6858001"/>
              <a:gd name="connsiteX89" fmla="*/ 2232042 w 12191999"/>
              <a:gd name="connsiteY89" fmla="*/ 6341480 h 6858001"/>
              <a:gd name="connsiteX90" fmla="*/ 2231437 w 12191999"/>
              <a:gd name="connsiteY90" fmla="*/ 6330899 h 6858001"/>
              <a:gd name="connsiteX91" fmla="*/ 2228052 w 12191999"/>
              <a:gd name="connsiteY91" fmla="*/ 6322858 h 6858001"/>
              <a:gd name="connsiteX92" fmla="*/ 2220766 w 12191999"/>
              <a:gd name="connsiteY92" fmla="*/ 6317386 h 6858001"/>
              <a:gd name="connsiteX93" fmla="*/ 2210094 w 12191999"/>
              <a:gd name="connsiteY93" fmla="*/ 6315300 h 6858001"/>
              <a:gd name="connsiteX94" fmla="*/ 2140336 w 12191999"/>
              <a:gd name="connsiteY94" fmla="*/ 6315300 h 6858001"/>
              <a:gd name="connsiteX95" fmla="*/ 2125765 w 12191999"/>
              <a:gd name="connsiteY95" fmla="*/ 6317567 h 6858001"/>
              <a:gd name="connsiteX96" fmla="*/ 2116151 w 12191999"/>
              <a:gd name="connsiteY96" fmla="*/ 6324037 h 6858001"/>
              <a:gd name="connsiteX97" fmla="*/ 2111375 w 12191999"/>
              <a:gd name="connsiteY97" fmla="*/ 6335071 h 6858001"/>
              <a:gd name="connsiteX98" fmla="*/ 2122016 w 12191999"/>
              <a:gd name="connsiteY98" fmla="*/ 6336522 h 6858001"/>
              <a:gd name="connsiteX99" fmla="*/ 2127427 w 12191999"/>
              <a:gd name="connsiteY99" fmla="*/ 6326999 h 6858001"/>
              <a:gd name="connsiteX100" fmla="*/ 2138764 w 12191999"/>
              <a:gd name="connsiteY100" fmla="*/ 6324309 h 6858001"/>
              <a:gd name="connsiteX101" fmla="*/ 2151159 w 12191999"/>
              <a:gd name="connsiteY101" fmla="*/ 6327997 h 6858001"/>
              <a:gd name="connsiteX102" fmla="*/ 2154242 w 12191999"/>
              <a:gd name="connsiteY102" fmla="*/ 6337369 h 6858001"/>
              <a:gd name="connsiteX103" fmla="*/ 2154182 w 12191999"/>
              <a:gd name="connsiteY103" fmla="*/ 6340210 h 6858001"/>
              <a:gd name="connsiteX104" fmla="*/ 2134773 w 12191999"/>
              <a:gd name="connsiteY104" fmla="*/ 6343959 h 6858001"/>
              <a:gd name="connsiteX105" fmla="*/ 2125100 w 12191999"/>
              <a:gd name="connsiteY105" fmla="*/ 6345591 h 6858001"/>
              <a:gd name="connsiteX106" fmla="*/ 2117270 w 12191999"/>
              <a:gd name="connsiteY106" fmla="*/ 6349159 h 6858001"/>
              <a:gd name="connsiteX107" fmla="*/ 2111647 w 12191999"/>
              <a:gd name="connsiteY107" fmla="*/ 6355416 h 6858001"/>
              <a:gd name="connsiteX108" fmla="*/ 2109500 w 12191999"/>
              <a:gd name="connsiteY108" fmla="*/ 6364032 h 6858001"/>
              <a:gd name="connsiteX109" fmla="*/ 2115184 w 12191999"/>
              <a:gd name="connsiteY109" fmla="*/ 6377243 h 6858001"/>
              <a:gd name="connsiteX110" fmla="*/ 2131448 w 12191999"/>
              <a:gd name="connsiteY110" fmla="*/ 6382412 h 6858001"/>
              <a:gd name="connsiteX111" fmla="*/ 2143450 w 12191999"/>
              <a:gd name="connsiteY111" fmla="*/ 6380296 h 6858001"/>
              <a:gd name="connsiteX112" fmla="*/ 2155089 w 12191999"/>
              <a:gd name="connsiteY112" fmla="*/ 6373041 h 6858001"/>
              <a:gd name="connsiteX113" fmla="*/ 2157265 w 12191999"/>
              <a:gd name="connsiteY113" fmla="*/ 6380961 h 6858001"/>
              <a:gd name="connsiteX114" fmla="*/ 2168632 w 12191999"/>
              <a:gd name="connsiteY114" fmla="*/ 6380961 h 6858001"/>
              <a:gd name="connsiteX115" fmla="*/ 2165881 w 12191999"/>
              <a:gd name="connsiteY115" fmla="*/ 6373252 h 6858001"/>
              <a:gd name="connsiteX116" fmla="*/ 2165185 w 12191999"/>
              <a:gd name="connsiteY116" fmla="*/ 6354056 h 6858001"/>
              <a:gd name="connsiteX117" fmla="*/ 2165185 w 12191999"/>
              <a:gd name="connsiteY117" fmla="*/ 6339545 h 6858001"/>
              <a:gd name="connsiteX118" fmla="*/ 2164641 w 12191999"/>
              <a:gd name="connsiteY118" fmla="*/ 6329509 h 6858001"/>
              <a:gd name="connsiteX119" fmla="*/ 2161255 w 12191999"/>
              <a:gd name="connsiteY119" fmla="*/ 6322102 h 6858001"/>
              <a:gd name="connsiteX120" fmla="*/ 2153698 w 12191999"/>
              <a:gd name="connsiteY120" fmla="*/ 6317235 h 6858001"/>
              <a:gd name="connsiteX121" fmla="*/ 2140336 w 12191999"/>
              <a:gd name="connsiteY121" fmla="*/ 6315300 h 6858001"/>
              <a:gd name="connsiteX122" fmla="*/ 2076744 w 12191999"/>
              <a:gd name="connsiteY122" fmla="*/ 6315300 h 6858001"/>
              <a:gd name="connsiteX123" fmla="*/ 2056309 w 12191999"/>
              <a:gd name="connsiteY123" fmla="*/ 6325881 h 6858001"/>
              <a:gd name="connsiteX124" fmla="*/ 2056309 w 12191999"/>
              <a:gd name="connsiteY124" fmla="*/ 6316751 h 6858001"/>
              <a:gd name="connsiteX125" fmla="*/ 2046514 w 12191999"/>
              <a:gd name="connsiteY125" fmla="*/ 6316751 h 6858001"/>
              <a:gd name="connsiteX126" fmla="*/ 2046514 w 12191999"/>
              <a:gd name="connsiteY126" fmla="*/ 6380961 h 6858001"/>
              <a:gd name="connsiteX127" fmla="*/ 2057397 w 12191999"/>
              <a:gd name="connsiteY127" fmla="*/ 6380961 h 6858001"/>
              <a:gd name="connsiteX128" fmla="*/ 2057397 w 12191999"/>
              <a:gd name="connsiteY128" fmla="*/ 6345894 h 6858001"/>
              <a:gd name="connsiteX129" fmla="*/ 2062445 w 12191999"/>
              <a:gd name="connsiteY129" fmla="*/ 6329146 h 6858001"/>
              <a:gd name="connsiteX130" fmla="*/ 2074447 w 12191999"/>
              <a:gd name="connsiteY130" fmla="*/ 6324732 h 6858001"/>
              <a:gd name="connsiteX131" fmla="*/ 2082035 w 12191999"/>
              <a:gd name="connsiteY131" fmla="*/ 6326697 h 6858001"/>
              <a:gd name="connsiteX132" fmla="*/ 2086539 w 12191999"/>
              <a:gd name="connsiteY132" fmla="*/ 6331957 h 6858001"/>
              <a:gd name="connsiteX133" fmla="*/ 2087809 w 12191999"/>
              <a:gd name="connsiteY133" fmla="*/ 6341903 h 6858001"/>
              <a:gd name="connsiteX134" fmla="*/ 2087809 w 12191999"/>
              <a:gd name="connsiteY134" fmla="*/ 6380961 h 6858001"/>
              <a:gd name="connsiteX135" fmla="*/ 2098692 w 12191999"/>
              <a:gd name="connsiteY135" fmla="*/ 6380961 h 6858001"/>
              <a:gd name="connsiteX136" fmla="*/ 2098692 w 12191999"/>
              <a:gd name="connsiteY136" fmla="*/ 6341480 h 6858001"/>
              <a:gd name="connsiteX137" fmla="*/ 2098087 w 12191999"/>
              <a:gd name="connsiteY137" fmla="*/ 6330899 h 6858001"/>
              <a:gd name="connsiteX138" fmla="*/ 2094702 w 12191999"/>
              <a:gd name="connsiteY138" fmla="*/ 6322858 h 6858001"/>
              <a:gd name="connsiteX139" fmla="*/ 2087416 w 12191999"/>
              <a:gd name="connsiteY139" fmla="*/ 6317386 h 6858001"/>
              <a:gd name="connsiteX140" fmla="*/ 2076744 w 12191999"/>
              <a:gd name="connsiteY140" fmla="*/ 6315300 h 6858001"/>
              <a:gd name="connsiteX141" fmla="*/ 2010069 w 12191999"/>
              <a:gd name="connsiteY141" fmla="*/ 6315300 h 6858001"/>
              <a:gd name="connsiteX142" fmla="*/ 1989633 w 12191999"/>
              <a:gd name="connsiteY142" fmla="*/ 6325881 h 6858001"/>
              <a:gd name="connsiteX143" fmla="*/ 1989633 w 12191999"/>
              <a:gd name="connsiteY143" fmla="*/ 6316751 h 6858001"/>
              <a:gd name="connsiteX144" fmla="*/ 1979839 w 12191999"/>
              <a:gd name="connsiteY144" fmla="*/ 6316751 h 6858001"/>
              <a:gd name="connsiteX145" fmla="*/ 1979839 w 12191999"/>
              <a:gd name="connsiteY145" fmla="*/ 6380961 h 6858001"/>
              <a:gd name="connsiteX146" fmla="*/ 1990722 w 12191999"/>
              <a:gd name="connsiteY146" fmla="*/ 6380961 h 6858001"/>
              <a:gd name="connsiteX147" fmla="*/ 1990722 w 12191999"/>
              <a:gd name="connsiteY147" fmla="*/ 6345894 h 6858001"/>
              <a:gd name="connsiteX148" fmla="*/ 1995770 w 12191999"/>
              <a:gd name="connsiteY148" fmla="*/ 6329146 h 6858001"/>
              <a:gd name="connsiteX149" fmla="*/ 2007772 w 12191999"/>
              <a:gd name="connsiteY149" fmla="*/ 6324732 h 6858001"/>
              <a:gd name="connsiteX150" fmla="*/ 2015360 w 12191999"/>
              <a:gd name="connsiteY150" fmla="*/ 6326697 h 6858001"/>
              <a:gd name="connsiteX151" fmla="*/ 2019864 w 12191999"/>
              <a:gd name="connsiteY151" fmla="*/ 6331957 h 6858001"/>
              <a:gd name="connsiteX152" fmla="*/ 2021134 w 12191999"/>
              <a:gd name="connsiteY152" fmla="*/ 6341903 h 6858001"/>
              <a:gd name="connsiteX153" fmla="*/ 2021134 w 12191999"/>
              <a:gd name="connsiteY153" fmla="*/ 6380961 h 6858001"/>
              <a:gd name="connsiteX154" fmla="*/ 2032017 w 12191999"/>
              <a:gd name="connsiteY154" fmla="*/ 6380961 h 6858001"/>
              <a:gd name="connsiteX155" fmla="*/ 2032017 w 12191999"/>
              <a:gd name="connsiteY155" fmla="*/ 6341480 h 6858001"/>
              <a:gd name="connsiteX156" fmla="*/ 2031412 w 12191999"/>
              <a:gd name="connsiteY156" fmla="*/ 6330899 h 6858001"/>
              <a:gd name="connsiteX157" fmla="*/ 2028026 w 12191999"/>
              <a:gd name="connsiteY157" fmla="*/ 6322858 h 6858001"/>
              <a:gd name="connsiteX158" fmla="*/ 2020741 w 12191999"/>
              <a:gd name="connsiteY158" fmla="*/ 6317386 h 6858001"/>
              <a:gd name="connsiteX159" fmla="*/ 2010069 w 12191999"/>
              <a:gd name="connsiteY159" fmla="*/ 6315300 h 6858001"/>
              <a:gd name="connsiteX160" fmla="*/ 1939525 w 12191999"/>
              <a:gd name="connsiteY160" fmla="*/ 6315300 h 6858001"/>
              <a:gd name="connsiteX161" fmla="*/ 1917880 w 12191999"/>
              <a:gd name="connsiteY161" fmla="*/ 6324248 h 6858001"/>
              <a:gd name="connsiteX162" fmla="*/ 1909536 w 12191999"/>
              <a:gd name="connsiteY162" fmla="*/ 6349400 h 6858001"/>
              <a:gd name="connsiteX163" fmla="*/ 1917789 w 12191999"/>
              <a:gd name="connsiteY163" fmla="*/ 6373736 h 6858001"/>
              <a:gd name="connsiteX164" fmla="*/ 1940129 w 12191999"/>
              <a:gd name="connsiteY164" fmla="*/ 6382412 h 6858001"/>
              <a:gd name="connsiteX165" fmla="*/ 1958510 w 12191999"/>
              <a:gd name="connsiteY165" fmla="*/ 6376971 h 6858001"/>
              <a:gd name="connsiteX166" fmla="*/ 1968365 w 12191999"/>
              <a:gd name="connsiteY166" fmla="*/ 6361674 h 6858001"/>
              <a:gd name="connsiteX167" fmla="*/ 1957119 w 12191999"/>
              <a:gd name="connsiteY167" fmla="*/ 6360283 h 6858001"/>
              <a:gd name="connsiteX168" fmla="*/ 1950408 w 12191999"/>
              <a:gd name="connsiteY168" fmla="*/ 6370320 h 6858001"/>
              <a:gd name="connsiteX169" fmla="*/ 1940190 w 12191999"/>
              <a:gd name="connsiteY169" fmla="*/ 6373464 h 6858001"/>
              <a:gd name="connsiteX170" fmla="*/ 1926767 w 12191999"/>
              <a:gd name="connsiteY170" fmla="*/ 6367841 h 6858001"/>
              <a:gd name="connsiteX171" fmla="*/ 1920782 w 12191999"/>
              <a:gd name="connsiteY171" fmla="*/ 6351637 h 6858001"/>
              <a:gd name="connsiteX172" fmla="*/ 1968667 w 12191999"/>
              <a:gd name="connsiteY172" fmla="*/ 6351637 h 6858001"/>
              <a:gd name="connsiteX173" fmla="*/ 1968728 w 12191999"/>
              <a:gd name="connsiteY173" fmla="*/ 6348735 h 6858001"/>
              <a:gd name="connsiteX174" fmla="*/ 1960565 w 12191999"/>
              <a:gd name="connsiteY174" fmla="*/ 6324067 h 6858001"/>
              <a:gd name="connsiteX175" fmla="*/ 1939525 w 12191999"/>
              <a:gd name="connsiteY175" fmla="*/ 6315300 h 6858001"/>
              <a:gd name="connsiteX176" fmla="*/ 1805752 w 12191999"/>
              <a:gd name="connsiteY176" fmla="*/ 6315300 h 6858001"/>
              <a:gd name="connsiteX177" fmla="*/ 1790425 w 12191999"/>
              <a:gd name="connsiteY177" fmla="*/ 6319200 h 6858001"/>
              <a:gd name="connsiteX178" fmla="*/ 1779935 w 12191999"/>
              <a:gd name="connsiteY178" fmla="*/ 6330899 h 6858001"/>
              <a:gd name="connsiteX179" fmla="*/ 1776488 w 12191999"/>
              <a:gd name="connsiteY179" fmla="*/ 6349098 h 6858001"/>
              <a:gd name="connsiteX180" fmla="*/ 1784499 w 12191999"/>
              <a:gd name="connsiteY180" fmla="*/ 6373797 h 6858001"/>
              <a:gd name="connsiteX181" fmla="*/ 1805691 w 12191999"/>
              <a:gd name="connsiteY181" fmla="*/ 6382412 h 6858001"/>
              <a:gd name="connsiteX182" fmla="*/ 1823437 w 12191999"/>
              <a:gd name="connsiteY182" fmla="*/ 6376155 h 6858001"/>
              <a:gd name="connsiteX183" fmla="*/ 1832415 w 12191999"/>
              <a:gd name="connsiteY183" fmla="*/ 6358832 h 6858001"/>
              <a:gd name="connsiteX184" fmla="*/ 1821714 w 12191999"/>
              <a:gd name="connsiteY184" fmla="*/ 6357442 h 6858001"/>
              <a:gd name="connsiteX185" fmla="*/ 1816272 w 12191999"/>
              <a:gd name="connsiteY185" fmla="*/ 6369534 h 6858001"/>
              <a:gd name="connsiteX186" fmla="*/ 1805570 w 12191999"/>
              <a:gd name="connsiteY186" fmla="*/ 6373464 h 6858001"/>
              <a:gd name="connsiteX187" fmla="*/ 1792632 w 12191999"/>
              <a:gd name="connsiteY187" fmla="*/ 6367599 h 6858001"/>
              <a:gd name="connsiteX188" fmla="*/ 1787674 w 12191999"/>
              <a:gd name="connsiteY188" fmla="*/ 6348796 h 6858001"/>
              <a:gd name="connsiteX189" fmla="*/ 1792813 w 12191999"/>
              <a:gd name="connsiteY189" fmla="*/ 6330143 h 6858001"/>
              <a:gd name="connsiteX190" fmla="*/ 1806175 w 12191999"/>
              <a:gd name="connsiteY190" fmla="*/ 6324248 h 6858001"/>
              <a:gd name="connsiteX191" fmla="*/ 1815456 w 12191999"/>
              <a:gd name="connsiteY191" fmla="*/ 6327513 h 6858001"/>
              <a:gd name="connsiteX192" fmla="*/ 1820806 w 12191999"/>
              <a:gd name="connsiteY192" fmla="*/ 6337248 h 6858001"/>
              <a:gd name="connsiteX193" fmla="*/ 1831387 w 12191999"/>
              <a:gd name="connsiteY193" fmla="*/ 6335615 h 6858001"/>
              <a:gd name="connsiteX194" fmla="*/ 1822862 w 12191999"/>
              <a:gd name="connsiteY194" fmla="*/ 6320591 h 6858001"/>
              <a:gd name="connsiteX195" fmla="*/ 1805752 w 12191999"/>
              <a:gd name="connsiteY195" fmla="*/ 6315300 h 6858001"/>
              <a:gd name="connsiteX196" fmla="*/ 1515165 w 12191999"/>
              <a:gd name="connsiteY196" fmla="*/ 6315300 h 6858001"/>
              <a:gd name="connsiteX197" fmla="*/ 1505763 w 12191999"/>
              <a:gd name="connsiteY197" fmla="*/ 6316600 h 6858001"/>
              <a:gd name="connsiteX198" fmla="*/ 1498840 w 12191999"/>
              <a:gd name="connsiteY198" fmla="*/ 6319774 h 6858001"/>
              <a:gd name="connsiteX199" fmla="*/ 1493489 w 12191999"/>
              <a:gd name="connsiteY199" fmla="*/ 6325851 h 6858001"/>
              <a:gd name="connsiteX200" fmla="*/ 1491524 w 12191999"/>
              <a:gd name="connsiteY200" fmla="*/ 6333801 h 6858001"/>
              <a:gd name="connsiteX201" fmla="*/ 1493913 w 12191999"/>
              <a:gd name="connsiteY201" fmla="*/ 6342417 h 6858001"/>
              <a:gd name="connsiteX202" fmla="*/ 1500926 w 12191999"/>
              <a:gd name="connsiteY202" fmla="*/ 6348524 h 6858001"/>
              <a:gd name="connsiteX203" fmla="*/ 1517523 w 12191999"/>
              <a:gd name="connsiteY203" fmla="*/ 6353754 h 6858001"/>
              <a:gd name="connsiteX204" fmla="*/ 1528648 w 12191999"/>
              <a:gd name="connsiteY204" fmla="*/ 6357442 h 6858001"/>
              <a:gd name="connsiteX205" fmla="*/ 1531852 w 12191999"/>
              <a:gd name="connsiteY205" fmla="*/ 6363246 h 6858001"/>
              <a:gd name="connsiteX206" fmla="*/ 1528224 w 12191999"/>
              <a:gd name="connsiteY206" fmla="*/ 6370411 h 6858001"/>
              <a:gd name="connsiteX207" fmla="*/ 1517100 w 12191999"/>
              <a:gd name="connsiteY207" fmla="*/ 6373464 h 6858001"/>
              <a:gd name="connsiteX208" fmla="*/ 1505521 w 12191999"/>
              <a:gd name="connsiteY208" fmla="*/ 6370018 h 6858001"/>
              <a:gd name="connsiteX209" fmla="*/ 1500472 w 12191999"/>
              <a:gd name="connsiteY209" fmla="*/ 6360102 h 6858001"/>
              <a:gd name="connsiteX210" fmla="*/ 1489710 w 12191999"/>
              <a:gd name="connsiteY210" fmla="*/ 6361795 h 6858001"/>
              <a:gd name="connsiteX211" fmla="*/ 1498084 w 12191999"/>
              <a:gd name="connsiteY211" fmla="*/ 6377213 h 6858001"/>
              <a:gd name="connsiteX212" fmla="*/ 1517160 w 12191999"/>
              <a:gd name="connsiteY212" fmla="*/ 6382412 h 6858001"/>
              <a:gd name="connsiteX213" fmla="*/ 1530703 w 12191999"/>
              <a:gd name="connsiteY213" fmla="*/ 6379782 h 6858001"/>
              <a:gd name="connsiteX214" fmla="*/ 1539863 w 12191999"/>
              <a:gd name="connsiteY214" fmla="*/ 6372345 h 6858001"/>
              <a:gd name="connsiteX215" fmla="*/ 1543037 w 12191999"/>
              <a:gd name="connsiteY215" fmla="*/ 6362097 h 6858001"/>
              <a:gd name="connsiteX216" fmla="*/ 1540437 w 12191999"/>
              <a:gd name="connsiteY216" fmla="*/ 6352786 h 6858001"/>
              <a:gd name="connsiteX217" fmla="*/ 1533273 w 12191999"/>
              <a:gd name="connsiteY217" fmla="*/ 6347073 h 6858001"/>
              <a:gd name="connsiteX218" fmla="*/ 1517160 w 12191999"/>
              <a:gd name="connsiteY218" fmla="*/ 6342024 h 6858001"/>
              <a:gd name="connsiteX219" fmla="*/ 1507547 w 12191999"/>
              <a:gd name="connsiteY219" fmla="*/ 6339243 h 6858001"/>
              <a:gd name="connsiteX220" fmla="*/ 1503375 w 12191999"/>
              <a:gd name="connsiteY220" fmla="*/ 6336341 h 6858001"/>
              <a:gd name="connsiteX221" fmla="*/ 1502044 w 12191999"/>
              <a:gd name="connsiteY221" fmla="*/ 6332532 h 6858001"/>
              <a:gd name="connsiteX222" fmla="*/ 1505249 w 12191999"/>
              <a:gd name="connsiteY222" fmla="*/ 6326727 h 6858001"/>
              <a:gd name="connsiteX223" fmla="*/ 1515951 w 12191999"/>
              <a:gd name="connsiteY223" fmla="*/ 6324248 h 6858001"/>
              <a:gd name="connsiteX224" fmla="*/ 1525776 w 12191999"/>
              <a:gd name="connsiteY224" fmla="*/ 6327030 h 6858001"/>
              <a:gd name="connsiteX225" fmla="*/ 1529978 w 12191999"/>
              <a:gd name="connsiteY225" fmla="*/ 6334769 h 6858001"/>
              <a:gd name="connsiteX226" fmla="*/ 1540619 w 12191999"/>
              <a:gd name="connsiteY226" fmla="*/ 6333318 h 6858001"/>
              <a:gd name="connsiteX227" fmla="*/ 1536870 w 12191999"/>
              <a:gd name="connsiteY227" fmla="*/ 6323372 h 6858001"/>
              <a:gd name="connsiteX228" fmla="*/ 1528436 w 12191999"/>
              <a:gd name="connsiteY228" fmla="*/ 6317477 h 6858001"/>
              <a:gd name="connsiteX229" fmla="*/ 1515165 w 12191999"/>
              <a:gd name="connsiteY229" fmla="*/ 6315300 h 6858001"/>
              <a:gd name="connsiteX230" fmla="*/ 1479544 w 12191999"/>
              <a:gd name="connsiteY230" fmla="*/ 6315300 h 6858001"/>
              <a:gd name="connsiteX231" fmla="*/ 1472560 w 12191999"/>
              <a:gd name="connsiteY231" fmla="*/ 6317477 h 6858001"/>
              <a:gd name="connsiteX232" fmla="*/ 1465638 w 12191999"/>
              <a:gd name="connsiteY232" fmla="*/ 6326486 h 6858001"/>
              <a:gd name="connsiteX233" fmla="*/ 1465638 w 12191999"/>
              <a:gd name="connsiteY233" fmla="*/ 6316751 h 6858001"/>
              <a:gd name="connsiteX234" fmla="*/ 1455843 w 12191999"/>
              <a:gd name="connsiteY234" fmla="*/ 6316751 h 6858001"/>
              <a:gd name="connsiteX235" fmla="*/ 1455843 w 12191999"/>
              <a:gd name="connsiteY235" fmla="*/ 6380961 h 6858001"/>
              <a:gd name="connsiteX236" fmla="*/ 1466726 w 12191999"/>
              <a:gd name="connsiteY236" fmla="*/ 6380961 h 6858001"/>
              <a:gd name="connsiteX237" fmla="*/ 1466726 w 12191999"/>
              <a:gd name="connsiteY237" fmla="*/ 6347345 h 6858001"/>
              <a:gd name="connsiteX238" fmla="*/ 1468540 w 12191999"/>
              <a:gd name="connsiteY238" fmla="*/ 6334648 h 6858001"/>
              <a:gd name="connsiteX239" fmla="*/ 1472590 w 12191999"/>
              <a:gd name="connsiteY239" fmla="*/ 6328692 h 6858001"/>
              <a:gd name="connsiteX240" fmla="*/ 1479000 w 12191999"/>
              <a:gd name="connsiteY240" fmla="*/ 6326546 h 6858001"/>
              <a:gd name="connsiteX241" fmla="*/ 1486980 w 12191999"/>
              <a:gd name="connsiteY241" fmla="*/ 6328904 h 6858001"/>
              <a:gd name="connsiteX242" fmla="*/ 1490729 w 12191999"/>
              <a:gd name="connsiteY242" fmla="*/ 6318807 h 6858001"/>
              <a:gd name="connsiteX243" fmla="*/ 1479544 w 12191999"/>
              <a:gd name="connsiteY243" fmla="*/ 6315300 h 6858001"/>
              <a:gd name="connsiteX244" fmla="*/ 1416436 w 12191999"/>
              <a:gd name="connsiteY244" fmla="*/ 6315300 h 6858001"/>
              <a:gd name="connsiteX245" fmla="*/ 1401865 w 12191999"/>
              <a:gd name="connsiteY245" fmla="*/ 6317567 h 6858001"/>
              <a:gd name="connsiteX246" fmla="*/ 1392251 w 12191999"/>
              <a:gd name="connsiteY246" fmla="*/ 6324037 h 6858001"/>
              <a:gd name="connsiteX247" fmla="*/ 1387475 w 12191999"/>
              <a:gd name="connsiteY247" fmla="*/ 6335071 h 6858001"/>
              <a:gd name="connsiteX248" fmla="*/ 1398116 w 12191999"/>
              <a:gd name="connsiteY248" fmla="*/ 6336522 h 6858001"/>
              <a:gd name="connsiteX249" fmla="*/ 1403527 w 12191999"/>
              <a:gd name="connsiteY249" fmla="*/ 6326999 h 6858001"/>
              <a:gd name="connsiteX250" fmla="*/ 1414864 w 12191999"/>
              <a:gd name="connsiteY250" fmla="*/ 6324309 h 6858001"/>
              <a:gd name="connsiteX251" fmla="*/ 1427258 w 12191999"/>
              <a:gd name="connsiteY251" fmla="*/ 6327997 h 6858001"/>
              <a:gd name="connsiteX252" fmla="*/ 1430342 w 12191999"/>
              <a:gd name="connsiteY252" fmla="*/ 6337369 h 6858001"/>
              <a:gd name="connsiteX253" fmla="*/ 1430281 w 12191999"/>
              <a:gd name="connsiteY253" fmla="*/ 6340210 h 6858001"/>
              <a:gd name="connsiteX254" fmla="*/ 1410873 w 12191999"/>
              <a:gd name="connsiteY254" fmla="*/ 6343959 h 6858001"/>
              <a:gd name="connsiteX255" fmla="*/ 1401199 w 12191999"/>
              <a:gd name="connsiteY255" fmla="*/ 6345591 h 6858001"/>
              <a:gd name="connsiteX256" fmla="*/ 1393370 w 12191999"/>
              <a:gd name="connsiteY256" fmla="*/ 6349159 h 6858001"/>
              <a:gd name="connsiteX257" fmla="*/ 1387747 w 12191999"/>
              <a:gd name="connsiteY257" fmla="*/ 6355416 h 6858001"/>
              <a:gd name="connsiteX258" fmla="*/ 1385600 w 12191999"/>
              <a:gd name="connsiteY258" fmla="*/ 6364032 h 6858001"/>
              <a:gd name="connsiteX259" fmla="*/ 1391284 w 12191999"/>
              <a:gd name="connsiteY259" fmla="*/ 6377243 h 6858001"/>
              <a:gd name="connsiteX260" fmla="*/ 1407548 w 12191999"/>
              <a:gd name="connsiteY260" fmla="*/ 6382412 h 6858001"/>
              <a:gd name="connsiteX261" fmla="*/ 1419550 w 12191999"/>
              <a:gd name="connsiteY261" fmla="*/ 6380296 h 6858001"/>
              <a:gd name="connsiteX262" fmla="*/ 1431188 w 12191999"/>
              <a:gd name="connsiteY262" fmla="*/ 6373041 h 6858001"/>
              <a:gd name="connsiteX263" fmla="*/ 1433365 w 12191999"/>
              <a:gd name="connsiteY263" fmla="*/ 6380961 h 6858001"/>
              <a:gd name="connsiteX264" fmla="*/ 1444732 w 12191999"/>
              <a:gd name="connsiteY264" fmla="*/ 6380961 h 6858001"/>
              <a:gd name="connsiteX265" fmla="*/ 1441981 w 12191999"/>
              <a:gd name="connsiteY265" fmla="*/ 6373252 h 6858001"/>
              <a:gd name="connsiteX266" fmla="*/ 1441285 w 12191999"/>
              <a:gd name="connsiteY266" fmla="*/ 6354056 h 6858001"/>
              <a:gd name="connsiteX267" fmla="*/ 1441285 w 12191999"/>
              <a:gd name="connsiteY267" fmla="*/ 6339545 h 6858001"/>
              <a:gd name="connsiteX268" fmla="*/ 1440741 w 12191999"/>
              <a:gd name="connsiteY268" fmla="*/ 6329509 h 6858001"/>
              <a:gd name="connsiteX269" fmla="*/ 1437355 w 12191999"/>
              <a:gd name="connsiteY269" fmla="*/ 6322102 h 6858001"/>
              <a:gd name="connsiteX270" fmla="*/ 1429798 w 12191999"/>
              <a:gd name="connsiteY270" fmla="*/ 6317235 h 6858001"/>
              <a:gd name="connsiteX271" fmla="*/ 1416436 w 12191999"/>
              <a:gd name="connsiteY271" fmla="*/ 6315300 h 6858001"/>
              <a:gd name="connsiteX272" fmla="*/ 1167698 w 12191999"/>
              <a:gd name="connsiteY272" fmla="*/ 6315300 h 6858001"/>
              <a:gd name="connsiteX273" fmla="*/ 1147503 w 12191999"/>
              <a:gd name="connsiteY273" fmla="*/ 6322435 h 6858001"/>
              <a:gd name="connsiteX274" fmla="*/ 1137588 w 12191999"/>
              <a:gd name="connsiteY274" fmla="*/ 6348856 h 6858001"/>
              <a:gd name="connsiteX275" fmla="*/ 1145901 w 12191999"/>
              <a:gd name="connsiteY275" fmla="*/ 6373766 h 6858001"/>
              <a:gd name="connsiteX276" fmla="*/ 1167698 w 12191999"/>
              <a:gd name="connsiteY276" fmla="*/ 6382412 h 6858001"/>
              <a:gd name="connsiteX277" fmla="*/ 1183206 w 12191999"/>
              <a:gd name="connsiteY277" fmla="*/ 6378482 h 6858001"/>
              <a:gd name="connsiteX278" fmla="*/ 1194028 w 12191999"/>
              <a:gd name="connsiteY278" fmla="*/ 6367448 h 6858001"/>
              <a:gd name="connsiteX279" fmla="*/ 1197747 w 12191999"/>
              <a:gd name="connsiteY279" fmla="*/ 6347949 h 6858001"/>
              <a:gd name="connsiteX280" fmla="*/ 1189343 w 12191999"/>
              <a:gd name="connsiteY280" fmla="*/ 6323976 h 6858001"/>
              <a:gd name="connsiteX281" fmla="*/ 1167698 w 12191999"/>
              <a:gd name="connsiteY281" fmla="*/ 6315300 h 6858001"/>
              <a:gd name="connsiteX282" fmla="*/ 1057965 w 12191999"/>
              <a:gd name="connsiteY282" fmla="*/ 6315300 h 6858001"/>
              <a:gd name="connsiteX283" fmla="*/ 1048563 w 12191999"/>
              <a:gd name="connsiteY283" fmla="*/ 6316600 h 6858001"/>
              <a:gd name="connsiteX284" fmla="*/ 1041640 w 12191999"/>
              <a:gd name="connsiteY284" fmla="*/ 6319774 h 6858001"/>
              <a:gd name="connsiteX285" fmla="*/ 1036289 w 12191999"/>
              <a:gd name="connsiteY285" fmla="*/ 6325851 h 6858001"/>
              <a:gd name="connsiteX286" fmla="*/ 1034324 w 12191999"/>
              <a:gd name="connsiteY286" fmla="*/ 6333801 h 6858001"/>
              <a:gd name="connsiteX287" fmla="*/ 1036712 w 12191999"/>
              <a:gd name="connsiteY287" fmla="*/ 6342417 h 6858001"/>
              <a:gd name="connsiteX288" fmla="*/ 1043726 w 12191999"/>
              <a:gd name="connsiteY288" fmla="*/ 6348524 h 6858001"/>
              <a:gd name="connsiteX289" fmla="*/ 1060323 w 12191999"/>
              <a:gd name="connsiteY289" fmla="*/ 6353754 h 6858001"/>
              <a:gd name="connsiteX290" fmla="*/ 1071447 w 12191999"/>
              <a:gd name="connsiteY290" fmla="*/ 6357442 h 6858001"/>
              <a:gd name="connsiteX291" fmla="*/ 1074652 w 12191999"/>
              <a:gd name="connsiteY291" fmla="*/ 6363246 h 6858001"/>
              <a:gd name="connsiteX292" fmla="*/ 1071024 w 12191999"/>
              <a:gd name="connsiteY292" fmla="*/ 6370411 h 6858001"/>
              <a:gd name="connsiteX293" fmla="*/ 1059899 w 12191999"/>
              <a:gd name="connsiteY293" fmla="*/ 6373464 h 6858001"/>
              <a:gd name="connsiteX294" fmla="*/ 1048321 w 12191999"/>
              <a:gd name="connsiteY294" fmla="*/ 6370018 h 6858001"/>
              <a:gd name="connsiteX295" fmla="*/ 1043272 w 12191999"/>
              <a:gd name="connsiteY295" fmla="*/ 6360102 h 6858001"/>
              <a:gd name="connsiteX296" fmla="*/ 1032510 w 12191999"/>
              <a:gd name="connsiteY296" fmla="*/ 6361795 h 6858001"/>
              <a:gd name="connsiteX297" fmla="*/ 1040884 w 12191999"/>
              <a:gd name="connsiteY297" fmla="*/ 6377213 h 6858001"/>
              <a:gd name="connsiteX298" fmla="*/ 1059960 w 12191999"/>
              <a:gd name="connsiteY298" fmla="*/ 6382412 h 6858001"/>
              <a:gd name="connsiteX299" fmla="*/ 1073503 w 12191999"/>
              <a:gd name="connsiteY299" fmla="*/ 6379782 h 6858001"/>
              <a:gd name="connsiteX300" fmla="*/ 1082663 w 12191999"/>
              <a:gd name="connsiteY300" fmla="*/ 6372345 h 6858001"/>
              <a:gd name="connsiteX301" fmla="*/ 1085837 w 12191999"/>
              <a:gd name="connsiteY301" fmla="*/ 6362097 h 6858001"/>
              <a:gd name="connsiteX302" fmla="*/ 1083237 w 12191999"/>
              <a:gd name="connsiteY302" fmla="*/ 6352786 h 6858001"/>
              <a:gd name="connsiteX303" fmla="*/ 1076073 w 12191999"/>
              <a:gd name="connsiteY303" fmla="*/ 6347073 h 6858001"/>
              <a:gd name="connsiteX304" fmla="*/ 1059960 w 12191999"/>
              <a:gd name="connsiteY304" fmla="*/ 6342024 h 6858001"/>
              <a:gd name="connsiteX305" fmla="*/ 1050346 w 12191999"/>
              <a:gd name="connsiteY305" fmla="*/ 6339243 h 6858001"/>
              <a:gd name="connsiteX306" fmla="*/ 1046175 w 12191999"/>
              <a:gd name="connsiteY306" fmla="*/ 6336341 h 6858001"/>
              <a:gd name="connsiteX307" fmla="*/ 1044844 w 12191999"/>
              <a:gd name="connsiteY307" fmla="*/ 6332532 h 6858001"/>
              <a:gd name="connsiteX308" fmla="*/ 1048049 w 12191999"/>
              <a:gd name="connsiteY308" fmla="*/ 6326727 h 6858001"/>
              <a:gd name="connsiteX309" fmla="*/ 1058751 w 12191999"/>
              <a:gd name="connsiteY309" fmla="*/ 6324248 h 6858001"/>
              <a:gd name="connsiteX310" fmla="*/ 1068576 w 12191999"/>
              <a:gd name="connsiteY310" fmla="*/ 6327030 h 6858001"/>
              <a:gd name="connsiteX311" fmla="*/ 1072778 w 12191999"/>
              <a:gd name="connsiteY311" fmla="*/ 6334769 h 6858001"/>
              <a:gd name="connsiteX312" fmla="*/ 1083419 w 12191999"/>
              <a:gd name="connsiteY312" fmla="*/ 6333318 h 6858001"/>
              <a:gd name="connsiteX313" fmla="*/ 1079670 w 12191999"/>
              <a:gd name="connsiteY313" fmla="*/ 6323372 h 6858001"/>
              <a:gd name="connsiteX314" fmla="*/ 1071236 w 12191999"/>
              <a:gd name="connsiteY314" fmla="*/ 6317477 h 6858001"/>
              <a:gd name="connsiteX315" fmla="*/ 1057965 w 12191999"/>
              <a:gd name="connsiteY315" fmla="*/ 6315300 h 6858001"/>
              <a:gd name="connsiteX316" fmla="*/ 991290 w 12191999"/>
              <a:gd name="connsiteY316" fmla="*/ 6315300 h 6858001"/>
              <a:gd name="connsiteX317" fmla="*/ 981888 w 12191999"/>
              <a:gd name="connsiteY317" fmla="*/ 6316600 h 6858001"/>
              <a:gd name="connsiteX318" fmla="*/ 974965 w 12191999"/>
              <a:gd name="connsiteY318" fmla="*/ 6319774 h 6858001"/>
              <a:gd name="connsiteX319" fmla="*/ 969614 w 12191999"/>
              <a:gd name="connsiteY319" fmla="*/ 6325851 h 6858001"/>
              <a:gd name="connsiteX320" fmla="*/ 967649 w 12191999"/>
              <a:gd name="connsiteY320" fmla="*/ 6333801 h 6858001"/>
              <a:gd name="connsiteX321" fmla="*/ 970037 w 12191999"/>
              <a:gd name="connsiteY321" fmla="*/ 6342417 h 6858001"/>
              <a:gd name="connsiteX322" fmla="*/ 977051 w 12191999"/>
              <a:gd name="connsiteY322" fmla="*/ 6348524 h 6858001"/>
              <a:gd name="connsiteX323" fmla="*/ 993648 w 12191999"/>
              <a:gd name="connsiteY323" fmla="*/ 6353754 h 6858001"/>
              <a:gd name="connsiteX324" fmla="*/ 1004772 w 12191999"/>
              <a:gd name="connsiteY324" fmla="*/ 6357442 h 6858001"/>
              <a:gd name="connsiteX325" fmla="*/ 1007977 w 12191999"/>
              <a:gd name="connsiteY325" fmla="*/ 6363246 h 6858001"/>
              <a:gd name="connsiteX326" fmla="*/ 1004349 w 12191999"/>
              <a:gd name="connsiteY326" fmla="*/ 6370411 h 6858001"/>
              <a:gd name="connsiteX327" fmla="*/ 993224 w 12191999"/>
              <a:gd name="connsiteY327" fmla="*/ 6373464 h 6858001"/>
              <a:gd name="connsiteX328" fmla="*/ 981646 w 12191999"/>
              <a:gd name="connsiteY328" fmla="*/ 6370018 h 6858001"/>
              <a:gd name="connsiteX329" fmla="*/ 976598 w 12191999"/>
              <a:gd name="connsiteY329" fmla="*/ 6360102 h 6858001"/>
              <a:gd name="connsiteX330" fmla="*/ 965835 w 12191999"/>
              <a:gd name="connsiteY330" fmla="*/ 6361795 h 6858001"/>
              <a:gd name="connsiteX331" fmla="*/ 974209 w 12191999"/>
              <a:gd name="connsiteY331" fmla="*/ 6377213 h 6858001"/>
              <a:gd name="connsiteX332" fmla="*/ 993285 w 12191999"/>
              <a:gd name="connsiteY332" fmla="*/ 6382412 h 6858001"/>
              <a:gd name="connsiteX333" fmla="*/ 1006828 w 12191999"/>
              <a:gd name="connsiteY333" fmla="*/ 6379782 h 6858001"/>
              <a:gd name="connsiteX334" fmla="*/ 1015988 w 12191999"/>
              <a:gd name="connsiteY334" fmla="*/ 6372345 h 6858001"/>
              <a:gd name="connsiteX335" fmla="*/ 1019162 w 12191999"/>
              <a:gd name="connsiteY335" fmla="*/ 6362097 h 6858001"/>
              <a:gd name="connsiteX336" fmla="*/ 1016562 w 12191999"/>
              <a:gd name="connsiteY336" fmla="*/ 6352786 h 6858001"/>
              <a:gd name="connsiteX337" fmla="*/ 1009398 w 12191999"/>
              <a:gd name="connsiteY337" fmla="*/ 6347073 h 6858001"/>
              <a:gd name="connsiteX338" fmla="*/ 993285 w 12191999"/>
              <a:gd name="connsiteY338" fmla="*/ 6342024 h 6858001"/>
              <a:gd name="connsiteX339" fmla="*/ 983671 w 12191999"/>
              <a:gd name="connsiteY339" fmla="*/ 6339243 h 6858001"/>
              <a:gd name="connsiteX340" fmla="*/ 979500 w 12191999"/>
              <a:gd name="connsiteY340" fmla="*/ 6336341 h 6858001"/>
              <a:gd name="connsiteX341" fmla="*/ 978170 w 12191999"/>
              <a:gd name="connsiteY341" fmla="*/ 6332532 h 6858001"/>
              <a:gd name="connsiteX342" fmla="*/ 981374 w 12191999"/>
              <a:gd name="connsiteY342" fmla="*/ 6326727 h 6858001"/>
              <a:gd name="connsiteX343" fmla="*/ 992076 w 12191999"/>
              <a:gd name="connsiteY343" fmla="*/ 6324248 h 6858001"/>
              <a:gd name="connsiteX344" fmla="*/ 1001900 w 12191999"/>
              <a:gd name="connsiteY344" fmla="*/ 6327030 h 6858001"/>
              <a:gd name="connsiteX345" fmla="*/ 1006103 w 12191999"/>
              <a:gd name="connsiteY345" fmla="*/ 6334769 h 6858001"/>
              <a:gd name="connsiteX346" fmla="*/ 1016744 w 12191999"/>
              <a:gd name="connsiteY346" fmla="*/ 6333318 h 6858001"/>
              <a:gd name="connsiteX347" fmla="*/ 1012995 w 12191999"/>
              <a:gd name="connsiteY347" fmla="*/ 6323372 h 6858001"/>
              <a:gd name="connsiteX348" fmla="*/ 1004561 w 12191999"/>
              <a:gd name="connsiteY348" fmla="*/ 6317477 h 6858001"/>
              <a:gd name="connsiteX349" fmla="*/ 991290 w 12191999"/>
              <a:gd name="connsiteY349" fmla="*/ 6315300 h 6858001"/>
              <a:gd name="connsiteX350" fmla="*/ 929875 w 12191999"/>
              <a:gd name="connsiteY350" fmla="*/ 6315300 h 6858001"/>
              <a:gd name="connsiteX351" fmla="*/ 908229 w 12191999"/>
              <a:gd name="connsiteY351" fmla="*/ 6324248 h 6858001"/>
              <a:gd name="connsiteX352" fmla="*/ 899886 w 12191999"/>
              <a:gd name="connsiteY352" fmla="*/ 6349400 h 6858001"/>
              <a:gd name="connsiteX353" fmla="*/ 908139 w 12191999"/>
              <a:gd name="connsiteY353" fmla="*/ 6373736 h 6858001"/>
              <a:gd name="connsiteX354" fmla="*/ 930479 w 12191999"/>
              <a:gd name="connsiteY354" fmla="*/ 6382412 h 6858001"/>
              <a:gd name="connsiteX355" fmla="*/ 948860 w 12191999"/>
              <a:gd name="connsiteY355" fmla="*/ 6376971 h 6858001"/>
              <a:gd name="connsiteX356" fmla="*/ 958715 w 12191999"/>
              <a:gd name="connsiteY356" fmla="*/ 6361674 h 6858001"/>
              <a:gd name="connsiteX357" fmla="*/ 947469 w 12191999"/>
              <a:gd name="connsiteY357" fmla="*/ 6360283 h 6858001"/>
              <a:gd name="connsiteX358" fmla="*/ 940758 w 12191999"/>
              <a:gd name="connsiteY358" fmla="*/ 6370320 h 6858001"/>
              <a:gd name="connsiteX359" fmla="*/ 930540 w 12191999"/>
              <a:gd name="connsiteY359" fmla="*/ 6373464 h 6858001"/>
              <a:gd name="connsiteX360" fmla="*/ 917117 w 12191999"/>
              <a:gd name="connsiteY360" fmla="*/ 6367841 h 6858001"/>
              <a:gd name="connsiteX361" fmla="*/ 911132 w 12191999"/>
              <a:gd name="connsiteY361" fmla="*/ 6351637 h 6858001"/>
              <a:gd name="connsiteX362" fmla="*/ 959017 w 12191999"/>
              <a:gd name="connsiteY362" fmla="*/ 6351637 h 6858001"/>
              <a:gd name="connsiteX363" fmla="*/ 959078 w 12191999"/>
              <a:gd name="connsiteY363" fmla="*/ 6348735 h 6858001"/>
              <a:gd name="connsiteX364" fmla="*/ 950915 w 12191999"/>
              <a:gd name="connsiteY364" fmla="*/ 6324067 h 6858001"/>
              <a:gd name="connsiteX365" fmla="*/ 929875 w 12191999"/>
              <a:gd name="connsiteY365" fmla="*/ 6315300 h 6858001"/>
              <a:gd name="connsiteX366" fmla="*/ 867069 w 12191999"/>
              <a:gd name="connsiteY366" fmla="*/ 6315300 h 6858001"/>
              <a:gd name="connsiteX367" fmla="*/ 846633 w 12191999"/>
              <a:gd name="connsiteY367" fmla="*/ 6325881 h 6858001"/>
              <a:gd name="connsiteX368" fmla="*/ 846633 w 12191999"/>
              <a:gd name="connsiteY368" fmla="*/ 6316751 h 6858001"/>
              <a:gd name="connsiteX369" fmla="*/ 836839 w 12191999"/>
              <a:gd name="connsiteY369" fmla="*/ 6316751 h 6858001"/>
              <a:gd name="connsiteX370" fmla="*/ 836839 w 12191999"/>
              <a:gd name="connsiteY370" fmla="*/ 6380961 h 6858001"/>
              <a:gd name="connsiteX371" fmla="*/ 847722 w 12191999"/>
              <a:gd name="connsiteY371" fmla="*/ 6380961 h 6858001"/>
              <a:gd name="connsiteX372" fmla="*/ 847722 w 12191999"/>
              <a:gd name="connsiteY372" fmla="*/ 6345894 h 6858001"/>
              <a:gd name="connsiteX373" fmla="*/ 852770 w 12191999"/>
              <a:gd name="connsiteY373" fmla="*/ 6329146 h 6858001"/>
              <a:gd name="connsiteX374" fmla="*/ 864772 w 12191999"/>
              <a:gd name="connsiteY374" fmla="*/ 6324732 h 6858001"/>
              <a:gd name="connsiteX375" fmla="*/ 872360 w 12191999"/>
              <a:gd name="connsiteY375" fmla="*/ 6326697 h 6858001"/>
              <a:gd name="connsiteX376" fmla="*/ 876864 w 12191999"/>
              <a:gd name="connsiteY376" fmla="*/ 6331957 h 6858001"/>
              <a:gd name="connsiteX377" fmla="*/ 878134 w 12191999"/>
              <a:gd name="connsiteY377" fmla="*/ 6341903 h 6858001"/>
              <a:gd name="connsiteX378" fmla="*/ 878134 w 12191999"/>
              <a:gd name="connsiteY378" fmla="*/ 6380961 h 6858001"/>
              <a:gd name="connsiteX379" fmla="*/ 889017 w 12191999"/>
              <a:gd name="connsiteY379" fmla="*/ 6380961 h 6858001"/>
              <a:gd name="connsiteX380" fmla="*/ 889017 w 12191999"/>
              <a:gd name="connsiteY380" fmla="*/ 6341480 h 6858001"/>
              <a:gd name="connsiteX381" fmla="*/ 888412 w 12191999"/>
              <a:gd name="connsiteY381" fmla="*/ 6330899 h 6858001"/>
              <a:gd name="connsiteX382" fmla="*/ 885026 w 12191999"/>
              <a:gd name="connsiteY382" fmla="*/ 6322858 h 6858001"/>
              <a:gd name="connsiteX383" fmla="*/ 877741 w 12191999"/>
              <a:gd name="connsiteY383" fmla="*/ 6317386 h 6858001"/>
              <a:gd name="connsiteX384" fmla="*/ 867069 w 12191999"/>
              <a:gd name="connsiteY384" fmla="*/ 6315300 h 6858001"/>
              <a:gd name="connsiteX385" fmla="*/ 762690 w 12191999"/>
              <a:gd name="connsiteY385" fmla="*/ 6315300 h 6858001"/>
              <a:gd name="connsiteX386" fmla="*/ 753288 w 12191999"/>
              <a:gd name="connsiteY386" fmla="*/ 6316600 h 6858001"/>
              <a:gd name="connsiteX387" fmla="*/ 746365 w 12191999"/>
              <a:gd name="connsiteY387" fmla="*/ 6319774 h 6858001"/>
              <a:gd name="connsiteX388" fmla="*/ 741014 w 12191999"/>
              <a:gd name="connsiteY388" fmla="*/ 6325851 h 6858001"/>
              <a:gd name="connsiteX389" fmla="*/ 739049 w 12191999"/>
              <a:gd name="connsiteY389" fmla="*/ 6333801 h 6858001"/>
              <a:gd name="connsiteX390" fmla="*/ 741437 w 12191999"/>
              <a:gd name="connsiteY390" fmla="*/ 6342417 h 6858001"/>
              <a:gd name="connsiteX391" fmla="*/ 748451 w 12191999"/>
              <a:gd name="connsiteY391" fmla="*/ 6348524 h 6858001"/>
              <a:gd name="connsiteX392" fmla="*/ 765048 w 12191999"/>
              <a:gd name="connsiteY392" fmla="*/ 6353754 h 6858001"/>
              <a:gd name="connsiteX393" fmla="*/ 776172 w 12191999"/>
              <a:gd name="connsiteY393" fmla="*/ 6357442 h 6858001"/>
              <a:gd name="connsiteX394" fmla="*/ 779377 w 12191999"/>
              <a:gd name="connsiteY394" fmla="*/ 6363246 h 6858001"/>
              <a:gd name="connsiteX395" fmla="*/ 775749 w 12191999"/>
              <a:gd name="connsiteY395" fmla="*/ 6370411 h 6858001"/>
              <a:gd name="connsiteX396" fmla="*/ 764624 w 12191999"/>
              <a:gd name="connsiteY396" fmla="*/ 6373464 h 6858001"/>
              <a:gd name="connsiteX397" fmla="*/ 753046 w 12191999"/>
              <a:gd name="connsiteY397" fmla="*/ 6370018 h 6858001"/>
              <a:gd name="connsiteX398" fmla="*/ 747997 w 12191999"/>
              <a:gd name="connsiteY398" fmla="*/ 6360102 h 6858001"/>
              <a:gd name="connsiteX399" fmla="*/ 737235 w 12191999"/>
              <a:gd name="connsiteY399" fmla="*/ 6361795 h 6858001"/>
              <a:gd name="connsiteX400" fmla="*/ 745609 w 12191999"/>
              <a:gd name="connsiteY400" fmla="*/ 6377213 h 6858001"/>
              <a:gd name="connsiteX401" fmla="*/ 764685 w 12191999"/>
              <a:gd name="connsiteY401" fmla="*/ 6382412 h 6858001"/>
              <a:gd name="connsiteX402" fmla="*/ 778228 w 12191999"/>
              <a:gd name="connsiteY402" fmla="*/ 6379782 h 6858001"/>
              <a:gd name="connsiteX403" fmla="*/ 787388 w 12191999"/>
              <a:gd name="connsiteY403" fmla="*/ 6372345 h 6858001"/>
              <a:gd name="connsiteX404" fmla="*/ 790562 w 12191999"/>
              <a:gd name="connsiteY404" fmla="*/ 6362097 h 6858001"/>
              <a:gd name="connsiteX405" fmla="*/ 787962 w 12191999"/>
              <a:gd name="connsiteY405" fmla="*/ 6352786 h 6858001"/>
              <a:gd name="connsiteX406" fmla="*/ 780798 w 12191999"/>
              <a:gd name="connsiteY406" fmla="*/ 6347073 h 6858001"/>
              <a:gd name="connsiteX407" fmla="*/ 764685 w 12191999"/>
              <a:gd name="connsiteY407" fmla="*/ 6342024 h 6858001"/>
              <a:gd name="connsiteX408" fmla="*/ 755071 w 12191999"/>
              <a:gd name="connsiteY408" fmla="*/ 6339243 h 6858001"/>
              <a:gd name="connsiteX409" fmla="*/ 750900 w 12191999"/>
              <a:gd name="connsiteY409" fmla="*/ 6336341 h 6858001"/>
              <a:gd name="connsiteX410" fmla="*/ 749569 w 12191999"/>
              <a:gd name="connsiteY410" fmla="*/ 6332532 h 6858001"/>
              <a:gd name="connsiteX411" fmla="*/ 752774 w 12191999"/>
              <a:gd name="connsiteY411" fmla="*/ 6326727 h 6858001"/>
              <a:gd name="connsiteX412" fmla="*/ 763476 w 12191999"/>
              <a:gd name="connsiteY412" fmla="*/ 6324248 h 6858001"/>
              <a:gd name="connsiteX413" fmla="*/ 773301 w 12191999"/>
              <a:gd name="connsiteY413" fmla="*/ 6327030 h 6858001"/>
              <a:gd name="connsiteX414" fmla="*/ 777503 w 12191999"/>
              <a:gd name="connsiteY414" fmla="*/ 6334769 h 6858001"/>
              <a:gd name="connsiteX415" fmla="*/ 788144 w 12191999"/>
              <a:gd name="connsiteY415" fmla="*/ 6333318 h 6858001"/>
              <a:gd name="connsiteX416" fmla="*/ 784395 w 12191999"/>
              <a:gd name="connsiteY416" fmla="*/ 6323372 h 6858001"/>
              <a:gd name="connsiteX417" fmla="*/ 775961 w 12191999"/>
              <a:gd name="connsiteY417" fmla="*/ 6317477 h 6858001"/>
              <a:gd name="connsiteX418" fmla="*/ 762690 w 12191999"/>
              <a:gd name="connsiteY418" fmla="*/ 6315300 h 6858001"/>
              <a:gd name="connsiteX419" fmla="*/ 525681 w 12191999"/>
              <a:gd name="connsiteY419" fmla="*/ 6301636 h 6858001"/>
              <a:gd name="connsiteX420" fmla="*/ 531969 w 12191999"/>
              <a:gd name="connsiteY420" fmla="*/ 6320016 h 6858001"/>
              <a:gd name="connsiteX421" fmla="*/ 541219 w 12191999"/>
              <a:gd name="connsiteY421" fmla="*/ 6344563 h 6858001"/>
              <a:gd name="connsiteX422" fmla="*/ 511170 w 12191999"/>
              <a:gd name="connsiteY422" fmla="*/ 6344563 h 6858001"/>
              <a:gd name="connsiteX423" fmla="*/ 520904 w 12191999"/>
              <a:gd name="connsiteY423" fmla="*/ 6318565 h 6858001"/>
              <a:gd name="connsiteX424" fmla="*/ 525681 w 12191999"/>
              <a:gd name="connsiteY424" fmla="*/ 6301636 h 6858001"/>
              <a:gd name="connsiteX425" fmla="*/ 1847396 w 12191999"/>
              <a:gd name="connsiteY425" fmla="*/ 6292325 h 6858001"/>
              <a:gd name="connsiteX426" fmla="*/ 1847396 w 12191999"/>
              <a:gd name="connsiteY426" fmla="*/ 6380961 h 6858001"/>
              <a:gd name="connsiteX427" fmla="*/ 1902778 w 12191999"/>
              <a:gd name="connsiteY427" fmla="*/ 6380961 h 6858001"/>
              <a:gd name="connsiteX428" fmla="*/ 1902778 w 12191999"/>
              <a:gd name="connsiteY428" fmla="*/ 6370501 h 6858001"/>
              <a:gd name="connsiteX429" fmla="*/ 1859125 w 12191999"/>
              <a:gd name="connsiteY429" fmla="*/ 6370501 h 6858001"/>
              <a:gd name="connsiteX430" fmla="*/ 1859125 w 12191999"/>
              <a:gd name="connsiteY430" fmla="*/ 6292325 h 6858001"/>
              <a:gd name="connsiteX431" fmla="*/ 1676067 w 12191999"/>
              <a:gd name="connsiteY431" fmla="*/ 6292325 h 6858001"/>
              <a:gd name="connsiteX432" fmla="*/ 1676067 w 12191999"/>
              <a:gd name="connsiteY432" fmla="*/ 6380961 h 6858001"/>
              <a:gd name="connsiteX433" fmla="*/ 1687373 w 12191999"/>
              <a:gd name="connsiteY433" fmla="*/ 6380961 h 6858001"/>
              <a:gd name="connsiteX434" fmla="*/ 1687373 w 12191999"/>
              <a:gd name="connsiteY434" fmla="*/ 6305505 h 6858001"/>
              <a:gd name="connsiteX435" fmla="*/ 1713008 w 12191999"/>
              <a:gd name="connsiteY435" fmla="*/ 6380961 h 6858001"/>
              <a:gd name="connsiteX436" fmla="*/ 1723589 w 12191999"/>
              <a:gd name="connsiteY436" fmla="*/ 6380961 h 6858001"/>
              <a:gd name="connsiteX437" fmla="*/ 1749346 w 12191999"/>
              <a:gd name="connsiteY437" fmla="*/ 6306775 h 6858001"/>
              <a:gd name="connsiteX438" fmla="*/ 1749346 w 12191999"/>
              <a:gd name="connsiteY438" fmla="*/ 6380961 h 6858001"/>
              <a:gd name="connsiteX439" fmla="*/ 1760652 w 12191999"/>
              <a:gd name="connsiteY439" fmla="*/ 6380961 h 6858001"/>
              <a:gd name="connsiteX440" fmla="*/ 1760652 w 12191999"/>
              <a:gd name="connsiteY440" fmla="*/ 6292325 h 6858001"/>
              <a:gd name="connsiteX441" fmla="*/ 1744872 w 12191999"/>
              <a:gd name="connsiteY441" fmla="*/ 6292325 h 6858001"/>
              <a:gd name="connsiteX442" fmla="*/ 1723650 w 12191999"/>
              <a:gd name="connsiteY442" fmla="*/ 6353995 h 6858001"/>
              <a:gd name="connsiteX443" fmla="*/ 1718933 w 12191999"/>
              <a:gd name="connsiteY443" fmla="*/ 6368204 h 6858001"/>
              <a:gd name="connsiteX444" fmla="*/ 1714701 w 12191999"/>
              <a:gd name="connsiteY444" fmla="*/ 6355084 h 6858001"/>
              <a:gd name="connsiteX445" fmla="*/ 1693721 w 12191999"/>
              <a:gd name="connsiteY445" fmla="*/ 6292325 h 6858001"/>
              <a:gd name="connsiteX446" fmla="*/ 1560739 w 12191999"/>
              <a:gd name="connsiteY446" fmla="*/ 6292325 h 6858001"/>
              <a:gd name="connsiteX447" fmla="*/ 1560739 w 12191999"/>
              <a:gd name="connsiteY447" fmla="*/ 6380961 h 6858001"/>
              <a:gd name="connsiteX448" fmla="*/ 1571622 w 12191999"/>
              <a:gd name="connsiteY448" fmla="*/ 6380961 h 6858001"/>
              <a:gd name="connsiteX449" fmla="*/ 1571622 w 12191999"/>
              <a:gd name="connsiteY449" fmla="*/ 6345833 h 6858001"/>
              <a:gd name="connsiteX450" fmla="*/ 1573435 w 12191999"/>
              <a:gd name="connsiteY450" fmla="*/ 6333983 h 6858001"/>
              <a:gd name="connsiteX451" fmla="*/ 1579512 w 12191999"/>
              <a:gd name="connsiteY451" fmla="*/ 6327181 h 6858001"/>
              <a:gd name="connsiteX452" fmla="*/ 1588611 w 12191999"/>
              <a:gd name="connsiteY452" fmla="*/ 6324672 h 6858001"/>
              <a:gd name="connsiteX453" fmla="*/ 1598618 w 12191999"/>
              <a:gd name="connsiteY453" fmla="*/ 6328390 h 6858001"/>
              <a:gd name="connsiteX454" fmla="*/ 1602155 w 12191999"/>
              <a:gd name="connsiteY454" fmla="*/ 6340271 h 6858001"/>
              <a:gd name="connsiteX455" fmla="*/ 1602155 w 12191999"/>
              <a:gd name="connsiteY455" fmla="*/ 6380961 h 6858001"/>
              <a:gd name="connsiteX456" fmla="*/ 1613038 w 12191999"/>
              <a:gd name="connsiteY456" fmla="*/ 6380961 h 6858001"/>
              <a:gd name="connsiteX457" fmla="*/ 1613038 w 12191999"/>
              <a:gd name="connsiteY457" fmla="*/ 6340271 h 6858001"/>
              <a:gd name="connsiteX458" fmla="*/ 1610771 w 12191999"/>
              <a:gd name="connsiteY458" fmla="*/ 6325881 h 6858001"/>
              <a:gd name="connsiteX459" fmla="*/ 1603243 w 12191999"/>
              <a:gd name="connsiteY459" fmla="*/ 6318112 h 6858001"/>
              <a:gd name="connsiteX460" fmla="*/ 1590848 w 12191999"/>
              <a:gd name="connsiteY460" fmla="*/ 6315300 h 6858001"/>
              <a:gd name="connsiteX461" fmla="*/ 1571622 w 12191999"/>
              <a:gd name="connsiteY461" fmla="*/ 6324128 h 6858001"/>
              <a:gd name="connsiteX462" fmla="*/ 1571622 w 12191999"/>
              <a:gd name="connsiteY462" fmla="*/ 6292325 h 6858001"/>
              <a:gd name="connsiteX463" fmla="*/ 1285542 w 12191999"/>
              <a:gd name="connsiteY463" fmla="*/ 6292325 h 6858001"/>
              <a:gd name="connsiteX464" fmla="*/ 1285542 w 12191999"/>
              <a:gd name="connsiteY464" fmla="*/ 6380961 h 6858001"/>
              <a:gd name="connsiteX465" fmla="*/ 1296848 w 12191999"/>
              <a:gd name="connsiteY465" fmla="*/ 6380961 h 6858001"/>
              <a:gd name="connsiteX466" fmla="*/ 1296848 w 12191999"/>
              <a:gd name="connsiteY466" fmla="*/ 6305505 h 6858001"/>
              <a:gd name="connsiteX467" fmla="*/ 1322484 w 12191999"/>
              <a:gd name="connsiteY467" fmla="*/ 6380961 h 6858001"/>
              <a:gd name="connsiteX468" fmla="*/ 1333064 w 12191999"/>
              <a:gd name="connsiteY468" fmla="*/ 6380961 h 6858001"/>
              <a:gd name="connsiteX469" fmla="*/ 1358821 w 12191999"/>
              <a:gd name="connsiteY469" fmla="*/ 6306775 h 6858001"/>
              <a:gd name="connsiteX470" fmla="*/ 1358821 w 12191999"/>
              <a:gd name="connsiteY470" fmla="*/ 6380961 h 6858001"/>
              <a:gd name="connsiteX471" fmla="*/ 1370127 w 12191999"/>
              <a:gd name="connsiteY471" fmla="*/ 6380961 h 6858001"/>
              <a:gd name="connsiteX472" fmla="*/ 1370127 w 12191999"/>
              <a:gd name="connsiteY472" fmla="*/ 6292325 h 6858001"/>
              <a:gd name="connsiteX473" fmla="*/ 1354347 w 12191999"/>
              <a:gd name="connsiteY473" fmla="*/ 6292325 h 6858001"/>
              <a:gd name="connsiteX474" fmla="*/ 1333125 w 12191999"/>
              <a:gd name="connsiteY474" fmla="*/ 6353995 h 6858001"/>
              <a:gd name="connsiteX475" fmla="*/ 1328409 w 12191999"/>
              <a:gd name="connsiteY475" fmla="*/ 6368204 h 6858001"/>
              <a:gd name="connsiteX476" fmla="*/ 1324176 w 12191999"/>
              <a:gd name="connsiteY476" fmla="*/ 6355084 h 6858001"/>
              <a:gd name="connsiteX477" fmla="*/ 1303196 w 12191999"/>
              <a:gd name="connsiteY477" fmla="*/ 6292325 h 6858001"/>
              <a:gd name="connsiteX478" fmla="*/ 808324 w 12191999"/>
              <a:gd name="connsiteY478" fmla="*/ 6292325 h 6858001"/>
              <a:gd name="connsiteX479" fmla="*/ 808324 w 12191999"/>
              <a:gd name="connsiteY479" fmla="*/ 6304840 h 6858001"/>
              <a:gd name="connsiteX480" fmla="*/ 819207 w 12191999"/>
              <a:gd name="connsiteY480" fmla="*/ 6304840 h 6858001"/>
              <a:gd name="connsiteX481" fmla="*/ 819207 w 12191999"/>
              <a:gd name="connsiteY481" fmla="*/ 6292325 h 6858001"/>
              <a:gd name="connsiteX482" fmla="*/ 608178 w 12191999"/>
              <a:gd name="connsiteY482" fmla="*/ 6292325 h 6858001"/>
              <a:gd name="connsiteX483" fmla="*/ 608178 w 12191999"/>
              <a:gd name="connsiteY483" fmla="*/ 6380961 h 6858001"/>
              <a:gd name="connsiteX484" fmla="*/ 618275 w 12191999"/>
              <a:gd name="connsiteY484" fmla="*/ 6380961 h 6858001"/>
              <a:gd name="connsiteX485" fmla="*/ 618275 w 12191999"/>
              <a:gd name="connsiteY485" fmla="*/ 6372920 h 6858001"/>
              <a:gd name="connsiteX486" fmla="*/ 636111 w 12191999"/>
              <a:gd name="connsiteY486" fmla="*/ 6382412 h 6858001"/>
              <a:gd name="connsiteX487" fmla="*/ 655701 w 12191999"/>
              <a:gd name="connsiteY487" fmla="*/ 6373404 h 6858001"/>
              <a:gd name="connsiteX488" fmla="*/ 663863 w 12191999"/>
              <a:gd name="connsiteY488" fmla="*/ 6347889 h 6858001"/>
              <a:gd name="connsiteX489" fmla="*/ 661928 w 12191999"/>
              <a:gd name="connsiteY489" fmla="*/ 6334829 h 6858001"/>
              <a:gd name="connsiteX490" fmla="*/ 656577 w 12191999"/>
              <a:gd name="connsiteY490" fmla="*/ 6324400 h 6858001"/>
              <a:gd name="connsiteX491" fmla="*/ 647871 w 12191999"/>
              <a:gd name="connsiteY491" fmla="*/ 6317688 h 6858001"/>
              <a:gd name="connsiteX492" fmla="*/ 636655 w 12191999"/>
              <a:gd name="connsiteY492" fmla="*/ 6315300 h 6858001"/>
              <a:gd name="connsiteX493" fmla="*/ 619061 w 12191999"/>
              <a:gd name="connsiteY493" fmla="*/ 6323946 h 6858001"/>
              <a:gd name="connsiteX494" fmla="*/ 619061 w 12191999"/>
              <a:gd name="connsiteY494" fmla="*/ 6292325 h 6858001"/>
              <a:gd name="connsiteX495" fmla="*/ 519635 w 12191999"/>
              <a:gd name="connsiteY495" fmla="*/ 6292325 h 6858001"/>
              <a:gd name="connsiteX496" fmla="*/ 485595 w 12191999"/>
              <a:gd name="connsiteY496" fmla="*/ 6380961 h 6858001"/>
              <a:gd name="connsiteX497" fmla="*/ 498050 w 12191999"/>
              <a:gd name="connsiteY497" fmla="*/ 6380961 h 6858001"/>
              <a:gd name="connsiteX498" fmla="*/ 507784 w 12191999"/>
              <a:gd name="connsiteY498" fmla="*/ 6354116 h 6858001"/>
              <a:gd name="connsiteX499" fmla="*/ 544847 w 12191999"/>
              <a:gd name="connsiteY499" fmla="*/ 6354116 h 6858001"/>
              <a:gd name="connsiteX500" fmla="*/ 555186 w 12191999"/>
              <a:gd name="connsiteY500" fmla="*/ 6380961 h 6858001"/>
              <a:gd name="connsiteX501" fmla="*/ 568548 w 12191999"/>
              <a:gd name="connsiteY501" fmla="*/ 6380961 h 6858001"/>
              <a:gd name="connsiteX502" fmla="*/ 532271 w 12191999"/>
              <a:gd name="connsiteY502" fmla="*/ 6292325 h 6858001"/>
              <a:gd name="connsiteX503" fmla="*/ 1228689 w 12191999"/>
              <a:gd name="connsiteY503" fmla="*/ 6290813 h 6858001"/>
              <a:gd name="connsiteX504" fmla="*/ 1217594 w 12191999"/>
              <a:gd name="connsiteY504" fmla="*/ 6293443 h 6858001"/>
              <a:gd name="connsiteX505" fmla="*/ 1212062 w 12191999"/>
              <a:gd name="connsiteY505" fmla="*/ 6300306 h 6858001"/>
              <a:gd name="connsiteX506" fmla="*/ 1210914 w 12191999"/>
              <a:gd name="connsiteY506" fmla="*/ 6309919 h 6858001"/>
              <a:gd name="connsiteX507" fmla="*/ 1210914 w 12191999"/>
              <a:gd name="connsiteY507" fmla="*/ 6316751 h 6858001"/>
              <a:gd name="connsiteX508" fmla="*/ 1201300 w 12191999"/>
              <a:gd name="connsiteY508" fmla="*/ 6316751 h 6858001"/>
              <a:gd name="connsiteX509" fmla="*/ 1201300 w 12191999"/>
              <a:gd name="connsiteY509" fmla="*/ 6325216 h 6858001"/>
              <a:gd name="connsiteX510" fmla="*/ 1210914 w 12191999"/>
              <a:gd name="connsiteY510" fmla="*/ 6325216 h 6858001"/>
              <a:gd name="connsiteX511" fmla="*/ 1210914 w 12191999"/>
              <a:gd name="connsiteY511" fmla="*/ 6380961 h 6858001"/>
              <a:gd name="connsiteX512" fmla="*/ 1221736 w 12191999"/>
              <a:gd name="connsiteY512" fmla="*/ 6380961 h 6858001"/>
              <a:gd name="connsiteX513" fmla="*/ 1221736 w 12191999"/>
              <a:gd name="connsiteY513" fmla="*/ 6325216 h 6858001"/>
              <a:gd name="connsiteX514" fmla="*/ 1234252 w 12191999"/>
              <a:gd name="connsiteY514" fmla="*/ 6325216 h 6858001"/>
              <a:gd name="connsiteX515" fmla="*/ 1234252 w 12191999"/>
              <a:gd name="connsiteY515" fmla="*/ 6316751 h 6858001"/>
              <a:gd name="connsiteX516" fmla="*/ 1221736 w 12191999"/>
              <a:gd name="connsiteY516" fmla="*/ 6316751 h 6858001"/>
              <a:gd name="connsiteX517" fmla="*/ 1221736 w 12191999"/>
              <a:gd name="connsiteY517" fmla="*/ 6310826 h 6858001"/>
              <a:gd name="connsiteX518" fmla="*/ 1223792 w 12191999"/>
              <a:gd name="connsiteY518" fmla="*/ 6302906 h 6858001"/>
              <a:gd name="connsiteX519" fmla="*/ 1230805 w 12191999"/>
              <a:gd name="connsiteY519" fmla="*/ 6300789 h 6858001"/>
              <a:gd name="connsiteX520" fmla="*/ 1237214 w 12191999"/>
              <a:gd name="connsiteY520" fmla="*/ 6301394 h 6858001"/>
              <a:gd name="connsiteX521" fmla="*/ 1238847 w 12191999"/>
              <a:gd name="connsiteY521" fmla="*/ 6291902 h 6858001"/>
              <a:gd name="connsiteX522" fmla="*/ 1228689 w 12191999"/>
              <a:gd name="connsiteY522" fmla="*/ 6290813 h 6858001"/>
              <a:gd name="connsiteX523" fmla="*/ 7175501 w 12191999"/>
              <a:gd name="connsiteY523" fmla="*/ 1 h 6858001"/>
              <a:gd name="connsiteX524" fmla="*/ 12191999 w 12191999"/>
              <a:gd name="connsiteY524" fmla="*/ 1 h 6858001"/>
              <a:gd name="connsiteX525" fmla="*/ 12191999 w 12191999"/>
              <a:gd name="connsiteY525" fmla="*/ 6858001 h 6858001"/>
              <a:gd name="connsiteX526" fmla="*/ 1 w 12191999"/>
              <a:gd name="connsiteY526" fmla="*/ 6858001 h 6858001"/>
              <a:gd name="connsiteX527" fmla="*/ 1 w 12191999"/>
              <a:gd name="connsiteY527" fmla="*/ 5752619 h 6858001"/>
              <a:gd name="connsiteX528" fmla="*/ 7175501 w 12191999"/>
              <a:gd name="connsiteY528" fmla="*/ 5752619 h 6858001"/>
              <a:gd name="connsiteX529" fmla="*/ 0 w 12191999"/>
              <a:gd name="connsiteY529" fmla="*/ 0 h 6858001"/>
              <a:gd name="connsiteX530" fmla="*/ 7175501 w 12191999"/>
              <a:gd name="connsiteY530" fmla="*/ 0 h 6858001"/>
              <a:gd name="connsiteX531" fmla="*/ 7175501 w 12191999"/>
              <a:gd name="connsiteY531" fmla="*/ 1 h 6858001"/>
              <a:gd name="connsiteX532" fmla="*/ 1 w 12191999"/>
              <a:gd name="connsiteY532" fmla="*/ 1 h 6858001"/>
              <a:gd name="connsiteX533" fmla="*/ 1 w 12191999"/>
              <a:gd name="connsiteY533" fmla="*/ 5752619 h 6858001"/>
              <a:gd name="connsiteX534" fmla="*/ 0 w 12191999"/>
              <a:gd name="connsiteY534" fmla="*/ 575261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Lst>
            <a:rect l="l" t="t" r="r" b="b"/>
            <a:pathLst>
              <a:path w="12191999" h="6858001">
                <a:moveTo>
                  <a:pt x="2154182" y="6348735"/>
                </a:moveTo>
                <a:lnTo>
                  <a:pt x="2154182" y="6352726"/>
                </a:lnTo>
                <a:cubicBezTo>
                  <a:pt x="2154182" y="6357522"/>
                  <a:pt x="2153597" y="6361150"/>
                  <a:pt x="2152428" y="6363609"/>
                </a:cubicBezTo>
                <a:cubicBezTo>
                  <a:pt x="2150896" y="6366793"/>
                  <a:pt x="2148498" y="6369302"/>
                  <a:pt x="2145233" y="6371136"/>
                </a:cubicBezTo>
                <a:cubicBezTo>
                  <a:pt x="2141968" y="6372970"/>
                  <a:pt x="2138240" y="6373887"/>
                  <a:pt x="2134048" y="6373887"/>
                </a:cubicBezTo>
                <a:cubicBezTo>
                  <a:pt x="2129816" y="6373887"/>
                  <a:pt x="2126601" y="6372920"/>
                  <a:pt x="2124404" y="6370985"/>
                </a:cubicBezTo>
                <a:cubicBezTo>
                  <a:pt x="2122207" y="6369050"/>
                  <a:pt x="2121109" y="6366632"/>
                  <a:pt x="2121109" y="6363730"/>
                </a:cubicBezTo>
                <a:cubicBezTo>
                  <a:pt x="2121109" y="6361835"/>
                  <a:pt x="2121613" y="6360112"/>
                  <a:pt x="2122621" y="6358560"/>
                </a:cubicBezTo>
                <a:cubicBezTo>
                  <a:pt x="2123628" y="6357008"/>
                  <a:pt x="2125059" y="6355829"/>
                  <a:pt x="2126913" y="6355023"/>
                </a:cubicBezTo>
                <a:cubicBezTo>
                  <a:pt x="2128768" y="6354217"/>
                  <a:pt x="2131932" y="6353492"/>
                  <a:pt x="2136406" y="6352847"/>
                </a:cubicBezTo>
                <a:cubicBezTo>
                  <a:pt x="2144306" y="6351718"/>
                  <a:pt x="2150231" y="6350348"/>
                  <a:pt x="2154182" y="6348735"/>
                </a:cubicBezTo>
                <a:close/>
                <a:moveTo>
                  <a:pt x="1430281" y="6348735"/>
                </a:moveTo>
                <a:lnTo>
                  <a:pt x="1430281" y="6352726"/>
                </a:lnTo>
                <a:cubicBezTo>
                  <a:pt x="1430281" y="6357522"/>
                  <a:pt x="1429697" y="6361150"/>
                  <a:pt x="1428528" y="6363609"/>
                </a:cubicBezTo>
                <a:cubicBezTo>
                  <a:pt x="1426997" y="6366793"/>
                  <a:pt x="1424598" y="6369302"/>
                  <a:pt x="1421333" y="6371136"/>
                </a:cubicBezTo>
                <a:cubicBezTo>
                  <a:pt x="1418068" y="6372970"/>
                  <a:pt x="1414340" y="6373887"/>
                  <a:pt x="1410148" y="6373887"/>
                </a:cubicBezTo>
                <a:cubicBezTo>
                  <a:pt x="1405916" y="6373887"/>
                  <a:pt x="1402701" y="6372920"/>
                  <a:pt x="1400504" y="6370985"/>
                </a:cubicBezTo>
                <a:cubicBezTo>
                  <a:pt x="1398308" y="6369050"/>
                  <a:pt x="1397209" y="6366632"/>
                  <a:pt x="1397209" y="6363730"/>
                </a:cubicBezTo>
                <a:cubicBezTo>
                  <a:pt x="1397209" y="6361835"/>
                  <a:pt x="1397713" y="6360112"/>
                  <a:pt x="1398721" y="6358560"/>
                </a:cubicBezTo>
                <a:cubicBezTo>
                  <a:pt x="1399728" y="6357008"/>
                  <a:pt x="1401159" y="6355829"/>
                  <a:pt x="1403013" y="6355023"/>
                </a:cubicBezTo>
                <a:cubicBezTo>
                  <a:pt x="1404867" y="6354217"/>
                  <a:pt x="1408032" y="6353492"/>
                  <a:pt x="1412506" y="6352847"/>
                </a:cubicBezTo>
                <a:cubicBezTo>
                  <a:pt x="1420406" y="6351718"/>
                  <a:pt x="1426331" y="6350348"/>
                  <a:pt x="1430281" y="6348735"/>
                </a:cubicBezTo>
                <a:close/>
                <a:moveTo>
                  <a:pt x="1167698" y="6324309"/>
                </a:moveTo>
                <a:cubicBezTo>
                  <a:pt x="1173058" y="6324309"/>
                  <a:pt x="1177543" y="6326355"/>
                  <a:pt x="1181150" y="6330446"/>
                </a:cubicBezTo>
                <a:cubicBezTo>
                  <a:pt x="1184758" y="6334537"/>
                  <a:pt x="1186561" y="6340553"/>
                  <a:pt x="1186561" y="6348493"/>
                </a:cubicBezTo>
                <a:cubicBezTo>
                  <a:pt x="1186561" y="6356918"/>
                  <a:pt x="1184768" y="6363186"/>
                  <a:pt x="1181180" y="6367297"/>
                </a:cubicBezTo>
                <a:cubicBezTo>
                  <a:pt x="1177593" y="6371408"/>
                  <a:pt x="1173099" y="6373464"/>
                  <a:pt x="1167698" y="6373464"/>
                </a:cubicBezTo>
                <a:cubicBezTo>
                  <a:pt x="1162256" y="6373464"/>
                  <a:pt x="1157741" y="6371418"/>
                  <a:pt x="1154154" y="6367327"/>
                </a:cubicBezTo>
                <a:cubicBezTo>
                  <a:pt x="1150567" y="6363236"/>
                  <a:pt x="1148773" y="6357079"/>
                  <a:pt x="1148773" y="6348856"/>
                </a:cubicBezTo>
                <a:cubicBezTo>
                  <a:pt x="1148773" y="6340633"/>
                  <a:pt x="1150567" y="6334487"/>
                  <a:pt x="1154154" y="6330415"/>
                </a:cubicBezTo>
                <a:cubicBezTo>
                  <a:pt x="1157741" y="6326344"/>
                  <a:pt x="1162256" y="6324309"/>
                  <a:pt x="1167698" y="6324309"/>
                </a:cubicBezTo>
                <a:close/>
                <a:moveTo>
                  <a:pt x="1939646" y="6324248"/>
                </a:moveTo>
                <a:cubicBezTo>
                  <a:pt x="1945168" y="6324248"/>
                  <a:pt x="1949662" y="6326344"/>
                  <a:pt x="1953129" y="6330536"/>
                </a:cubicBezTo>
                <a:cubicBezTo>
                  <a:pt x="1955386" y="6333237"/>
                  <a:pt x="1956756" y="6337288"/>
                  <a:pt x="1957240" y="6342689"/>
                </a:cubicBezTo>
                <a:lnTo>
                  <a:pt x="1921387" y="6342689"/>
                </a:lnTo>
                <a:cubicBezTo>
                  <a:pt x="1921749" y="6337086"/>
                  <a:pt x="1923634" y="6332612"/>
                  <a:pt x="1927040" y="6329267"/>
                </a:cubicBezTo>
                <a:cubicBezTo>
                  <a:pt x="1930445" y="6325921"/>
                  <a:pt x="1934648" y="6324248"/>
                  <a:pt x="1939646" y="6324248"/>
                </a:cubicBezTo>
                <a:close/>
                <a:moveTo>
                  <a:pt x="929996" y="6324248"/>
                </a:moveTo>
                <a:cubicBezTo>
                  <a:pt x="935518" y="6324248"/>
                  <a:pt x="940012" y="6326344"/>
                  <a:pt x="943479" y="6330536"/>
                </a:cubicBezTo>
                <a:cubicBezTo>
                  <a:pt x="945736" y="6333237"/>
                  <a:pt x="947106" y="6337288"/>
                  <a:pt x="947590" y="6342689"/>
                </a:cubicBezTo>
                <a:lnTo>
                  <a:pt x="911736" y="6342689"/>
                </a:lnTo>
                <a:cubicBezTo>
                  <a:pt x="912099" y="6337086"/>
                  <a:pt x="913983" y="6332612"/>
                  <a:pt x="917389" y="6329267"/>
                </a:cubicBezTo>
                <a:cubicBezTo>
                  <a:pt x="920795" y="6325921"/>
                  <a:pt x="924997" y="6324248"/>
                  <a:pt x="929996" y="6324248"/>
                </a:cubicBezTo>
                <a:close/>
                <a:moveTo>
                  <a:pt x="635688" y="6324248"/>
                </a:moveTo>
                <a:cubicBezTo>
                  <a:pt x="640404" y="6324248"/>
                  <a:pt x="644425" y="6326244"/>
                  <a:pt x="647750" y="6330234"/>
                </a:cubicBezTo>
                <a:cubicBezTo>
                  <a:pt x="651075" y="6334225"/>
                  <a:pt x="652738" y="6340412"/>
                  <a:pt x="652738" y="6348796"/>
                </a:cubicBezTo>
                <a:cubicBezTo>
                  <a:pt x="652738" y="6356978"/>
                  <a:pt x="651005" y="6363135"/>
                  <a:pt x="647538" y="6367267"/>
                </a:cubicBezTo>
                <a:cubicBezTo>
                  <a:pt x="644072" y="6371398"/>
                  <a:pt x="639961" y="6373464"/>
                  <a:pt x="635204" y="6373464"/>
                </a:cubicBezTo>
                <a:cubicBezTo>
                  <a:pt x="629360" y="6373464"/>
                  <a:pt x="624724" y="6370663"/>
                  <a:pt x="621298" y="6365060"/>
                </a:cubicBezTo>
                <a:cubicBezTo>
                  <a:pt x="619202" y="6361634"/>
                  <a:pt x="618154" y="6356071"/>
                  <a:pt x="618154" y="6348373"/>
                </a:cubicBezTo>
                <a:cubicBezTo>
                  <a:pt x="618154" y="6340553"/>
                  <a:pt x="619887" y="6334577"/>
                  <a:pt x="623354" y="6330446"/>
                </a:cubicBezTo>
                <a:cubicBezTo>
                  <a:pt x="626820" y="6326314"/>
                  <a:pt x="630932" y="6324248"/>
                  <a:pt x="635688" y="6324248"/>
                </a:cubicBezTo>
                <a:close/>
                <a:moveTo>
                  <a:pt x="808324" y="6316751"/>
                </a:moveTo>
                <a:lnTo>
                  <a:pt x="808324" y="6380961"/>
                </a:lnTo>
                <a:lnTo>
                  <a:pt x="819207" y="6380961"/>
                </a:lnTo>
                <a:lnTo>
                  <a:pt x="819207" y="6316751"/>
                </a:lnTo>
                <a:close/>
                <a:moveTo>
                  <a:pt x="674672" y="6316751"/>
                </a:moveTo>
                <a:lnTo>
                  <a:pt x="674672" y="6356535"/>
                </a:lnTo>
                <a:cubicBezTo>
                  <a:pt x="674672" y="6361170"/>
                  <a:pt x="674893" y="6364556"/>
                  <a:pt x="675337" y="6366692"/>
                </a:cubicBezTo>
                <a:cubicBezTo>
                  <a:pt x="675982" y="6369877"/>
                  <a:pt x="677100" y="6372567"/>
                  <a:pt x="678692" y="6374764"/>
                </a:cubicBezTo>
                <a:cubicBezTo>
                  <a:pt x="680284" y="6376961"/>
                  <a:pt x="682723" y="6378785"/>
                  <a:pt x="686008" y="6380236"/>
                </a:cubicBezTo>
                <a:cubicBezTo>
                  <a:pt x="689293" y="6381687"/>
                  <a:pt x="692830" y="6382412"/>
                  <a:pt x="696619" y="6382412"/>
                </a:cubicBezTo>
                <a:cubicBezTo>
                  <a:pt x="705205" y="6382412"/>
                  <a:pt x="711997" y="6378785"/>
                  <a:pt x="716995" y="6371529"/>
                </a:cubicBezTo>
                <a:lnTo>
                  <a:pt x="716995" y="6380961"/>
                </a:lnTo>
                <a:lnTo>
                  <a:pt x="726729" y="6380961"/>
                </a:lnTo>
                <a:lnTo>
                  <a:pt x="726729" y="6316751"/>
                </a:lnTo>
                <a:lnTo>
                  <a:pt x="715846" y="6316751"/>
                </a:lnTo>
                <a:lnTo>
                  <a:pt x="715846" y="6351154"/>
                </a:lnTo>
                <a:cubicBezTo>
                  <a:pt x="715846" y="6356636"/>
                  <a:pt x="715251" y="6360818"/>
                  <a:pt x="714062" y="6363700"/>
                </a:cubicBezTo>
                <a:cubicBezTo>
                  <a:pt x="712873" y="6366582"/>
                  <a:pt x="710848" y="6368859"/>
                  <a:pt x="707986" y="6370532"/>
                </a:cubicBezTo>
                <a:cubicBezTo>
                  <a:pt x="705124" y="6372204"/>
                  <a:pt x="702061" y="6373041"/>
                  <a:pt x="698796" y="6373041"/>
                </a:cubicBezTo>
                <a:cubicBezTo>
                  <a:pt x="695531" y="6373041"/>
                  <a:pt x="692790" y="6372225"/>
                  <a:pt x="690573" y="6370592"/>
                </a:cubicBezTo>
                <a:cubicBezTo>
                  <a:pt x="688356" y="6368960"/>
                  <a:pt x="686905" y="6366713"/>
                  <a:pt x="686220" y="6363851"/>
                </a:cubicBezTo>
                <a:cubicBezTo>
                  <a:pt x="685776" y="6361876"/>
                  <a:pt x="685555" y="6358046"/>
                  <a:pt x="685555" y="6352363"/>
                </a:cubicBezTo>
                <a:lnTo>
                  <a:pt x="685555" y="6316751"/>
                </a:lnTo>
                <a:close/>
                <a:moveTo>
                  <a:pt x="2210094" y="6315300"/>
                </a:moveTo>
                <a:cubicBezTo>
                  <a:pt x="2201186" y="6315300"/>
                  <a:pt x="2194374" y="6318827"/>
                  <a:pt x="2189659" y="6325881"/>
                </a:cubicBezTo>
                <a:lnTo>
                  <a:pt x="2189659" y="6316751"/>
                </a:lnTo>
                <a:lnTo>
                  <a:pt x="2179864" y="6316751"/>
                </a:lnTo>
                <a:lnTo>
                  <a:pt x="2179864" y="6380961"/>
                </a:lnTo>
                <a:lnTo>
                  <a:pt x="2190747" y="6380961"/>
                </a:lnTo>
                <a:lnTo>
                  <a:pt x="2190747" y="6345894"/>
                </a:lnTo>
                <a:cubicBezTo>
                  <a:pt x="2190747" y="6337671"/>
                  <a:pt x="2192430" y="6332088"/>
                  <a:pt x="2195795" y="6329146"/>
                </a:cubicBezTo>
                <a:cubicBezTo>
                  <a:pt x="2199161" y="6326203"/>
                  <a:pt x="2203161" y="6324732"/>
                  <a:pt x="2207797" y="6324732"/>
                </a:cubicBezTo>
                <a:cubicBezTo>
                  <a:pt x="2210699" y="6324732"/>
                  <a:pt x="2213228" y="6325387"/>
                  <a:pt x="2215385" y="6326697"/>
                </a:cubicBezTo>
                <a:cubicBezTo>
                  <a:pt x="2217541" y="6328007"/>
                  <a:pt x="2219043" y="6329761"/>
                  <a:pt x="2219889" y="6331957"/>
                </a:cubicBezTo>
                <a:cubicBezTo>
                  <a:pt x="2220735" y="6334154"/>
                  <a:pt x="2221159" y="6337469"/>
                  <a:pt x="2221159" y="6341903"/>
                </a:cubicBezTo>
                <a:lnTo>
                  <a:pt x="2221159" y="6380961"/>
                </a:lnTo>
                <a:lnTo>
                  <a:pt x="2232042" y="6380961"/>
                </a:lnTo>
                <a:lnTo>
                  <a:pt x="2232042" y="6341480"/>
                </a:lnTo>
                <a:cubicBezTo>
                  <a:pt x="2232042" y="6336441"/>
                  <a:pt x="2231840" y="6332915"/>
                  <a:pt x="2231437" y="6330899"/>
                </a:cubicBezTo>
                <a:cubicBezTo>
                  <a:pt x="2230792" y="6327796"/>
                  <a:pt x="2229664" y="6325115"/>
                  <a:pt x="2228052" y="6322858"/>
                </a:cubicBezTo>
                <a:cubicBezTo>
                  <a:pt x="2226439" y="6320601"/>
                  <a:pt x="2224011" y="6318777"/>
                  <a:pt x="2220766" y="6317386"/>
                </a:cubicBezTo>
                <a:cubicBezTo>
                  <a:pt x="2217521" y="6315995"/>
                  <a:pt x="2213964" y="6315300"/>
                  <a:pt x="2210094" y="6315300"/>
                </a:cubicBezTo>
                <a:close/>
                <a:moveTo>
                  <a:pt x="2140336" y="6315300"/>
                </a:moveTo>
                <a:cubicBezTo>
                  <a:pt x="2134814" y="6315300"/>
                  <a:pt x="2129957" y="6316056"/>
                  <a:pt x="2125765" y="6317567"/>
                </a:cubicBezTo>
                <a:cubicBezTo>
                  <a:pt x="2121573" y="6319079"/>
                  <a:pt x="2118368" y="6321235"/>
                  <a:pt x="2116151" y="6324037"/>
                </a:cubicBezTo>
                <a:cubicBezTo>
                  <a:pt x="2113934" y="6326838"/>
                  <a:pt x="2112342" y="6330516"/>
                  <a:pt x="2111375" y="6335071"/>
                </a:cubicBezTo>
                <a:lnTo>
                  <a:pt x="2122016" y="6336522"/>
                </a:lnTo>
                <a:cubicBezTo>
                  <a:pt x="2123185" y="6331967"/>
                  <a:pt x="2124989" y="6328793"/>
                  <a:pt x="2127427" y="6326999"/>
                </a:cubicBezTo>
                <a:cubicBezTo>
                  <a:pt x="2129866" y="6325206"/>
                  <a:pt x="2133645" y="6324309"/>
                  <a:pt x="2138764" y="6324309"/>
                </a:cubicBezTo>
                <a:cubicBezTo>
                  <a:pt x="2144246" y="6324309"/>
                  <a:pt x="2148377" y="6325538"/>
                  <a:pt x="2151159" y="6327997"/>
                </a:cubicBezTo>
                <a:cubicBezTo>
                  <a:pt x="2153214" y="6329811"/>
                  <a:pt x="2154242" y="6332935"/>
                  <a:pt x="2154242" y="6337369"/>
                </a:cubicBezTo>
                <a:cubicBezTo>
                  <a:pt x="2154242" y="6337772"/>
                  <a:pt x="2154222" y="6338719"/>
                  <a:pt x="2154182" y="6340210"/>
                </a:cubicBezTo>
                <a:cubicBezTo>
                  <a:pt x="2150030" y="6341661"/>
                  <a:pt x="2143560" y="6342911"/>
                  <a:pt x="2134773" y="6343959"/>
                </a:cubicBezTo>
                <a:cubicBezTo>
                  <a:pt x="2130460" y="6344483"/>
                  <a:pt x="2127236" y="6345027"/>
                  <a:pt x="2125100" y="6345591"/>
                </a:cubicBezTo>
                <a:cubicBezTo>
                  <a:pt x="2122197" y="6346397"/>
                  <a:pt x="2119587" y="6347587"/>
                  <a:pt x="2117270" y="6349159"/>
                </a:cubicBezTo>
                <a:cubicBezTo>
                  <a:pt x="2114952" y="6350731"/>
                  <a:pt x="2113078" y="6352816"/>
                  <a:pt x="2111647" y="6355416"/>
                </a:cubicBezTo>
                <a:cubicBezTo>
                  <a:pt x="2110216" y="6358016"/>
                  <a:pt x="2109500" y="6360888"/>
                  <a:pt x="2109500" y="6364032"/>
                </a:cubicBezTo>
                <a:cubicBezTo>
                  <a:pt x="2109500" y="6369393"/>
                  <a:pt x="2111395" y="6373797"/>
                  <a:pt x="2115184" y="6377243"/>
                </a:cubicBezTo>
                <a:cubicBezTo>
                  <a:pt x="2118973" y="6380689"/>
                  <a:pt x="2124394" y="6382412"/>
                  <a:pt x="2131448" y="6382412"/>
                </a:cubicBezTo>
                <a:cubicBezTo>
                  <a:pt x="2135721" y="6382412"/>
                  <a:pt x="2139721" y="6381707"/>
                  <a:pt x="2143450" y="6380296"/>
                </a:cubicBezTo>
                <a:cubicBezTo>
                  <a:pt x="2147178" y="6378885"/>
                  <a:pt x="2151058" y="6376467"/>
                  <a:pt x="2155089" y="6373041"/>
                </a:cubicBezTo>
                <a:cubicBezTo>
                  <a:pt x="2155411" y="6376064"/>
                  <a:pt x="2156136" y="6378704"/>
                  <a:pt x="2157265" y="6380961"/>
                </a:cubicBezTo>
                <a:lnTo>
                  <a:pt x="2168632" y="6380961"/>
                </a:lnTo>
                <a:cubicBezTo>
                  <a:pt x="2167261" y="6378502"/>
                  <a:pt x="2166344" y="6375933"/>
                  <a:pt x="2165881" y="6373252"/>
                </a:cubicBezTo>
                <a:cubicBezTo>
                  <a:pt x="2165417" y="6370572"/>
                  <a:pt x="2165185" y="6364173"/>
                  <a:pt x="2165185" y="6354056"/>
                </a:cubicBezTo>
                <a:lnTo>
                  <a:pt x="2165185" y="6339545"/>
                </a:lnTo>
                <a:cubicBezTo>
                  <a:pt x="2165185" y="6334708"/>
                  <a:pt x="2165004" y="6331363"/>
                  <a:pt x="2164641" y="6329509"/>
                </a:cubicBezTo>
                <a:cubicBezTo>
                  <a:pt x="2163996" y="6326526"/>
                  <a:pt x="2162868" y="6324057"/>
                  <a:pt x="2161255" y="6322102"/>
                </a:cubicBezTo>
                <a:cubicBezTo>
                  <a:pt x="2159643" y="6320147"/>
                  <a:pt x="2157124" y="6318525"/>
                  <a:pt x="2153698" y="6317235"/>
                </a:cubicBezTo>
                <a:cubicBezTo>
                  <a:pt x="2150272" y="6315945"/>
                  <a:pt x="2145818" y="6315300"/>
                  <a:pt x="2140336" y="6315300"/>
                </a:cubicBezTo>
                <a:close/>
                <a:moveTo>
                  <a:pt x="2076744" y="6315300"/>
                </a:moveTo>
                <a:cubicBezTo>
                  <a:pt x="2067836" y="6315300"/>
                  <a:pt x="2061024" y="6318827"/>
                  <a:pt x="2056309" y="6325881"/>
                </a:cubicBezTo>
                <a:lnTo>
                  <a:pt x="2056309" y="6316751"/>
                </a:lnTo>
                <a:lnTo>
                  <a:pt x="2046514" y="6316751"/>
                </a:lnTo>
                <a:lnTo>
                  <a:pt x="2046514" y="6380961"/>
                </a:lnTo>
                <a:lnTo>
                  <a:pt x="2057397" y="6380961"/>
                </a:lnTo>
                <a:lnTo>
                  <a:pt x="2057397" y="6345894"/>
                </a:lnTo>
                <a:cubicBezTo>
                  <a:pt x="2057397" y="6337671"/>
                  <a:pt x="2059079" y="6332088"/>
                  <a:pt x="2062445" y="6329146"/>
                </a:cubicBezTo>
                <a:cubicBezTo>
                  <a:pt x="2065811" y="6326203"/>
                  <a:pt x="2069811" y="6324732"/>
                  <a:pt x="2074447" y="6324732"/>
                </a:cubicBezTo>
                <a:cubicBezTo>
                  <a:pt x="2077349" y="6324732"/>
                  <a:pt x="2079878" y="6325387"/>
                  <a:pt x="2082035" y="6326697"/>
                </a:cubicBezTo>
                <a:cubicBezTo>
                  <a:pt x="2084191" y="6328007"/>
                  <a:pt x="2085692" y="6329761"/>
                  <a:pt x="2086539" y="6331957"/>
                </a:cubicBezTo>
                <a:cubicBezTo>
                  <a:pt x="2087385" y="6334154"/>
                  <a:pt x="2087809" y="6337469"/>
                  <a:pt x="2087809" y="6341903"/>
                </a:cubicBezTo>
                <a:lnTo>
                  <a:pt x="2087809" y="6380961"/>
                </a:lnTo>
                <a:lnTo>
                  <a:pt x="2098692" y="6380961"/>
                </a:lnTo>
                <a:lnTo>
                  <a:pt x="2098692" y="6341480"/>
                </a:lnTo>
                <a:cubicBezTo>
                  <a:pt x="2098692" y="6336441"/>
                  <a:pt x="2098490" y="6332915"/>
                  <a:pt x="2098087" y="6330899"/>
                </a:cubicBezTo>
                <a:cubicBezTo>
                  <a:pt x="2097442" y="6327796"/>
                  <a:pt x="2096314" y="6325115"/>
                  <a:pt x="2094702" y="6322858"/>
                </a:cubicBezTo>
                <a:cubicBezTo>
                  <a:pt x="2093089" y="6320601"/>
                  <a:pt x="2090661" y="6318777"/>
                  <a:pt x="2087416" y="6317386"/>
                </a:cubicBezTo>
                <a:cubicBezTo>
                  <a:pt x="2084171" y="6315995"/>
                  <a:pt x="2080614" y="6315300"/>
                  <a:pt x="2076744" y="6315300"/>
                </a:cubicBezTo>
                <a:close/>
                <a:moveTo>
                  <a:pt x="2010069" y="6315300"/>
                </a:moveTo>
                <a:cubicBezTo>
                  <a:pt x="2001161" y="6315300"/>
                  <a:pt x="1994349" y="6318827"/>
                  <a:pt x="1989633" y="6325881"/>
                </a:cubicBezTo>
                <a:lnTo>
                  <a:pt x="1989633" y="6316751"/>
                </a:lnTo>
                <a:lnTo>
                  <a:pt x="1979839" y="6316751"/>
                </a:lnTo>
                <a:lnTo>
                  <a:pt x="1979839" y="6380961"/>
                </a:lnTo>
                <a:lnTo>
                  <a:pt x="1990722" y="6380961"/>
                </a:lnTo>
                <a:lnTo>
                  <a:pt x="1990722" y="6345894"/>
                </a:lnTo>
                <a:cubicBezTo>
                  <a:pt x="1990722" y="6337671"/>
                  <a:pt x="1992405" y="6332088"/>
                  <a:pt x="1995770" y="6329146"/>
                </a:cubicBezTo>
                <a:cubicBezTo>
                  <a:pt x="1999136" y="6326203"/>
                  <a:pt x="2003136" y="6324732"/>
                  <a:pt x="2007772" y="6324732"/>
                </a:cubicBezTo>
                <a:cubicBezTo>
                  <a:pt x="2010674" y="6324732"/>
                  <a:pt x="2013203" y="6325387"/>
                  <a:pt x="2015360" y="6326697"/>
                </a:cubicBezTo>
                <a:cubicBezTo>
                  <a:pt x="2017516" y="6328007"/>
                  <a:pt x="2019018" y="6329761"/>
                  <a:pt x="2019864" y="6331957"/>
                </a:cubicBezTo>
                <a:cubicBezTo>
                  <a:pt x="2020710" y="6334154"/>
                  <a:pt x="2021134" y="6337469"/>
                  <a:pt x="2021134" y="6341903"/>
                </a:cubicBezTo>
                <a:lnTo>
                  <a:pt x="2021134" y="6380961"/>
                </a:lnTo>
                <a:lnTo>
                  <a:pt x="2032017" y="6380961"/>
                </a:lnTo>
                <a:lnTo>
                  <a:pt x="2032017" y="6341480"/>
                </a:lnTo>
                <a:cubicBezTo>
                  <a:pt x="2032017" y="6336441"/>
                  <a:pt x="2031815" y="6332915"/>
                  <a:pt x="2031412" y="6330899"/>
                </a:cubicBezTo>
                <a:cubicBezTo>
                  <a:pt x="2030767" y="6327796"/>
                  <a:pt x="2029639" y="6325115"/>
                  <a:pt x="2028026" y="6322858"/>
                </a:cubicBezTo>
                <a:cubicBezTo>
                  <a:pt x="2026414" y="6320601"/>
                  <a:pt x="2023985" y="6318777"/>
                  <a:pt x="2020741" y="6317386"/>
                </a:cubicBezTo>
                <a:cubicBezTo>
                  <a:pt x="2017496" y="6315995"/>
                  <a:pt x="2013939" y="6315300"/>
                  <a:pt x="2010069" y="6315300"/>
                </a:cubicBezTo>
                <a:close/>
                <a:moveTo>
                  <a:pt x="1939525" y="6315300"/>
                </a:moveTo>
                <a:cubicBezTo>
                  <a:pt x="1930657" y="6315300"/>
                  <a:pt x="1923442" y="6318283"/>
                  <a:pt x="1917880" y="6324248"/>
                </a:cubicBezTo>
                <a:cubicBezTo>
                  <a:pt x="1912317" y="6330214"/>
                  <a:pt x="1909536" y="6338598"/>
                  <a:pt x="1909536" y="6349400"/>
                </a:cubicBezTo>
                <a:cubicBezTo>
                  <a:pt x="1909536" y="6359840"/>
                  <a:pt x="1912287" y="6367952"/>
                  <a:pt x="1917789" y="6373736"/>
                </a:cubicBezTo>
                <a:cubicBezTo>
                  <a:pt x="1923291" y="6379520"/>
                  <a:pt x="1930738" y="6382412"/>
                  <a:pt x="1940129" y="6382412"/>
                </a:cubicBezTo>
                <a:cubicBezTo>
                  <a:pt x="1947586" y="6382412"/>
                  <a:pt x="1953713" y="6380598"/>
                  <a:pt x="1958510" y="6376971"/>
                </a:cubicBezTo>
                <a:cubicBezTo>
                  <a:pt x="1963306" y="6373343"/>
                  <a:pt x="1966591" y="6368244"/>
                  <a:pt x="1968365" y="6361674"/>
                </a:cubicBezTo>
                <a:lnTo>
                  <a:pt x="1957119" y="6360283"/>
                </a:lnTo>
                <a:cubicBezTo>
                  <a:pt x="1955466" y="6364879"/>
                  <a:pt x="1953229" y="6368224"/>
                  <a:pt x="1950408" y="6370320"/>
                </a:cubicBezTo>
                <a:cubicBezTo>
                  <a:pt x="1947586" y="6372416"/>
                  <a:pt x="1944180" y="6373464"/>
                  <a:pt x="1940190" y="6373464"/>
                </a:cubicBezTo>
                <a:cubicBezTo>
                  <a:pt x="1934829" y="6373464"/>
                  <a:pt x="1930355" y="6371590"/>
                  <a:pt x="1926767" y="6367841"/>
                </a:cubicBezTo>
                <a:cubicBezTo>
                  <a:pt x="1923180" y="6364093"/>
                  <a:pt x="1921185" y="6358691"/>
                  <a:pt x="1920782" y="6351637"/>
                </a:cubicBezTo>
                <a:lnTo>
                  <a:pt x="1968667" y="6351637"/>
                </a:lnTo>
                <a:cubicBezTo>
                  <a:pt x="1968707" y="6350348"/>
                  <a:pt x="1968728" y="6349380"/>
                  <a:pt x="1968728" y="6348735"/>
                </a:cubicBezTo>
                <a:cubicBezTo>
                  <a:pt x="1968728" y="6338134"/>
                  <a:pt x="1966007" y="6329912"/>
                  <a:pt x="1960565" y="6324067"/>
                </a:cubicBezTo>
                <a:cubicBezTo>
                  <a:pt x="1955124" y="6318222"/>
                  <a:pt x="1948110" y="6315300"/>
                  <a:pt x="1939525" y="6315300"/>
                </a:cubicBezTo>
                <a:close/>
                <a:moveTo>
                  <a:pt x="1805752" y="6315300"/>
                </a:moveTo>
                <a:cubicBezTo>
                  <a:pt x="1800230" y="6315300"/>
                  <a:pt x="1795120" y="6316600"/>
                  <a:pt x="1790425" y="6319200"/>
                </a:cubicBezTo>
                <a:cubicBezTo>
                  <a:pt x="1785729" y="6321800"/>
                  <a:pt x="1782232" y="6325700"/>
                  <a:pt x="1779935" y="6330899"/>
                </a:cubicBezTo>
                <a:cubicBezTo>
                  <a:pt x="1777637" y="6336099"/>
                  <a:pt x="1776488" y="6342165"/>
                  <a:pt x="1776488" y="6349098"/>
                </a:cubicBezTo>
                <a:cubicBezTo>
                  <a:pt x="1776488" y="6359820"/>
                  <a:pt x="1779159" y="6368053"/>
                  <a:pt x="1784499" y="6373797"/>
                </a:cubicBezTo>
                <a:cubicBezTo>
                  <a:pt x="1789840" y="6379540"/>
                  <a:pt x="1796904" y="6382412"/>
                  <a:pt x="1805691" y="6382412"/>
                </a:cubicBezTo>
                <a:cubicBezTo>
                  <a:pt x="1812705" y="6382412"/>
                  <a:pt x="1818620" y="6380326"/>
                  <a:pt x="1823437" y="6376155"/>
                </a:cubicBezTo>
                <a:cubicBezTo>
                  <a:pt x="1828253" y="6371983"/>
                  <a:pt x="1831246" y="6366209"/>
                  <a:pt x="1832415" y="6358832"/>
                </a:cubicBezTo>
                <a:lnTo>
                  <a:pt x="1821714" y="6357442"/>
                </a:lnTo>
                <a:cubicBezTo>
                  <a:pt x="1820948" y="6362883"/>
                  <a:pt x="1819134" y="6366914"/>
                  <a:pt x="1816272" y="6369534"/>
                </a:cubicBezTo>
                <a:cubicBezTo>
                  <a:pt x="1813410" y="6372154"/>
                  <a:pt x="1809843" y="6373464"/>
                  <a:pt x="1805570" y="6373464"/>
                </a:cubicBezTo>
                <a:cubicBezTo>
                  <a:pt x="1800250" y="6373464"/>
                  <a:pt x="1795937" y="6371509"/>
                  <a:pt x="1792632" y="6367599"/>
                </a:cubicBezTo>
                <a:cubicBezTo>
                  <a:pt x="1789326" y="6363689"/>
                  <a:pt x="1787674" y="6357422"/>
                  <a:pt x="1787674" y="6348796"/>
                </a:cubicBezTo>
                <a:cubicBezTo>
                  <a:pt x="1787674" y="6340291"/>
                  <a:pt x="1789387" y="6334073"/>
                  <a:pt x="1792813" y="6330143"/>
                </a:cubicBezTo>
                <a:cubicBezTo>
                  <a:pt x="1796239" y="6326213"/>
                  <a:pt x="1800693" y="6324248"/>
                  <a:pt x="1806175" y="6324248"/>
                </a:cubicBezTo>
                <a:cubicBezTo>
                  <a:pt x="1809803" y="6324248"/>
                  <a:pt x="1812896" y="6325337"/>
                  <a:pt x="1815456" y="6327513"/>
                </a:cubicBezTo>
                <a:cubicBezTo>
                  <a:pt x="1818015" y="6329690"/>
                  <a:pt x="1819799" y="6332935"/>
                  <a:pt x="1820806" y="6337248"/>
                </a:cubicBezTo>
                <a:lnTo>
                  <a:pt x="1831387" y="6335615"/>
                </a:lnTo>
                <a:cubicBezTo>
                  <a:pt x="1830138" y="6329126"/>
                  <a:pt x="1827296" y="6324117"/>
                  <a:pt x="1822862" y="6320591"/>
                </a:cubicBezTo>
                <a:cubicBezTo>
                  <a:pt x="1818428" y="6317064"/>
                  <a:pt x="1812725" y="6315300"/>
                  <a:pt x="1805752" y="6315300"/>
                </a:cubicBezTo>
                <a:close/>
                <a:moveTo>
                  <a:pt x="1515165" y="6315300"/>
                </a:moveTo>
                <a:cubicBezTo>
                  <a:pt x="1511819" y="6315300"/>
                  <a:pt x="1508685" y="6315733"/>
                  <a:pt x="1505763" y="6316600"/>
                </a:cubicBezTo>
                <a:cubicBezTo>
                  <a:pt x="1502840" y="6317467"/>
                  <a:pt x="1500533" y="6318525"/>
                  <a:pt x="1498840" y="6319774"/>
                </a:cubicBezTo>
                <a:cubicBezTo>
                  <a:pt x="1496583" y="6321387"/>
                  <a:pt x="1494799" y="6323412"/>
                  <a:pt x="1493489" y="6325851"/>
                </a:cubicBezTo>
                <a:cubicBezTo>
                  <a:pt x="1492179" y="6328289"/>
                  <a:pt x="1491524" y="6330939"/>
                  <a:pt x="1491524" y="6333801"/>
                </a:cubicBezTo>
                <a:cubicBezTo>
                  <a:pt x="1491524" y="6336945"/>
                  <a:pt x="1492320" y="6339817"/>
                  <a:pt x="1493913" y="6342417"/>
                </a:cubicBezTo>
                <a:cubicBezTo>
                  <a:pt x="1495505" y="6345017"/>
                  <a:pt x="1497843" y="6347052"/>
                  <a:pt x="1500926" y="6348524"/>
                </a:cubicBezTo>
                <a:cubicBezTo>
                  <a:pt x="1504009" y="6349995"/>
                  <a:pt x="1509542" y="6351738"/>
                  <a:pt x="1517523" y="6353754"/>
                </a:cubicBezTo>
                <a:cubicBezTo>
                  <a:pt x="1523448" y="6355245"/>
                  <a:pt x="1527156" y="6356474"/>
                  <a:pt x="1528648" y="6357442"/>
                </a:cubicBezTo>
                <a:cubicBezTo>
                  <a:pt x="1530784" y="6358853"/>
                  <a:pt x="1531852" y="6360787"/>
                  <a:pt x="1531852" y="6363246"/>
                </a:cubicBezTo>
                <a:cubicBezTo>
                  <a:pt x="1531852" y="6365987"/>
                  <a:pt x="1530643" y="6368375"/>
                  <a:pt x="1528224" y="6370411"/>
                </a:cubicBezTo>
                <a:cubicBezTo>
                  <a:pt x="1525806" y="6372446"/>
                  <a:pt x="1522097" y="6373464"/>
                  <a:pt x="1517100" y="6373464"/>
                </a:cubicBezTo>
                <a:cubicBezTo>
                  <a:pt x="1512141" y="6373464"/>
                  <a:pt x="1508282" y="6372315"/>
                  <a:pt x="1505521" y="6370018"/>
                </a:cubicBezTo>
                <a:cubicBezTo>
                  <a:pt x="1502760" y="6367720"/>
                  <a:pt x="1501077" y="6364415"/>
                  <a:pt x="1500472" y="6360102"/>
                </a:cubicBezTo>
                <a:lnTo>
                  <a:pt x="1489710" y="6361795"/>
                </a:lnTo>
                <a:cubicBezTo>
                  <a:pt x="1490920" y="6368607"/>
                  <a:pt x="1493711" y="6373746"/>
                  <a:pt x="1498084" y="6377213"/>
                </a:cubicBezTo>
                <a:cubicBezTo>
                  <a:pt x="1502458" y="6380679"/>
                  <a:pt x="1508816" y="6382412"/>
                  <a:pt x="1517160" y="6382412"/>
                </a:cubicBezTo>
                <a:cubicBezTo>
                  <a:pt x="1522198" y="6382412"/>
                  <a:pt x="1526713" y="6381536"/>
                  <a:pt x="1530703" y="6379782"/>
                </a:cubicBezTo>
                <a:cubicBezTo>
                  <a:pt x="1534694" y="6378029"/>
                  <a:pt x="1537747" y="6375550"/>
                  <a:pt x="1539863" y="6372345"/>
                </a:cubicBezTo>
                <a:cubicBezTo>
                  <a:pt x="1541979" y="6369141"/>
                  <a:pt x="1543037" y="6365725"/>
                  <a:pt x="1543037" y="6362097"/>
                </a:cubicBezTo>
                <a:cubicBezTo>
                  <a:pt x="1543037" y="6358389"/>
                  <a:pt x="1542171" y="6355285"/>
                  <a:pt x="1540437" y="6352786"/>
                </a:cubicBezTo>
                <a:cubicBezTo>
                  <a:pt x="1538704" y="6350287"/>
                  <a:pt x="1536316" y="6348383"/>
                  <a:pt x="1533273" y="6347073"/>
                </a:cubicBezTo>
                <a:cubicBezTo>
                  <a:pt x="1530230" y="6345763"/>
                  <a:pt x="1524859" y="6344080"/>
                  <a:pt x="1517160" y="6342024"/>
                </a:cubicBezTo>
                <a:cubicBezTo>
                  <a:pt x="1511839" y="6340573"/>
                  <a:pt x="1508635" y="6339646"/>
                  <a:pt x="1507547" y="6339243"/>
                </a:cubicBezTo>
                <a:cubicBezTo>
                  <a:pt x="1505652" y="6338477"/>
                  <a:pt x="1504261" y="6337510"/>
                  <a:pt x="1503375" y="6336341"/>
                </a:cubicBezTo>
                <a:cubicBezTo>
                  <a:pt x="1502488" y="6335212"/>
                  <a:pt x="1502044" y="6333942"/>
                  <a:pt x="1502044" y="6332532"/>
                </a:cubicBezTo>
                <a:cubicBezTo>
                  <a:pt x="1502044" y="6330315"/>
                  <a:pt x="1503113" y="6328380"/>
                  <a:pt x="1505249" y="6326727"/>
                </a:cubicBezTo>
                <a:cubicBezTo>
                  <a:pt x="1507385" y="6325075"/>
                  <a:pt x="1510953" y="6324248"/>
                  <a:pt x="1515951" y="6324248"/>
                </a:cubicBezTo>
                <a:cubicBezTo>
                  <a:pt x="1520183" y="6324248"/>
                  <a:pt x="1523458" y="6325176"/>
                  <a:pt x="1525776" y="6327030"/>
                </a:cubicBezTo>
                <a:cubicBezTo>
                  <a:pt x="1528093" y="6328884"/>
                  <a:pt x="1529494" y="6331463"/>
                  <a:pt x="1529978" y="6334769"/>
                </a:cubicBezTo>
                <a:lnTo>
                  <a:pt x="1540619" y="6333318"/>
                </a:lnTo>
                <a:cubicBezTo>
                  <a:pt x="1539934" y="6329166"/>
                  <a:pt x="1538684" y="6325851"/>
                  <a:pt x="1536870" y="6323372"/>
                </a:cubicBezTo>
                <a:cubicBezTo>
                  <a:pt x="1535056" y="6320893"/>
                  <a:pt x="1532245" y="6318928"/>
                  <a:pt x="1528436" y="6317477"/>
                </a:cubicBezTo>
                <a:cubicBezTo>
                  <a:pt x="1524627" y="6316026"/>
                  <a:pt x="1520203" y="6315300"/>
                  <a:pt x="1515165" y="6315300"/>
                </a:cubicBezTo>
                <a:close/>
                <a:moveTo>
                  <a:pt x="1479544" y="6315300"/>
                </a:moveTo>
                <a:cubicBezTo>
                  <a:pt x="1477004" y="6315300"/>
                  <a:pt x="1474676" y="6316026"/>
                  <a:pt x="1472560" y="6317477"/>
                </a:cubicBezTo>
                <a:cubicBezTo>
                  <a:pt x="1470444" y="6318928"/>
                  <a:pt x="1468136" y="6321931"/>
                  <a:pt x="1465638" y="6326486"/>
                </a:cubicBezTo>
                <a:lnTo>
                  <a:pt x="1465638" y="6316751"/>
                </a:lnTo>
                <a:lnTo>
                  <a:pt x="1455843" y="6316751"/>
                </a:lnTo>
                <a:lnTo>
                  <a:pt x="1455843" y="6380961"/>
                </a:lnTo>
                <a:lnTo>
                  <a:pt x="1466726" y="6380961"/>
                </a:lnTo>
                <a:lnTo>
                  <a:pt x="1466726" y="6347345"/>
                </a:lnTo>
                <a:cubicBezTo>
                  <a:pt x="1466726" y="6342750"/>
                  <a:pt x="1467330" y="6338517"/>
                  <a:pt x="1468540" y="6334648"/>
                </a:cubicBezTo>
                <a:cubicBezTo>
                  <a:pt x="1469346" y="6332108"/>
                  <a:pt x="1470696" y="6330123"/>
                  <a:pt x="1472590" y="6328692"/>
                </a:cubicBezTo>
                <a:cubicBezTo>
                  <a:pt x="1474485" y="6327261"/>
                  <a:pt x="1476621" y="6326546"/>
                  <a:pt x="1479000" y="6326546"/>
                </a:cubicBezTo>
                <a:cubicBezTo>
                  <a:pt x="1481660" y="6326546"/>
                  <a:pt x="1484320" y="6327332"/>
                  <a:pt x="1486980" y="6328904"/>
                </a:cubicBezTo>
                <a:lnTo>
                  <a:pt x="1490729" y="6318807"/>
                </a:lnTo>
                <a:cubicBezTo>
                  <a:pt x="1486940" y="6316469"/>
                  <a:pt x="1483212" y="6315300"/>
                  <a:pt x="1479544" y="6315300"/>
                </a:cubicBezTo>
                <a:close/>
                <a:moveTo>
                  <a:pt x="1416436" y="6315300"/>
                </a:moveTo>
                <a:cubicBezTo>
                  <a:pt x="1410914" y="6315300"/>
                  <a:pt x="1406057" y="6316056"/>
                  <a:pt x="1401865" y="6317567"/>
                </a:cubicBezTo>
                <a:cubicBezTo>
                  <a:pt x="1397673" y="6319079"/>
                  <a:pt x="1394468" y="6321235"/>
                  <a:pt x="1392251" y="6324037"/>
                </a:cubicBezTo>
                <a:cubicBezTo>
                  <a:pt x="1390034" y="6326838"/>
                  <a:pt x="1388442" y="6330516"/>
                  <a:pt x="1387475" y="6335071"/>
                </a:cubicBezTo>
                <a:lnTo>
                  <a:pt x="1398116" y="6336522"/>
                </a:lnTo>
                <a:cubicBezTo>
                  <a:pt x="1399285" y="6331967"/>
                  <a:pt x="1401089" y="6328793"/>
                  <a:pt x="1403527" y="6326999"/>
                </a:cubicBezTo>
                <a:cubicBezTo>
                  <a:pt x="1405966" y="6325206"/>
                  <a:pt x="1409745" y="6324309"/>
                  <a:pt x="1414864" y="6324309"/>
                </a:cubicBezTo>
                <a:cubicBezTo>
                  <a:pt x="1420345" y="6324309"/>
                  <a:pt x="1424477" y="6325538"/>
                  <a:pt x="1427258" y="6327997"/>
                </a:cubicBezTo>
                <a:cubicBezTo>
                  <a:pt x="1429314" y="6329811"/>
                  <a:pt x="1430342" y="6332935"/>
                  <a:pt x="1430342" y="6337369"/>
                </a:cubicBezTo>
                <a:cubicBezTo>
                  <a:pt x="1430342" y="6337772"/>
                  <a:pt x="1430322" y="6338719"/>
                  <a:pt x="1430281" y="6340210"/>
                </a:cubicBezTo>
                <a:cubicBezTo>
                  <a:pt x="1426130" y="6341661"/>
                  <a:pt x="1419660" y="6342911"/>
                  <a:pt x="1410873" y="6343959"/>
                </a:cubicBezTo>
                <a:cubicBezTo>
                  <a:pt x="1406561" y="6344483"/>
                  <a:pt x="1403336" y="6345027"/>
                  <a:pt x="1401199" y="6345591"/>
                </a:cubicBezTo>
                <a:cubicBezTo>
                  <a:pt x="1398297" y="6346397"/>
                  <a:pt x="1395687" y="6347587"/>
                  <a:pt x="1393370" y="6349159"/>
                </a:cubicBezTo>
                <a:cubicBezTo>
                  <a:pt x="1391052" y="6350731"/>
                  <a:pt x="1389178" y="6352816"/>
                  <a:pt x="1387747" y="6355416"/>
                </a:cubicBezTo>
                <a:cubicBezTo>
                  <a:pt x="1386316" y="6358016"/>
                  <a:pt x="1385600" y="6360888"/>
                  <a:pt x="1385600" y="6364032"/>
                </a:cubicBezTo>
                <a:cubicBezTo>
                  <a:pt x="1385600" y="6369393"/>
                  <a:pt x="1387495" y="6373797"/>
                  <a:pt x="1391284" y="6377243"/>
                </a:cubicBezTo>
                <a:cubicBezTo>
                  <a:pt x="1395073" y="6380689"/>
                  <a:pt x="1400494" y="6382412"/>
                  <a:pt x="1407548" y="6382412"/>
                </a:cubicBezTo>
                <a:cubicBezTo>
                  <a:pt x="1411821" y="6382412"/>
                  <a:pt x="1415821" y="6381707"/>
                  <a:pt x="1419550" y="6380296"/>
                </a:cubicBezTo>
                <a:cubicBezTo>
                  <a:pt x="1423278" y="6378885"/>
                  <a:pt x="1427158" y="6376467"/>
                  <a:pt x="1431188" y="6373041"/>
                </a:cubicBezTo>
                <a:cubicBezTo>
                  <a:pt x="1431511" y="6376064"/>
                  <a:pt x="1432236" y="6378704"/>
                  <a:pt x="1433365" y="6380961"/>
                </a:cubicBezTo>
                <a:lnTo>
                  <a:pt x="1444732" y="6380961"/>
                </a:lnTo>
                <a:cubicBezTo>
                  <a:pt x="1443361" y="6378502"/>
                  <a:pt x="1442444" y="6375933"/>
                  <a:pt x="1441981" y="6373252"/>
                </a:cubicBezTo>
                <a:cubicBezTo>
                  <a:pt x="1441517" y="6370572"/>
                  <a:pt x="1441285" y="6364173"/>
                  <a:pt x="1441285" y="6354056"/>
                </a:cubicBezTo>
                <a:lnTo>
                  <a:pt x="1441285" y="6339545"/>
                </a:lnTo>
                <a:cubicBezTo>
                  <a:pt x="1441285" y="6334708"/>
                  <a:pt x="1441104" y="6331363"/>
                  <a:pt x="1440741" y="6329509"/>
                </a:cubicBezTo>
                <a:cubicBezTo>
                  <a:pt x="1440096" y="6326526"/>
                  <a:pt x="1438968" y="6324057"/>
                  <a:pt x="1437355" y="6322102"/>
                </a:cubicBezTo>
                <a:cubicBezTo>
                  <a:pt x="1435743" y="6320147"/>
                  <a:pt x="1433224" y="6318525"/>
                  <a:pt x="1429798" y="6317235"/>
                </a:cubicBezTo>
                <a:cubicBezTo>
                  <a:pt x="1426372" y="6315945"/>
                  <a:pt x="1421917" y="6315300"/>
                  <a:pt x="1416436" y="6315300"/>
                </a:cubicBezTo>
                <a:close/>
                <a:moveTo>
                  <a:pt x="1167698" y="6315300"/>
                </a:moveTo>
                <a:cubicBezTo>
                  <a:pt x="1159757" y="6315300"/>
                  <a:pt x="1153026" y="6317678"/>
                  <a:pt x="1147503" y="6322435"/>
                </a:cubicBezTo>
                <a:cubicBezTo>
                  <a:pt x="1140893" y="6328158"/>
                  <a:pt x="1137588" y="6336965"/>
                  <a:pt x="1137588" y="6348856"/>
                </a:cubicBezTo>
                <a:cubicBezTo>
                  <a:pt x="1137588" y="6359699"/>
                  <a:pt x="1140359" y="6368002"/>
                  <a:pt x="1145901" y="6373766"/>
                </a:cubicBezTo>
                <a:cubicBezTo>
                  <a:pt x="1151443" y="6379530"/>
                  <a:pt x="1158709" y="6382412"/>
                  <a:pt x="1167698" y="6382412"/>
                </a:cubicBezTo>
                <a:cubicBezTo>
                  <a:pt x="1173300" y="6382412"/>
                  <a:pt x="1178470" y="6381102"/>
                  <a:pt x="1183206" y="6378482"/>
                </a:cubicBezTo>
                <a:cubicBezTo>
                  <a:pt x="1187942" y="6375862"/>
                  <a:pt x="1191550" y="6372184"/>
                  <a:pt x="1194028" y="6367448"/>
                </a:cubicBezTo>
                <a:cubicBezTo>
                  <a:pt x="1196507" y="6362712"/>
                  <a:pt x="1197747" y="6356212"/>
                  <a:pt x="1197747" y="6347949"/>
                </a:cubicBezTo>
                <a:cubicBezTo>
                  <a:pt x="1197747" y="6337751"/>
                  <a:pt x="1194945" y="6329761"/>
                  <a:pt x="1189343" y="6323976"/>
                </a:cubicBezTo>
                <a:cubicBezTo>
                  <a:pt x="1183740" y="6318192"/>
                  <a:pt x="1176525" y="6315300"/>
                  <a:pt x="1167698" y="6315300"/>
                </a:cubicBezTo>
                <a:close/>
                <a:moveTo>
                  <a:pt x="1057965" y="6315300"/>
                </a:moveTo>
                <a:cubicBezTo>
                  <a:pt x="1054619" y="6315300"/>
                  <a:pt x="1051485" y="6315733"/>
                  <a:pt x="1048563" y="6316600"/>
                </a:cubicBezTo>
                <a:cubicBezTo>
                  <a:pt x="1045641" y="6317467"/>
                  <a:pt x="1043333" y="6318525"/>
                  <a:pt x="1041640" y="6319774"/>
                </a:cubicBezTo>
                <a:cubicBezTo>
                  <a:pt x="1039383" y="6321387"/>
                  <a:pt x="1037599" y="6323412"/>
                  <a:pt x="1036289" y="6325851"/>
                </a:cubicBezTo>
                <a:cubicBezTo>
                  <a:pt x="1034979" y="6328289"/>
                  <a:pt x="1034324" y="6330939"/>
                  <a:pt x="1034324" y="6333801"/>
                </a:cubicBezTo>
                <a:cubicBezTo>
                  <a:pt x="1034324" y="6336945"/>
                  <a:pt x="1035120" y="6339817"/>
                  <a:pt x="1036712" y="6342417"/>
                </a:cubicBezTo>
                <a:cubicBezTo>
                  <a:pt x="1038304" y="6345017"/>
                  <a:pt x="1040642" y="6347052"/>
                  <a:pt x="1043726" y="6348524"/>
                </a:cubicBezTo>
                <a:cubicBezTo>
                  <a:pt x="1046809" y="6349995"/>
                  <a:pt x="1052342" y="6351738"/>
                  <a:pt x="1060323" y="6353754"/>
                </a:cubicBezTo>
                <a:cubicBezTo>
                  <a:pt x="1066248" y="6355245"/>
                  <a:pt x="1069956" y="6356474"/>
                  <a:pt x="1071447" y="6357442"/>
                </a:cubicBezTo>
                <a:cubicBezTo>
                  <a:pt x="1073584" y="6358853"/>
                  <a:pt x="1074652" y="6360787"/>
                  <a:pt x="1074652" y="6363246"/>
                </a:cubicBezTo>
                <a:cubicBezTo>
                  <a:pt x="1074652" y="6365987"/>
                  <a:pt x="1073443" y="6368375"/>
                  <a:pt x="1071024" y="6370411"/>
                </a:cubicBezTo>
                <a:cubicBezTo>
                  <a:pt x="1068606" y="6372446"/>
                  <a:pt x="1064898" y="6373464"/>
                  <a:pt x="1059899" y="6373464"/>
                </a:cubicBezTo>
                <a:cubicBezTo>
                  <a:pt x="1054942" y="6373464"/>
                  <a:pt x="1051082" y="6372315"/>
                  <a:pt x="1048321" y="6370018"/>
                </a:cubicBezTo>
                <a:cubicBezTo>
                  <a:pt x="1045560" y="6367720"/>
                  <a:pt x="1043877" y="6364415"/>
                  <a:pt x="1043272" y="6360102"/>
                </a:cubicBezTo>
                <a:lnTo>
                  <a:pt x="1032510" y="6361795"/>
                </a:lnTo>
                <a:cubicBezTo>
                  <a:pt x="1033720" y="6368607"/>
                  <a:pt x="1036511" y="6373746"/>
                  <a:pt x="1040884" y="6377213"/>
                </a:cubicBezTo>
                <a:cubicBezTo>
                  <a:pt x="1045258" y="6380679"/>
                  <a:pt x="1051616" y="6382412"/>
                  <a:pt x="1059960" y="6382412"/>
                </a:cubicBezTo>
                <a:cubicBezTo>
                  <a:pt x="1064998" y="6382412"/>
                  <a:pt x="1069513" y="6381536"/>
                  <a:pt x="1073503" y="6379782"/>
                </a:cubicBezTo>
                <a:cubicBezTo>
                  <a:pt x="1077494" y="6378029"/>
                  <a:pt x="1080547" y="6375550"/>
                  <a:pt x="1082663" y="6372345"/>
                </a:cubicBezTo>
                <a:cubicBezTo>
                  <a:pt x="1084779" y="6369141"/>
                  <a:pt x="1085837" y="6365725"/>
                  <a:pt x="1085837" y="6362097"/>
                </a:cubicBezTo>
                <a:cubicBezTo>
                  <a:pt x="1085837" y="6358389"/>
                  <a:pt x="1084971" y="6355285"/>
                  <a:pt x="1083237" y="6352786"/>
                </a:cubicBezTo>
                <a:cubicBezTo>
                  <a:pt x="1081504" y="6350287"/>
                  <a:pt x="1079116" y="6348383"/>
                  <a:pt x="1076073" y="6347073"/>
                </a:cubicBezTo>
                <a:cubicBezTo>
                  <a:pt x="1073030" y="6345763"/>
                  <a:pt x="1067659" y="6344080"/>
                  <a:pt x="1059960" y="6342024"/>
                </a:cubicBezTo>
                <a:cubicBezTo>
                  <a:pt x="1054639" y="6340573"/>
                  <a:pt x="1051435" y="6339646"/>
                  <a:pt x="1050346" y="6339243"/>
                </a:cubicBezTo>
                <a:cubicBezTo>
                  <a:pt x="1048452" y="6338477"/>
                  <a:pt x="1047061" y="6337510"/>
                  <a:pt x="1046175" y="6336341"/>
                </a:cubicBezTo>
                <a:cubicBezTo>
                  <a:pt x="1045288" y="6335212"/>
                  <a:pt x="1044844" y="6333942"/>
                  <a:pt x="1044844" y="6332532"/>
                </a:cubicBezTo>
                <a:cubicBezTo>
                  <a:pt x="1044844" y="6330315"/>
                  <a:pt x="1045913" y="6328380"/>
                  <a:pt x="1048049" y="6326727"/>
                </a:cubicBezTo>
                <a:cubicBezTo>
                  <a:pt x="1050185" y="6325075"/>
                  <a:pt x="1053753" y="6324248"/>
                  <a:pt x="1058751" y="6324248"/>
                </a:cubicBezTo>
                <a:cubicBezTo>
                  <a:pt x="1062983" y="6324248"/>
                  <a:pt x="1066258" y="6325176"/>
                  <a:pt x="1068576" y="6327030"/>
                </a:cubicBezTo>
                <a:cubicBezTo>
                  <a:pt x="1070893" y="6328884"/>
                  <a:pt x="1072294" y="6331463"/>
                  <a:pt x="1072778" y="6334769"/>
                </a:cubicBezTo>
                <a:lnTo>
                  <a:pt x="1083419" y="6333318"/>
                </a:lnTo>
                <a:cubicBezTo>
                  <a:pt x="1082734" y="6329166"/>
                  <a:pt x="1081484" y="6325851"/>
                  <a:pt x="1079670" y="6323372"/>
                </a:cubicBezTo>
                <a:cubicBezTo>
                  <a:pt x="1077856" y="6320893"/>
                  <a:pt x="1075045" y="6318928"/>
                  <a:pt x="1071236" y="6317477"/>
                </a:cubicBezTo>
                <a:cubicBezTo>
                  <a:pt x="1067427" y="6316026"/>
                  <a:pt x="1063003" y="6315300"/>
                  <a:pt x="1057965" y="6315300"/>
                </a:cubicBezTo>
                <a:close/>
                <a:moveTo>
                  <a:pt x="991290" y="6315300"/>
                </a:moveTo>
                <a:cubicBezTo>
                  <a:pt x="987944" y="6315300"/>
                  <a:pt x="984810" y="6315733"/>
                  <a:pt x="981888" y="6316600"/>
                </a:cubicBezTo>
                <a:cubicBezTo>
                  <a:pt x="978965" y="6317467"/>
                  <a:pt x="976658" y="6318525"/>
                  <a:pt x="974965" y="6319774"/>
                </a:cubicBezTo>
                <a:cubicBezTo>
                  <a:pt x="972708" y="6321387"/>
                  <a:pt x="970924" y="6323412"/>
                  <a:pt x="969614" y="6325851"/>
                </a:cubicBezTo>
                <a:cubicBezTo>
                  <a:pt x="968304" y="6328289"/>
                  <a:pt x="967649" y="6330939"/>
                  <a:pt x="967649" y="6333801"/>
                </a:cubicBezTo>
                <a:cubicBezTo>
                  <a:pt x="967649" y="6336945"/>
                  <a:pt x="968445" y="6339817"/>
                  <a:pt x="970037" y="6342417"/>
                </a:cubicBezTo>
                <a:cubicBezTo>
                  <a:pt x="971630" y="6345017"/>
                  <a:pt x="973967" y="6347052"/>
                  <a:pt x="977051" y="6348524"/>
                </a:cubicBezTo>
                <a:cubicBezTo>
                  <a:pt x="980134" y="6349995"/>
                  <a:pt x="985667" y="6351738"/>
                  <a:pt x="993648" y="6353754"/>
                </a:cubicBezTo>
                <a:cubicBezTo>
                  <a:pt x="999573" y="6355245"/>
                  <a:pt x="1003281" y="6356474"/>
                  <a:pt x="1004772" y="6357442"/>
                </a:cubicBezTo>
                <a:cubicBezTo>
                  <a:pt x="1006909" y="6358853"/>
                  <a:pt x="1007977" y="6360787"/>
                  <a:pt x="1007977" y="6363246"/>
                </a:cubicBezTo>
                <a:cubicBezTo>
                  <a:pt x="1007977" y="6365987"/>
                  <a:pt x="1006768" y="6368375"/>
                  <a:pt x="1004349" y="6370411"/>
                </a:cubicBezTo>
                <a:cubicBezTo>
                  <a:pt x="1001931" y="6372446"/>
                  <a:pt x="998222" y="6373464"/>
                  <a:pt x="993224" y="6373464"/>
                </a:cubicBezTo>
                <a:cubicBezTo>
                  <a:pt x="988266" y="6373464"/>
                  <a:pt x="984407" y="6372315"/>
                  <a:pt x="981646" y="6370018"/>
                </a:cubicBezTo>
                <a:cubicBezTo>
                  <a:pt x="978885" y="6367720"/>
                  <a:pt x="977202" y="6364415"/>
                  <a:pt x="976598" y="6360102"/>
                </a:cubicBezTo>
                <a:lnTo>
                  <a:pt x="965835" y="6361795"/>
                </a:lnTo>
                <a:cubicBezTo>
                  <a:pt x="967044" y="6368607"/>
                  <a:pt x="969836" y="6373746"/>
                  <a:pt x="974209" y="6377213"/>
                </a:cubicBezTo>
                <a:cubicBezTo>
                  <a:pt x="978583" y="6380679"/>
                  <a:pt x="984941" y="6382412"/>
                  <a:pt x="993285" y="6382412"/>
                </a:cubicBezTo>
                <a:cubicBezTo>
                  <a:pt x="998323" y="6382412"/>
                  <a:pt x="1002838" y="6381536"/>
                  <a:pt x="1006828" y="6379782"/>
                </a:cubicBezTo>
                <a:cubicBezTo>
                  <a:pt x="1010819" y="6378029"/>
                  <a:pt x="1013872" y="6375550"/>
                  <a:pt x="1015988" y="6372345"/>
                </a:cubicBezTo>
                <a:cubicBezTo>
                  <a:pt x="1018104" y="6369141"/>
                  <a:pt x="1019162" y="6365725"/>
                  <a:pt x="1019162" y="6362097"/>
                </a:cubicBezTo>
                <a:cubicBezTo>
                  <a:pt x="1019162" y="6358389"/>
                  <a:pt x="1018296" y="6355285"/>
                  <a:pt x="1016562" y="6352786"/>
                </a:cubicBezTo>
                <a:cubicBezTo>
                  <a:pt x="1014829" y="6350287"/>
                  <a:pt x="1012441" y="6348383"/>
                  <a:pt x="1009398" y="6347073"/>
                </a:cubicBezTo>
                <a:cubicBezTo>
                  <a:pt x="1006354" y="6345763"/>
                  <a:pt x="1000984" y="6344080"/>
                  <a:pt x="993285" y="6342024"/>
                </a:cubicBezTo>
                <a:cubicBezTo>
                  <a:pt x="987964" y="6340573"/>
                  <a:pt x="984760" y="6339646"/>
                  <a:pt x="983671" y="6339243"/>
                </a:cubicBezTo>
                <a:cubicBezTo>
                  <a:pt x="981777" y="6338477"/>
                  <a:pt x="980386" y="6337510"/>
                  <a:pt x="979500" y="6336341"/>
                </a:cubicBezTo>
                <a:cubicBezTo>
                  <a:pt x="978613" y="6335212"/>
                  <a:pt x="978170" y="6333942"/>
                  <a:pt x="978170" y="6332532"/>
                </a:cubicBezTo>
                <a:cubicBezTo>
                  <a:pt x="978170" y="6330315"/>
                  <a:pt x="979238" y="6328380"/>
                  <a:pt x="981374" y="6326727"/>
                </a:cubicBezTo>
                <a:cubicBezTo>
                  <a:pt x="983510" y="6325075"/>
                  <a:pt x="987077" y="6324248"/>
                  <a:pt x="992076" y="6324248"/>
                </a:cubicBezTo>
                <a:cubicBezTo>
                  <a:pt x="996308" y="6324248"/>
                  <a:pt x="999583" y="6325176"/>
                  <a:pt x="1001900" y="6327030"/>
                </a:cubicBezTo>
                <a:cubicBezTo>
                  <a:pt x="1004218" y="6328884"/>
                  <a:pt x="1005619" y="6331463"/>
                  <a:pt x="1006103" y="6334769"/>
                </a:cubicBezTo>
                <a:lnTo>
                  <a:pt x="1016744" y="6333318"/>
                </a:lnTo>
                <a:cubicBezTo>
                  <a:pt x="1016059" y="6329166"/>
                  <a:pt x="1014809" y="6325851"/>
                  <a:pt x="1012995" y="6323372"/>
                </a:cubicBezTo>
                <a:cubicBezTo>
                  <a:pt x="1011181" y="6320893"/>
                  <a:pt x="1008370" y="6318928"/>
                  <a:pt x="1004561" y="6317477"/>
                </a:cubicBezTo>
                <a:cubicBezTo>
                  <a:pt x="1000752" y="6316026"/>
                  <a:pt x="996328" y="6315300"/>
                  <a:pt x="991290" y="6315300"/>
                </a:cubicBezTo>
                <a:close/>
                <a:moveTo>
                  <a:pt x="929875" y="6315300"/>
                </a:moveTo>
                <a:cubicBezTo>
                  <a:pt x="921007" y="6315300"/>
                  <a:pt x="913792" y="6318283"/>
                  <a:pt x="908229" y="6324248"/>
                </a:cubicBezTo>
                <a:cubicBezTo>
                  <a:pt x="902667" y="6330214"/>
                  <a:pt x="899886" y="6338598"/>
                  <a:pt x="899886" y="6349400"/>
                </a:cubicBezTo>
                <a:cubicBezTo>
                  <a:pt x="899886" y="6359840"/>
                  <a:pt x="902637" y="6367952"/>
                  <a:pt x="908139" y="6373736"/>
                </a:cubicBezTo>
                <a:cubicBezTo>
                  <a:pt x="913641" y="6379520"/>
                  <a:pt x="921088" y="6382412"/>
                  <a:pt x="930479" y="6382412"/>
                </a:cubicBezTo>
                <a:cubicBezTo>
                  <a:pt x="937936" y="6382412"/>
                  <a:pt x="944063" y="6380598"/>
                  <a:pt x="948860" y="6376971"/>
                </a:cubicBezTo>
                <a:cubicBezTo>
                  <a:pt x="953656" y="6373343"/>
                  <a:pt x="956941" y="6368244"/>
                  <a:pt x="958715" y="6361674"/>
                </a:cubicBezTo>
                <a:lnTo>
                  <a:pt x="947469" y="6360283"/>
                </a:lnTo>
                <a:cubicBezTo>
                  <a:pt x="945816" y="6364879"/>
                  <a:pt x="943579" y="6368224"/>
                  <a:pt x="940758" y="6370320"/>
                </a:cubicBezTo>
                <a:cubicBezTo>
                  <a:pt x="937936" y="6372416"/>
                  <a:pt x="934530" y="6373464"/>
                  <a:pt x="930540" y="6373464"/>
                </a:cubicBezTo>
                <a:cubicBezTo>
                  <a:pt x="925179" y="6373464"/>
                  <a:pt x="920705" y="6371590"/>
                  <a:pt x="917117" y="6367841"/>
                </a:cubicBezTo>
                <a:cubicBezTo>
                  <a:pt x="913530" y="6364093"/>
                  <a:pt x="911535" y="6358691"/>
                  <a:pt x="911132" y="6351637"/>
                </a:cubicBezTo>
                <a:lnTo>
                  <a:pt x="959017" y="6351637"/>
                </a:lnTo>
                <a:cubicBezTo>
                  <a:pt x="959057" y="6350348"/>
                  <a:pt x="959078" y="6349380"/>
                  <a:pt x="959078" y="6348735"/>
                </a:cubicBezTo>
                <a:cubicBezTo>
                  <a:pt x="959078" y="6338134"/>
                  <a:pt x="956357" y="6329912"/>
                  <a:pt x="950915" y="6324067"/>
                </a:cubicBezTo>
                <a:cubicBezTo>
                  <a:pt x="945474" y="6318222"/>
                  <a:pt x="938460" y="6315300"/>
                  <a:pt x="929875" y="6315300"/>
                </a:cubicBezTo>
                <a:close/>
                <a:moveTo>
                  <a:pt x="867069" y="6315300"/>
                </a:moveTo>
                <a:cubicBezTo>
                  <a:pt x="858161" y="6315300"/>
                  <a:pt x="851349" y="6318827"/>
                  <a:pt x="846633" y="6325881"/>
                </a:cubicBezTo>
                <a:lnTo>
                  <a:pt x="846633" y="6316751"/>
                </a:lnTo>
                <a:lnTo>
                  <a:pt x="836839" y="6316751"/>
                </a:lnTo>
                <a:lnTo>
                  <a:pt x="836839" y="6380961"/>
                </a:lnTo>
                <a:lnTo>
                  <a:pt x="847722" y="6380961"/>
                </a:lnTo>
                <a:lnTo>
                  <a:pt x="847722" y="6345894"/>
                </a:lnTo>
                <a:cubicBezTo>
                  <a:pt x="847722" y="6337671"/>
                  <a:pt x="849405" y="6332088"/>
                  <a:pt x="852770" y="6329146"/>
                </a:cubicBezTo>
                <a:cubicBezTo>
                  <a:pt x="856136" y="6326203"/>
                  <a:pt x="860136" y="6324732"/>
                  <a:pt x="864772" y="6324732"/>
                </a:cubicBezTo>
                <a:cubicBezTo>
                  <a:pt x="867674" y="6324732"/>
                  <a:pt x="870203" y="6325387"/>
                  <a:pt x="872360" y="6326697"/>
                </a:cubicBezTo>
                <a:cubicBezTo>
                  <a:pt x="874516" y="6328007"/>
                  <a:pt x="876018" y="6329761"/>
                  <a:pt x="876864" y="6331957"/>
                </a:cubicBezTo>
                <a:cubicBezTo>
                  <a:pt x="877710" y="6334154"/>
                  <a:pt x="878134" y="6337469"/>
                  <a:pt x="878134" y="6341903"/>
                </a:cubicBezTo>
                <a:lnTo>
                  <a:pt x="878134" y="6380961"/>
                </a:lnTo>
                <a:lnTo>
                  <a:pt x="889017" y="6380961"/>
                </a:lnTo>
                <a:lnTo>
                  <a:pt x="889017" y="6341480"/>
                </a:lnTo>
                <a:cubicBezTo>
                  <a:pt x="889017" y="6336441"/>
                  <a:pt x="888815" y="6332915"/>
                  <a:pt x="888412" y="6330899"/>
                </a:cubicBezTo>
                <a:cubicBezTo>
                  <a:pt x="887767" y="6327796"/>
                  <a:pt x="886639" y="6325115"/>
                  <a:pt x="885026" y="6322858"/>
                </a:cubicBezTo>
                <a:cubicBezTo>
                  <a:pt x="883414" y="6320601"/>
                  <a:pt x="880985" y="6318777"/>
                  <a:pt x="877741" y="6317386"/>
                </a:cubicBezTo>
                <a:cubicBezTo>
                  <a:pt x="874496" y="6315995"/>
                  <a:pt x="870939" y="6315300"/>
                  <a:pt x="867069" y="6315300"/>
                </a:cubicBezTo>
                <a:close/>
                <a:moveTo>
                  <a:pt x="762690" y="6315300"/>
                </a:moveTo>
                <a:cubicBezTo>
                  <a:pt x="759344" y="6315300"/>
                  <a:pt x="756210" y="6315733"/>
                  <a:pt x="753288" y="6316600"/>
                </a:cubicBezTo>
                <a:cubicBezTo>
                  <a:pt x="750366" y="6317467"/>
                  <a:pt x="748058" y="6318525"/>
                  <a:pt x="746365" y="6319774"/>
                </a:cubicBezTo>
                <a:cubicBezTo>
                  <a:pt x="744108" y="6321387"/>
                  <a:pt x="742324" y="6323412"/>
                  <a:pt x="741014" y="6325851"/>
                </a:cubicBezTo>
                <a:cubicBezTo>
                  <a:pt x="739704" y="6328289"/>
                  <a:pt x="739049" y="6330939"/>
                  <a:pt x="739049" y="6333801"/>
                </a:cubicBezTo>
                <a:cubicBezTo>
                  <a:pt x="739049" y="6336945"/>
                  <a:pt x="739845" y="6339817"/>
                  <a:pt x="741437" y="6342417"/>
                </a:cubicBezTo>
                <a:cubicBezTo>
                  <a:pt x="743030" y="6345017"/>
                  <a:pt x="745367" y="6347052"/>
                  <a:pt x="748451" y="6348524"/>
                </a:cubicBezTo>
                <a:cubicBezTo>
                  <a:pt x="751534" y="6349995"/>
                  <a:pt x="757067" y="6351738"/>
                  <a:pt x="765048" y="6353754"/>
                </a:cubicBezTo>
                <a:cubicBezTo>
                  <a:pt x="770973" y="6355245"/>
                  <a:pt x="774681" y="6356474"/>
                  <a:pt x="776172" y="6357442"/>
                </a:cubicBezTo>
                <a:cubicBezTo>
                  <a:pt x="778309" y="6358853"/>
                  <a:pt x="779377" y="6360787"/>
                  <a:pt x="779377" y="6363246"/>
                </a:cubicBezTo>
                <a:cubicBezTo>
                  <a:pt x="779377" y="6365987"/>
                  <a:pt x="778168" y="6368375"/>
                  <a:pt x="775749" y="6370411"/>
                </a:cubicBezTo>
                <a:cubicBezTo>
                  <a:pt x="773331" y="6372446"/>
                  <a:pt x="769623" y="6373464"/>
                  <a:pt x="764624" y="6373464"/>
                </a:cubicBezTo>
                <a:cubicBezTo>
                  <a:pt x="759666" y="6373464"/>
                  <a:pt x="755807" y="6372315"/>
                  <a:pt x="753046" y="6370018"/>
                </a:cubicBezTo>
                <a:cubicBezTo>
                  <a:pt x="750285" y="6367720"/>
                  <a:pt x="748602" y="6364415"/>
                  <a:pt x="747997" y="6360102"/>
                </a:cubicBezTo>
                <a:lnTo>
                  <a:pt x="737235" y="6361795"/>
                </a:lnTo>
                <a:cubicBezTo>
                  <a:pt x="738445" y="6368607"/>
                  <a:pt x="741236" y="6373746"/>
                  <a:pt x="745609" y="6377213"/>
                </a:cubicBezTo>
                <a:cubicBezTo>
                  <a:pt x="749983" y="6380679"/>
                  <a:pt x="756341" y="6382412"/>
                  <a:pt x="764685" y="6382412"/>
                </a:cubicBezTo>
                <a:cubicBezTo>
                  <a:pt x="769723" y="6382412"/>
                  <a:pt x="774238" y="6381536"/>
                  <a:pt x="778228" y="6379782"/>
                </a:cubicBezTo>
                <a:cubicBezTo>
                  <a:pt x="782219" y="6378029"/>
                  <a:pt x="785272" y="6375550"/>
                  <a:pt x="787388" y="6372345"/>
                </a:cubicBezTo>
                <a:cubicBezTo>
                  <a:pt x="789504" y="6369141"/>
                  <a:pt x="790562" y="6365725"/>
                  <a:pt x="790562" y="6362097"/>
                </a:cubicBezTo>
                <a:cubicBezTo>
                  <a:pt x="790562" y="6358389"/>
                  <a:pt x="789696" y="6355285"/>
                  <a:pt x="787962" y="6352786"/>
                </a:cubicBezTo>
                <a:cubicBezTo>
                  <a:pt x="786229" y="6350287"/>
                  <a:pt x="783841" y="6348383"/>
                  <a:pt x="780798" y="6347073"/>
                </a:cubicBezTo>
                <a:cubicBezTo>
                  <a:pt x="777754" y="6345763"/>
                  <a:pt x="772383" y="6344080"/>
                  <a:pt x="764685" y="6342024"/>
                </a:cubicBezTo>
                <a:cubicBezTo>
                  <a:pt x="759364" y="6340573"/>
                  <a:pt x="756160" y="6339646"/>
                  <a:pt x="755071" y="6339243"/>
                </a:cubicBezTo>
                <a:cubicBezTo>
                  <a:pt x="753177" y="6338477"/>
                  <a:pt x="751786" y="6337510"/>
                  <a:pt x="750900" y="6336341"/>
                </a:cubicBezTo>
                <a:cubicBezTo>
                  <a:pt x="750013" y="6335212"/>
                  <a:pt x="749569" y="6333942"/>
                  <a:pt x="749569" y="6332532"/>
                </a:cubicBezTo>
                <a:cubicBezTo>
                  <a:pt x="749569" y="6330315"/>
                  <a:pt x="750638" y="6328380"/>
                  <a:pt x="752774" y="6326727"/>
                </a:cubicBezTo>
                <a:cubicBezTo>
                  <a:pt x="754910" y="6325075"/>
                  <a:pt x="758477" y="6324248"/>
                  <a:pt x="763476" y="6324248"/>
                </a:cubicBezTo>
                <a:cubicBezTo>
                  <a:pt x="767708" y="6324248"/>
                  <a:pt x="770983" y="6325176"/>
                  <a:pt x="773301" y="6327030"/>
                </a:cubicBezTo>
                <a:cubicBezTo>
                  <a:pt x="775618" y="6328884"/>
                  <a:pt x="777019" y="6331463"/>
                  <a:pt x="777503" y="6334769"/>
                </a:cubicBezTo>
                <a:lnTo>
                  <a:pt x="788144" y="6333318"/>
                </a:lnTo>
                <a:cubicBezTo>
                  <a:pt x="787459" y="6329166"/>
                  <a:pt x="786209" y="6325851"/>
                  <a:pt x="784395" y="6323372"/>
                </a:cubicBezTo>
                <a:cubicBezTo>
                  <a:pt x="782581" y="6320893"/>
                  <a:pt x="779770" y="6318928"/>
                  <a:pt x="775961" y="6317477"/>
                </a:cubicBezTo>
                <a:cubicBezTo>
                  <a:pt x="772152" y="6316026"/>
                  <a:pt x="767728" y="6315300"/>
                  <a:pt x="762690" y="6315300"/>
                </a:cubicBezTo>
                <a:close/>
                <a:moveTo>
                  <a:pt x="525681" y="6301636"/>
                </a:moveTo>
                <a:cubicBezTo>
                  <a:pt x="527051" y="6306432"/>
                  <a:pt x="529147" y="6312559"/>
                  <a:pt x="531969" y="6320016"/>
                </a:cubicBezTo>
                <a:lnTo>
                  <a:pt x="541219" y="6344563"/>
                </a:lnTo>
                <a:lnTo>
                  <a:pt x="511170" y="6344563"/>
                </a:lnTo>
                <a:lnTo>
                  <a:pt x="520904" y="6318565"/>
                </a:lnTo>
                <a:cubicBezTo>
                  <a:pt x="522960" y="6312962"/>
                  <a:pt x="524552" y="6307319"/>
                  <a:pt x="525681" y="6301636"/>
                </a:cubicBezTo>
                <a:close/>
                <a:moveTo>
                  <a:pt x="1847396" y="6292325"/>
                </a:moveTo>
                <a:lnTo>
                  <a:pt x="1847396" y="6380961"/>
                </a:lnTo>
                <a:lnTo>
                  <a:pt x="1902778" y="6380961"/>
                </a:lnTo>
                <a:lnTo>
                  <a:pt x="1902778" y="6370501"/>
                </a:lnTo>
                <a:lnTo>
                  <a:pt x="1859125" y="6370501"/>
                </a:lnTo>
                <a:lnTo>
                  <a:pt x="1859125" y="6292325"/>
                </a:lnTo>
                <a:close/>
                <a:moveTo>
                  <a:pt x="1676067" y="6292325"/>
                </a:moveTo>
                <a:lnTo>
                  <a:pt x="1676067" y="6380961"/>
                </a:lnTo>
                <a:lnTo>
                  <a:pt x="1687373" y="6380961"/>
                </a:lnTo>
                <a:lnTo>
                  <a:pt x="1687373" y="6305505"/>
                </a:lnTo>
                <a:lnTo>
                  <a:pt x="1713008" y="6380961"/>
                </a:lnTo>
                <a:lnTo>
                  <a:pt x="1723589" y="6380961"/>
                </a:lnTo>
                <a:lnTo>
                  <a:pt x="1749346" y="6306775"/>
                </a:lnTo>
                <a:lnTo>
                  <a:pt x="1749346" y="6380961"/>
                </a:lnTo>
                <a:lnTo>
                  <a:pt x="1760652" y="6380961"/>
                </a:lnTo>
                <a:lnTo>
                  <a:pt x="1760652" y="6292325"/>
                </a:lnTo>
                <a:lnTo>
                  <a:pt x="1744872" y="6292325"/>
                </a:lnTo>
                <a:lnTo>
                  <a:pt x="1723650" y="6353995"/>
                </a:lnTo>
                <a:cubicBezTo>
                  <a:pt x="1721513" y="6360243"/>
                  <a:pt x="1719941" y="6364979"/>
                  <a:pt x="1718933" y="6368204"/>
                </a:cubicBezTo>
                <a:cubicBezTo>
                  <a:pt x="1718047" y="6365302"/>
                  <a:pt x="1716636" y="6360928"/>
                  <a:pt x="1714701" y="6355084"/>
                </a:cubicBezTo>
                <a:lnTo>
                  <a:pt x="1693721" y="6292325"/>
                </a:lnTo>
                <a:close/>
                <a:moveTo>
                  <a:pt x="1560739" y="6292325"/>
                </a:moveTo>
                <a:lnTo>
                  <a:pt x="1560739" y="6380961"/>
                </a:lnTo>
                <a:lnTo>
                  <a:pt x="1571622" y="6380961"/>
                </a:lnTo>
                <a:lnTo>
                  <a:pt x="1571622" y="6345833"/>
                </a:lnTo>
                <a:cubicBezTo>
                  <a:pt x="1571622" y="6340795"/>
                  <a:pt x="1572226" y="6336845"/>
                  <a:pt x="1573435" y="6333983"/>
                </a:cubicBezTo>
                <a:cubicBezTo>
                  <a:pt x="1574645" y="6331121"/>
                  <a:pt x="1576670" y="6328854"/>
                  <a:pt x="1579512" y="6327181"/>
                </a:cubicBezTo>
                <a:cubicBezTo>
                  <a:pt x="1582354" y="6325508"/>
                  <a:pt x="1585387" y="6324672"/>
                  <a:pt x="1588611" y="6324672"/>
                </a:cubicBezTo>
                <a:cubicBezTo>
                  <a:pt x="1592924" y="6324672"/>
                  <a:pt x="1596260" y="6325911"/>
                  <a:pt x="1598618" y="6328390"/>
                </a:cubicBezTo>
                <a:cubicBezTo>
                  <a:pt x="1600976" y="6330869"/>
                  <a:pt x="1602155" y="6334829"/>
                  <a:pt x="1602155" y="6340271"/>
                </a:cubicBezTo>
                <a:lnTo>
                  <a:pt x="1602155" y="6380961"/>
                </a:lnTo>
                <a:lnTo>
                  <a:pt x="1613038" y="6380961"/>
                </a:lnTo>
                <a:lnTo>
                  <a:pt x="1613038" y="6340271"/>
                </a:lnTo>
                <a:cubicBezTo>
                  <a:pt x="1613038" y="6333983"/>
                  <a:pt x="1612282" y="6329186"/>
                  <a:pt x="1610771" y="6325881"/>
                </a:cubicBezTo>
                <a:cubicBezTo>
                  <a:pt x="1609259" y="6322576"/>
                  <a:pt x="1606750" y="6319986"/>
                  <a:pt x="1603243" y="6318112"/>
                </a:cubicBezTo>
                <a:cubicBezTo>
                  <a:pt x="1599736" y="6316237"/>
                  <a:pt x="1595605" y="6315300"/>
                  <a:pt x="1590848" y="6315300"/>
                </a:cubicBezTo>
                <a:cubicBezTo>
                  <a:pt x="1583109" y="6315300"/>
                  <a:pt x="1576700" y="6318243"/>
                  <a:pt x="1571622" y="6324128"/>
                </a:cubicBezTo>
                <a:lnTo>
                  <a:pt x="1571622" y="6292325"/>
                </a:lnTo>
                <a:close/>
                <a:moveTo>
                  <a:pt x="1285542" y="6292325"/>
                </a:moveTo>
                <a:lnTo>
                  <a:pt x="1285542" y="6380961"/>
                </a:lnTo>
                <a:lnTo>
                  <a:pt x="1296848" y="6380961"/>
                </a:lnTo>
                <a:lnTo>
                  <a:pt x="1296848" y="6305505"/>
                </a:lnTo>
                <a:lnTo>
                  <a:pt x="1322484" y="6380961"/>
                </a:lnTo>
                <a:lnTo>
                  <a:pt x="1333064" y="6380961"/>
                </a:lnTo>
                <a:lnTo>
                  <a:pt x="1358821" y="6306775"/>
                </a:lnTo>
                <a:lnTo>
                  <a:pt x="1358821" y="6380961"/>
                </a:lnTo>
                <a:lnTo>
                  <a:pt x="1370127" y="6380961"/>
                </a:lnTo>
                <a:lnTo>
                  <a:pt x="1370127" y="6292325"/>
                </a:lnTo>
                <a:lnTo>
                  <a:pt x="1354347" y="6292325"/>
                </a:lnTo>
                <a:lnTo>
                  <a:pt x="1333125" y="6353995"/>
                </a:lnTo>
                <a:cubicBezTo>
                  <a:pt x="1330988" y="6360243"/>
                  <a:pt x="1329416" y="6364979"/>
                  <a:pt x="1328409" y="6368204"/>
                </a:cubicBezTo>
                <a:cubicBezTo>
                  <a:pt x="1327522" y="6365302"/>
                  <a:pt x="1326111" y="6360928"/>
                  <a:pt x="1324176" y="6355084"/>
                </a:cubicBezTo>
                <a:lnTo>
                  <a:pt x="1303196" y="6292325"/>
                </a:lnTo>
                <a:close/>
                <a:moveTo>
                  <a:pt x="808324" y="6292325"/>
                </a:moveTo>
                <a:lnTo>
                  <a:pt x="808324" y="6304840"/>
                </a:lnTo>
                <a:lnTo>
                  <a:pt x="819207" y="6304840"/>
                </a:lnTo>
                <a:lnTo>
                  <a:pt x="819207" y="6292325"/>
                </a:lnTo>
                <a:close/>
                <a:moveTo>
                  <a:pt x="608178" y="6292325"/>
                </a:moveTo>
                <a:lnTo>
                  <a:pt x="608178" y="6380961"/>
                </a:lnTo>
                <a:lnTo>
                  <a:pt x="618275" y="6380961"/>
                </a:lnTo>
                <a:lnTo>
                  <a:pt x="618275" y="6372920"/>
                </a:lnTo>
                <a:cubicBezTo>
                  <a:pt x="622588" y="6379248"/>
                  <a:pt x="628533" y="6382412"/>
                  <a:pt x="636111" y="6382412"/>
                </a:cubicBezTo>
                <a:cubicBezTo>
                  <a:pt x="643729" y="6382412"/>
                  <a:pt x="650259" y="6379409"/>
                  <a:pt x="655701" y="6373404"/>
                </a:cubicBezTo>
                <a:cubicBezTo>
                  <a:pt x="661142" y="6367398"/>
                  <a:pt x="663863" y="6358893"/>
                  <a:pt x="663863" y="6347889"/>
                </a:cubicBezTo>
                <a:cubicBezTo>
                  <a:pt x="663863" y="6343253"/>
                  <a:pt x="663218" y="6338900"/>
                  <a:pt x="661928" y="6334829"/>
                </a:cubicBezTo>
                <a:cubicBezTo>
                  <a:pt x="660638" y="6330758"/>
                  <a:pt x="658855" y="6327282"/>
                  <a:pt x="656577" y="6324400"/>
                </a:cubicBezTo>
                <a:cubicBezTo>
                  <a:pt x="654300" y="6321518"/>
                  <a:pt x="651398" y="6319281"/>
                  <a:pt x="647871" y="6317688"/>
                </a:cubicBezTo>
                <a:cubicBezTo>
                  <a:pt x="644344" y="6316096"/>
                  <a:pt x="640606" y="6315300"/>
                  <a:pt x="636655" y="6315300"/>
                </a:cubicBezTo>
                <a:cubicBezTo>
                  <a:pt x="629521" y="6315300"/>
                  <a:pt x="623656" y="6318182"/>
                  <a:pt x="619061" y="6323946"/>
                </a:cubicBezTo>
                <a:lnTo>
                  <a:pt x="619061" y="6292325"/>
                </a:lnTo>
                <a:close/>
                <a:moveTo>
                  <a:pt x="519635" y="6292325"/>
                </a:moveTo>
                <a:lnTo>
                  <a:pt x="485595" y="6380961"/>
                </a:lnTo>
                <a:lnTo>
                  <a:pt x="498050" y="6380961"/>
                </a:lnTo>
                <a:lnTo>
                  <a:pt x="507784" y="6354116"/>
                </a:lnTo>
                <a:lnTo>
                  <a:pt x="544847" y="6354116"/>
                </a:lnTo>
                <a:lnTo>
                  <a:pt x="555186" y="6380961"/>
                </a:lnTo>
                <a:lnTo>
                  <a:pt x="568548" y="6380961"/>
                </a:lnTo>
                <a:lnTo>
                  <a:pt x="532271" y="6292325"/>
                </a:lnTo>
                <a:close/>
                <a:moveTo>
                  <a:pt x="1228689" y="6290813"/>
                </a:moveTo>
                <a:cubicBezTo>
                  <a:pt x="1223933" y="6290813"/>
                  <a:pt x="1220235" y="6291690"/>
                  <a:pt x="1217594" y="6293443"/>
                </a:cubicBezTo>
                <a:cubicBezTo>
                  <a:pt x="1214954" y="6295197"/>
                  <a:pt x="1213110" y="6297484"/>
                  <a:pt x="1212062" y="6300306"/>
                </a:cubicBezTo>
                <a:cubicBezTo>
                  <a:pt x="1211296" y="6302402"/>
                  <a:pt x="1210914" y="6305606"/>
                  <a:pt x="1210914" y="6309919"/>
                </a:cubicBezTo>
                <a:lnTo>
                  <a:pt x="1210914" y="6316751"/>
                </a:lnTo>
                <a:lnTo>
                  <a:pt x="1201300" y="6316751"/>
                </a:lnTo>
                <a:lnTo>
                  <a:pt x="1201300" y="6325216"/>
                </a:lnTo>
                <a:lnTo>
                  <a:pt x="1210914" y="6325216"/>
                </a:lnTo>
                <a:lnTo>
                  <a:pt x="1210914" y="6380961"/>
                </a:lnTo>
                <a:lnTo>
                  <a:pt x="1221736" y="6380961"/>
                </a:lnTo>
                <a:lnTo>
                  <a:pt x="1221736" y="6325216"/>
                </a:lnTo>
                <a:lnTo>
                  <a:pt x="1234252" y="6325216"/>
                </a:lnTo>
                <a:lnTo>
                  <a:pt x="1234252" y="6316751"/>
                </a:lnTo>
                <a:lnTo>
                  <a:pt x="1221736" y="6316751"/>
                </a:lnTo>
                <a:lnTo>
                  <a:pt x="1221736" y="6310826"/>
                </a:lnTo>
                <a:cubicBezTo>
                  <a:pt x="1221736" y="6306956"/>
                  <a:pt x="1222421" y="6304316"/>
                  <a:pt x="1223792" y="6302906"/>
                </a:cubicBezTo>
                <a:cubicBezTo>
                  <a:pt x="1225162" y="6301495"/>
                  <a:pt x="1227500" y="6300789"/>
                  <a:pt x="1230805" y="6300789"/>
                </a:cubicBezTo>
                <a:cubicBezTo>
                  <a:pt x="1232820" y="6300789"/>
                  <a:pt x="1234957" y="6300991"/>
                  <a:pt x="1237214" y="6301394"/>
                </a:cubicBezTo>
                <a:lnTo>
                  <a:pt x="1238847" y="6291902"/>
                </a:lnTo>
                <a:cubicBezTo>
                  <a:pt x="1235138" y="6291176"/>
                  <a:pt x="1231753" y="6290813"/>
                  <a:pt x="1228689" y="6290813"/>
                </a:cubicBezTo>
                <a:close/>
                <a:moveTo>
                  <a:pt x="7175501" y="1"/>
                </a:moveTo>
                <a:lnTo>
                  <a:pt x="12191999" y="1"/>
                </a:lnTo>
                <a:lnTo>
                  <a:pt x="12191999" y="6858001"/>
                </a:lnTo>
                <a:lnTo>
                  <a:pt x="1" y="6858001"/>
                </a:lnTo>
                <a:lnTo>
                  <a:pt x="1" y="5752619"/>
                </a:lnTo>
                <a:lnTo>
                  <a:pt x="7175501" y="5752619"/>
                </a:lnTo>
                <a:close/>
                <a:moveTo>
                  <a:pt x="0" y="0"/>
                </a:moveTo>
                <a:lnTo>
                  <a:pt x="7175501" y="0"/>
                </a:lnTo>
                <a:lnTo>
                  <a:pt x="7175501" y="1"/>
                </a:lnTo>
                <a:lnTo>
                  <a:pt x="1" y="1"/>
                </a:lnTo>
                <a:lnTo>
                  <a:pt x="1" y="5752619"/>
                </a:lnTo>
                <a:lnTo>
                  <a:pt x="0" y="5752619"/>
                </a:lnTo>
                <a:close/>
              </a:path>
            </a:pathLst>
          </a:custGeom>
          <a:solidFill>
            <a:srgbClr val="F0F0F0"/>
          </a:solidFill>
        </p:spPr>
        <p:txBody>
          <a:bodyPr wrap="square">
            <a:no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1200">
                <a:solidFill>
                  <a:srgbClr val="FF0000"/>
                </a:solidFill>
              </a:defRPr>
            </a:lvl1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t>Click on picture icon to insert picture. Reset layout.</a:t>
            </a:r>
          </a:p>
        </p:txBody>
      </p:sp>
      <p:sp>
        <p:nvSpPr>
          <p:cNvPr id="12"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609725"/>
            <a:ext cx="6485763" cy="1600200"/>
          </a:xfrm>
        </p:spPr>
        <p:txBody>
          <a:bodyPr vert="horz" anchor="b" anchorCtr="0"/>
          <a:lstStyle>
            <a:lvl1pPr>
              <a:lnSpc>
                <a:spcPct val="90000"/>
              </a:lnSpc>
              <a:defRPr lang="en-US" sz="4800" b="1" i="0" kern="1200" cap="none" baseline="0" dirty="0">
                <a:solidFill>
                  <a:schemeClr val="tx2"/>
                </a:solidFill>
                <a:latin typeface="Arial" panose="020B0604020202020204" pitchFamily="34" charset="0"/>
                <a:ea typeface="+mj-ea"/>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405820"/>
            <a:ext cx="6447769"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9" name="Text Placeholder 3">
            <a:extLst>
              <a:ext uri="{FF2B5EF4-FFF2-40B4-BE49-F238E27FC236}">
                <a16:creationId xmlns:a16="http://schemas.microsoft.com/office/drawing/2014/main" id="{408D7265-22AD-444D-9DAE-694197297FA6}"/>
              </a:ext>
            </a:extLst>
          </p:cNvPr>
          <p:cNvSpPr>
            <a:spLocks noGrp="1"/>
          </p:cNvSpPr>
          <p:nvPr>
            <p:ph type="body" sz="half" idx="2" hasCustomPrompt="1"/>
          </p:nvPr>
        </p:nvSpPr>
        <p:spPr>
          <a:xfrm>
            <a:off x="485775" y="4429126"/>
            <a:ext cx="64484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2"/>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pic>
        <p:nvPicPr>
          <p:cNvPr id="11" name="Graphic 12">
            <a:extLst>
              <a:ext uri="{FF2B5EF4-FFF2-40B4-BE49-F238E27FC236}">
                <a16:creationId xmlns:a16="http://schemas.microsoft.com/office/drawing/2014/main" id="{CB3E854A-C626-6940-8EB7-1215314D076F}"/>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6803" y="341762"/>
            <a:ext cx="1623974" cy="338328"/>
          </a:xfrm>
          <a:prstGeom prst="rect">
            <a:avLst/>
          </a:prstGeom>
        </p:spPr>
      </p:pic>
    </p:spTree>
    <p:extLst>
      <p:ext uri="{BB962C8B-B14F-4D97-AF65-F5344CB8AC3E}">
        <p14:creationId xmlns:p14="http://schemas.microsoft.com/office/powerpoint/2010/main" val="2512670885"/>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p:cSld name="Title slide A">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5793"/>
            <a:ext cx="9365488" cy="1602882"/>
          </a:xfrm>
        </p:spPr>
        <p:txBody>
          <a:bodyPr vert="horz"/>
          <a:lstStyle>
            <a:lvl1pPr>
              <a:lnSpc>
                <a:spcPct val="90000"/>
              </a:lnSpc>
              <a:defRPr sz="6000" b="1" i="0" cap="none" baseline="0">
                <a:latin typeface="Arial" panose="020B0604020202020204" pitchFamily="34" charset="0"/>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60887"/>
            <a:ext cx="9310624"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pic>
        <p:nvPicPr>
          <p:cNvPr id="12" name="Graphic 11">
            <a:extLst>
              <a:ext uri="{FF2B5EF4-FFF2-40B4-BE49-F238E27FC236}">
                <a16:creationId xmlns:a16="http://schemas.microsoft.com/office/drawing/2014/main" id="{4BDA5969-2C42-8648-93E3-BF7B87CBB66A}"/>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EB52CC60-D837-D647-A567-2B63058DBF94}"/>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sp>
        <p:nvSpPr>
          <p:cNvPr id="14" name="Rectangle 13">
            <a:extLst>
              <a:ext uri="{FF2B5EF4-FFF2-40B4-BE49-F238E27FC236}">
                <a16:creationId xmlns:a16="http://schemas.microsoft.com/office/drawing/2014/main" id="{8A000828-AFAC-3B45-BED9-82169A449934}"/>
              </a:ext>
            </a:extLst>
          </p:cNvPr>
          <p:cNvSpPr/>
          <p:nvPr/>
        </p:nvSpPr>
        <p:spPr>
          <a:xfrm>
            <a:off x="485775" y="6257135"/>
            <a:ext cx="1785745" cy="153888"/>
          </a:xfrm>
          <a:prstGeom prst="rect">
            <a:avLst/>
          </a:prstGeom>
        </p:spPr>
        <p:txBody>
          <a:bodyPr wrap="none" lIns="0" tIns="0" rIns="0" bIns="0">
            <a:spAutoFit/>
          </a:bodyPr>
          <a:lstStyle/>
          <a:p>
            <a:r>
              <a:rPr lang="en-US" sz="1000" dirty="0">
                <a:effectLst/>
                <a:latin typeface="Arial" panose="020B0604020202020204" pitchFamily="34" charset="0"/>
              </a:rPr>
              <a:t>A business of Marsh McLennan</a:t>
            </a:r>
            <a:endParaRPr lang="en-US" sz="1000" dirty="0"/>
          </a:p>
        </p:txBody>
      </p:sp>
    </p:spTree>
    <p:extLst>
      <p:ext uri="{BB962C8B-B14F-4D97-AF65-F5344CB8AC3E}">
        <p14:creationId xmlns:p14="http://schemas.microsoft.com/office/powerpoint/2010/main" val="336044774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p:cSld name="Title slide B: blue">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sz="6000" b="1" i="0" cap="none" baseline="0">
                <a:solidFill>
                  <a:schemeClr val="bg1"/>
                </a:solidFill>
                <a:latin typeface="Arial" panose="020B0604020202020204" pitchFamily="34" charset="0"/>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a:p>
            <a:endParaRPr lang="en-US" dirty="0"/>
          </a:p>
        </p:txBody>
      </p:sp>
      <p:pic>
        <p:nvPicPr>
          <p:cNvPr id="10" name="Graphic 9">
            <a:extLst>
              <a:ext uri="{FF2B5EF4-FFF2-40B4-BE49-F238E27FC236}">
                <a16:creationId xmlns:a16="http://schemas.microsoft.com/office/drawing/2014/main" id="{DEE86180-B41F-7848-B765-50E102B103F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21CF6247-A2E8-674A-8D8D-44D4EAEBC5F3}"/>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sp>
        <p:nvSpPr>
          <p:cNvPr id="12" name="Text Placeholder 3">
            <a:extLst>
              <a:ext uri="{FF2B5EF4-FFF2-40B4-BE49-F238E27FC236}">
                <a16:creationId xmlns:a16="http://schemas.microsoft.com/office/drawing/2014/main" id="{57A2FE8B-9C7D-A345-BB2B-099F6C5E5640}"/>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D5790EA8-AA62-F64A-8A53-EECC7CCE7712}"/>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spTree>
    <p:extLst>
      <p:ext uri="{BB962C8B-B14F-4D97-AF65-F5344CB8AC3E}">
        <p14:creationId xmlns:p14="http://schemas.microsoft.com/office/powerpoint/2010/main" val="15467618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x">
  <p:cSld name="DIVIDERS">
    <p:spTree>
      <p:nvGrpSpPr>
        <p:cNvPr id="1" name=""/>
        <p:cNvGrpSpPr/>
        <p:nvPr/>
      </p:nvGrpSpPr>
      <p:grpSpPr>
        <a:xfrm>
          <a:off x="0" y="0"/>
          <a:ext cx="0" cy="0"/>
          <a:chOff x="0" y="0"/>
          <a:chExt cx="0" cy="0"/>
        </a:xfrm>
      </p:grpSpPr>
      <p:sp>
        <p:nvSpPr>
          <p:cNvPr id="435" name="Shape 435"/>
          <p:cNvSpPr/>
          <p:nvPr/>
        </p:nvSpPr>
        <p:spPr>
          <a:xfrm>
            <a:off x="374976" y="2577629"/>
            <a:ext cx="6026846" cy="1702744"/>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lvl1pPr>
              <a:defRPr sz="12000" b="1">
                <a:solidFill>
                  <a:srgbClr val="FFFFFF"/>
                </a:solidFill>
              </a:defRPr>
            </a:lvl1pPr>
          </a:lstStyle>
          <a:p>
            <a:r>
              <a:t>Dividers</a:t>
            </a:r>
          </a:p>
        </p:txBody>
      </p:sp>
      <p:sp>
        <p:nvSpPr>
          <p:cNvPr id="436" name="Shape 436"/>
          <p:cNvSpPr>
            <a:spLocks noGrp="1"/>
          </p:cNvSpPr>
          <p:nvPr>
            <p:ph type="sldNum" sz="quarter" idx="2"/>
          </p:nvPr>
        </p:nvSpPr>
        <p:spPr>
          <a:prstGeom prst="rect">
            <a:avLst/>
          </a:prstGeom>
        </p:spPr>
        <p:txBody>
          <a:bodyPr/>
          <a:lstStyle/>
          <a:p>
            <a:fld id="{86CB4B4D-7CA3-9044-876B-883B54F8677D}" type="slidenum">
              <a:t>‹Nº›</a:t>
            </a:fld>
            <a:endParaRPr/>
          </a:p>
        </p:txBody>
      </p:sp>
    </p:spTree>
  </p:cSld>
  <p:clrMapOvr>
    <a:masterClrMapping/>
  </p:clrMapOvr>
  <p:transition spd="med"/>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p:cSld name="Title slide B: gradient">
    <p:bg>
      <p:bgPr>
        <a:blipFill dpi="0" rotWithShape="1">
          <a:blip r:embed="rId3">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lang="en-US" sz="6000" b="1" i="0" kern="1200" cap="none" baseline="0" dirty="0">
                <a:solidFill>
                  <a:schemeClr val="bg1"/>
                </a:solidFill>
                <a:latin typeface="+mn-lt"/>
                <a:ea typeface="+mj-ea"/>
                <a:cs typeface="Arial Narrow"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pic>
        <p:nvPicPr>
          <p:cNvPr id="11" name="Graphic 10">
            <a:extLst>
              <a:ext uri="{FF2B5EF4-FFF2-40B4-BE49-F238E27FC236}">
                <a16:creationId xmlns:a16="http://schemas.microsoft.com/office/drawing/2014/main" id="{FDA1005D-C174-6644-AA58-EB820552A198}"/>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36A2096B-1D09-3D42-BA78-B882F2057281}"/>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sp>
        <p:nvSpPr>
          <p:cNvPr id="12" name="Text Placeholder 3">
            <a:extLst>
              <a:ext uri="{FF2B5EF4-FFF2-40B4-BE49-F238E27FC236}">
                <a16:creationId xmlns:a16="http://schemas.microsoft.com/office/drawing/2014/main" id="{376AD702-0276-0141-A183-937FB3505BA2}"/>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F0B5321B-5321-A64E-90E9-3AC4B69C0ADD}"/>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spTree>
    <p:extLst>
      <p:ext uri="{BB962C8B-B14F-4D97-AF65-F5344CB8AC3E}">
        <p14:creationId xmlns:p14="http://schemas.microsoft.com/office/powerpoint/2010/main" val="382707717"/>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p:cSld name="Title slide C">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08843" y="2347270"/>
            <a:ext cx="9433657" cy="1519880"/>
          </a:xfrm>
        </p:spPr>
        <p:txBody>
          <a:bodyPr vert="horz"/>
          <a:lstStyle>
            <a:lvl1pPr>
              <a:lnSpc>
                <a:spcPct val="80000"/>
              </a:lnSpc>
              <a:defRPr sz="12000" b="1" i="0" cap="none" baseline="0">
                <a:solidFill>
                  <a:schemeClr val="tx2"/>
                </a:solidFill>
                <a:latin typeface="Arial" panose="020B0604020202020204" pitchFamily="34" charset="0"/>
                <a:cs typeface="Arial" panose="020B0604020202020204" pitchFamily="34" charset="0"/>
              </a:defRPr>
            </a:lvl1pPr>
          </a:lstStyle>
          <a:p>
            <a:r>
              <a:rPr lang="en-US" dirty="0"/>
              <a:t>Heading 1</a:t>
            </a:r>
          </a:p>
        </p:txBody>
      </p:sp>
      <p:sp>
        <p:nvSpPr>
          <p:cNvPr id="3" name="Subtitle 2"/>
          <p:cNvSpPr>
            <a:spLocks noGrp="1"/>
          </p:cNvSpPr>
          <p:nvPr>
            <p:ph type="subTitle" idx="1" hasCustomPrompt="1"/>
          </p:nvPr>
        </p:nvSpPr>
        <p:spPr>
          <a:xfrm>
            <a:off x="465995" y="1784598"/>
            <a:ext cx="9313005" cy="381732"/>
          </a:xfrm>
        </p:spPr>
        <p:txBody>
          <a:bodyPr anchor="b"/>
          <a:lstStyle>
            <a:lvl1pPr marL="0" indent="0" algn="l">
              <a:buNone/>
              <a:defRPr sz="2400" b="1">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ing 2</a:t>
            </a:r>
          </a:p>
        </p:txBody>
      </p:sp>
      <p:sp>
        <p:nvSpPr>
          <p:cNvPr id="8" name="Picture Placeholder 5">
            <a:extLst>
              <a:ext uri="{FF2B5EF4-FFF2-40B4-BE49-F238E27FC236}">
                <a16:creationId xmlns:a16="http://schemas.microsoft.com/office/drawing/2014/main" id="{F83B2B48-1865-EF4B-9973-D5EE72C1B4A1}"/>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pic>
        <p:nvPicPr>
          <p:cNvPr id="13" name="Graphic 12">
            <a:extLst>
              <a:ext uri="{FF2B5EF4-FFF2-40B4-BE49-F238E27FC236}">
                <a16:creationId xmlns:a16="http://schemas.microsoft.com/office/drawing/2014/main" id="{CB3E854A-C626-6940-8EB7-1215314D076F}"/>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6803" y="341762"/>
            <a:ext cx="1623974" cy="338328"/>
          </a:xfrm>
          <a:prstGeom prst="rect">
            <a:avLst/>
          </a:prstGeom>
        </p:spPr>
      </p:pic>
      <p:sp>
        <p:nvSpPr>
          <p:cNvPr id="11" name="Text Placeholder 3">
            <a:extLst>
              <a:ext uri="{FF2B5EF4-FFF2-40B4-BE49-F238E27FC236}">
                <a16:creationId xmlns:a16="http://schemas.microsoft.com/office/drawing/2014/main" id="{7DCD9D50-BDCD-8D45-9767-5C243626118C}"/>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2" name="Rectangle 11">
            <a:extLst>
              <a:ext uri="{FF2B5EF4-FFF2-40B4-BE49-F238E27FC236}">
                <a16:creationId xmlns:a16="http://schemas.microsoft.com/office/drawing/2014/main" id="{2F37011C-C36F-8D4D-96C4-15011C56AD67}"/>
              </a:ext>
            </a:extLst>
          </p:cNvPr>
          <p:cNvSpPr/>
          <p:nvPr/>
        </p:nvSpPr>
        <p:spPr>
          <a:xfrm>
            <a:off x="485775" y="6257135"/>
            <a:ext cx="1785745" cy="153888"/>
          </a:xfrm>
          <a:prstGeom prst="rect">
            <a:avLst/>
          </a:prstGeom>
        </p:spPr>
        <p:txBody>
          <a:bodyPr wrap="none" lIns="0" tIns="0" rIns="0" bIns="0">
            <a:spAutoFit/>
          </a:bodyPr>
          <a:lstStyle/>
          <a:p>
            <a:r>
              <a:rPr lang="en-US" sz="1000" dirty="0">
                <a:effectLst/>
                <a:latin typeface="Arial" panose="020B0604020202020204" pitchFamily="34" charset="0"/>
              </a:rPr>
              <a:t>A business of Marsh McLennan</a:t>
            </a:r>
            <a:endParaRPr lang="en-US" sz="1000" dirty="0"/>
          </a:p>
        </p:txBody>
      </p:sp>
    </p:spTree>
    <p:extLst>
      <p:ext uri="{BB962C8B-B14F-4D97-AF65-F5344CB8AC3E}">
        <p14:creationId xmlns:p14="http://schemas.microsoft.com/office/powerpoint/2010/main" val="557766828"/>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p:cSld name="Title slide C: blue">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09829" y="2350190"/>
            <a:ext cx="9429496" cy="1516960"/>
          </a:xfrm>
        </p:spPr>
        <p:txBody>
          <a:bodyPr vert="horz" lIns="0" tIns="0" rIns="0" bIns="0" rtlCol="0" anchor="t">
            <a:noAutofit/>
          </a:bodyPr>
          <a:lstStyle>
            <a:lvl1pPr>
              <a:defRPr lang="en-US" sz="12000" i="0" cap="none" baseline="0" dirty="0">
                <a:solidFill>
                  <a:schemeClr val="bg1"/>
                </a:solidFill>
                <a:latin typeface="Arial" panose="020B0604020202020204" pitchFamily="34" charset="0"/>
                <a:cs typeface="Arial" panose="020B0604020202020204" pitchFamily="34" charset="0"/>
              </a:defRPr>
            </a:lvl1pPr>
          </a:lstStyle>
          <a:p>
            <a:pPr lvl="0"/>
            <a:r>
              <a:rPr lang="en-US" dirty="0"/>
              <a:t>Heading 1</a:t>
            </a:r>
          </a:p>
        </p:txBody>
      </p:sp>
      <p:sp>
        <p:nvSpPr>
          <p:cNvPr id="3" name="Subtitle 2"/>
          <p:cNvSpPr>
            <a:spLocks noGrp="1"/>
          </p:cNvSpPr>
          <p:nvPr>
            <p:ph type="subTitle" idx="1" hasCustomPrompt="1"/>
          </p:nvPr>
        </p:nvSpPr>
        <p:spPr>
          <a:xfrm>
            <a:off x="465201" y="1783080"/>
            <a:ext cx="9310624" cy="384048"/>
          </a:xfrm>
        </p:spPr>
        <p:txBody>
          <a:bodyPr anchor="b"/>
          <a:lstStyle>
            <a:lvl1pPr marL="0" indent="0" algn="l">
              <a:buNone/>
              <a:defRPr sz="24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ing 2</a:t>
            </a:r>
          </a:p>
        </p:txBody>
      </p:sp>
      <p:sp>
        <p:nvSpPr>
          <p:cNvPr id="8" name="Picture Placeholder 5">
            <a:extLst>
              <a:ext uri="{FF2B5EF4-FFF2-40B4-BE49-F238E27FC236}">
                <a16:creationId xmlns:a16="http://schemas.microsoft.com/office/drawing/2014/main" id="{2443E10E-D359-3B49-9FDB-877AADFF144B}"/>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pic>
        <p:nvPicPr>
          <p:cNvPr id="13" name="Graphic 12">
            <a:extLst>
              <a:ext uri="{FF2B5EF4-FFF2-40B4-BE49-F238E27FC236}">
                <a16:creationId xmlns:a16="http://schemas.microsoft.com/office/drawing/2014/main" id="{D426043B-0359-FC46-BCF1-DAFF274E758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6803" y="341762"/>
            <a:ext cx="1623974" cy="338328"/>
          </a:xfrm>
          <a:prstGeom prst="rect">
            <a:avLst/>
          </a:prstGeom>
        </p:spPr>
      </p:pic>
      <p:sp>
        <p:nvSpPr>
          <p:cNvPr id="11" name="Text Placeholder 3">
            <a:extLst>
              <a:ext uri="{FF2B5EF4-FFF2-40B4-BE49-F238E27FC236}">
                <a16:creationId xmlns:a16="http://schemas.microsoft.com/office/drawing/2014/main" id="{07BC8A92-AD16-9240-917F-017431DBB319}"/>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2" name="Rectangle 11">
            <a:extLst>
              <a:ext uri="{FF2B5EF4-FFF2-40B4-BE49-F238E27FC236}">
                <a16:creationId xmlns:a16="http://schemas.microsoft.com/office/drawing/2014/main" id="{F751746A-3C5A-ED4C-8A74-566F52CC4087}"/>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spTree>
    <p:extLst>
      <p:ext uri="{BB962C8B-B14F-4D97-AF65-F5344CB8AC3E}">
        <p14:creationId xmlns:p14="http://schemas.microsoft.com/office/powerpoint/2010/main" val="3386019756"/>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Title slide C: gradient">
    <p:bg>
      <p:bgPr>
        <a:blipFill dpi="0" rotWithShape="1">
          <a:blip r:embed="rId3">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09829" y="2350190"/>
            <a:ext cx="9429496" cy="1516960"/>
          </a:xfrm>
        </p:spPr>
        <p:txBody>
          <a:bodyPr vert="horz" lIns="0" tIns="0" rIns="0" bIns="0" rtlCol="0" anchor="t">
            <a:noAutofit/>
          </a:bodyPr>
          <a:lstStyle>
            <a:lvl1pPr>
              <a:defRPr lang="en-US" sz="12000" i="0" cap="none" baseline="0" dirty="0">
                <a:solidFill>
                  <a:schemeClr val="bg1"/>
                </a:solidFill>
                <a:latin typeface="Arial" panose="020B0604020202020204" pitchFamily="34" charset="0"/>
                <a:cs typeface="Arial" panose="020B0604020202020204" pitchFamily="34" charset="0"/>
              </a:defRPr>
            </a:lvl1pPr>
          </a:lstStyle>
          <a:p>
            <a:pPr lvl="0"/>
            <a:r>
              <a:rPr lang="en-US" dirty="0"/>
              <a:t>Heading 1</a:t>
            </a:r>
          </a:p>
        </p:txBody>
      </p:sp>
      <p:sp>
        <p:nvSpPr>
          <p:cNvPr id="3" name="Subtitle 2"/>
          <p:cNvSpPr>
            <a:spLocks noGrp="1"/>
          </p:cNvSpPr>
          <p:nvPr>
            <p:ph type="subTitle" idx="1" hasCustomPrompt="1"/>
          </p:nvPr>
        </p:nvSpPr>
        <p:spPr>
          <a:xfrm>
            <a:off x="465201" y="1783080"/>
            <a:ext cx="9310624" cy="384048"/>
          </a:xfrm>
        </p:spPr>
        <p:txBody>
          <a:bodyPr anchor="b"/>
          <a:lstStyle>
            <a:lvl1pPr marL="0" indent="0" algn="l">
              <a:buNone/>
              <a:defRPr sz="24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ing 2</a:t>
            </a:r>
          </a:p>
        </p:txBody>
      </p:sp>
      <p:sp>
        <p:nvSpPr>
          <p:cNvPr id="8" name="Picture Placeholder 5">
            <a:extLst>
              <a:ext uri="{FF2B5EF4-FFF2-40B4-BE49-F238E27FC236}">
                <a16:creationId xmlns:a16="http://schemas.microsoft.com/office/drawing/2014/main" id="{F55BF0EB-E95B-664F-A15D-0229B8770981}"/>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pic>
        <p:nvPicPr>
          <p:cNvPr id="13" name="Graphic 12">
            <a:extLst>
              <a:ext uri="{FF2B5EF4-FFF2-40B4-BE49-F238E27FC236}">
                <a16:creationId xmlns:a16="http://schemas.microsoft.com/office/drawing/2014/main" id="{1BA474F9-B22C-C040-A8F5-54032CC0E974}"/>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86803" y="341762"/>
            <a:ext cx="1623974" cy="338328"/>
          </a:xfrm>
          <a:prstGeom prst="rect">
            <a:avLst/>
          </a:prstGeom>
        </p:spPr>
      </p:pic>
      <p:sp>
        <p:nvSpPr>
          <p:cNvPr id="14" name="Text Placeholder 3">
            <a:extLst>
              <a:ext uri="{FF2B5EF4-FFF2-40B4-BE49-F238E27FC236}">
                <a16:creationId xmlns:a16="http://schemas.microsoft.com/office/drawing/2014/main" id="{BE2A3662-8B11-554F-91F3-6F854BB72FA3}"/>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5" name="Rectangle 14">
            <a:extLst>
              <a:ext uri="{FF2B5EF4-FFF2-40B4-BE49-F238E27FC236}">
                <a16:creationId xmlns:a16="http://schemas.microsoft.com/office/drawing/2014/main" id="{147B2DAB-CB78-D146-B818-52855D95EA0D}"/>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spTree>
    <p:extLst>
      <p:ext uri="{BB962C8B-B14F-4D97-AF65-F5344CB8AC3E}">
        <p14:creationId xmlns:p14="http://schemas.microsoft.com/office/powerpoint/2010/main" val="4064738608"/>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p:cSld name="COVERS JOINT BUSINES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52E706-1FE4-5448-BF88-BDD1A5847DF0}"/>
              </a:ext>
            </a:extLst>
          </p:cNvPr>
          <p:cNvSpPr txBox="1"/>
          <p:nvPr/>
        </p:nvSpPr>
        <p:spPr>
          <a:xfrm>
            <a:off x="374977" y="1582341"/>
            <a:ext cx="10345781" cy="369331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Covers for a</a:t>
            </a:r>
          </a:p>
          <a:p>
            <a:pPr algn="l"/>
            <a:r>
              <a:rPr lang="en-US" sz="12000" b="1" i="0" dirty="0">
                <a:solidFill>
                  <a:schemeClr val="bg1"/>
                </a:solidFill>
                <a:latin typeface="Arial" panose="020B0604020202020204" pitchFamily="34" charset="0"/>
                <a:cs typeface="Arial" panose="020B0604020202020204" pitchFamily="34" charset="0"/>
              </a:rPr>
              <a:t>joint business</a:t>
            </a:r>
          </a:p>
        </p:txBody>
      </p:sp>
    </p:spTree>
    <p:extLst>
      <p:ext uri="{BB962C8B-B14F-4D97-AF65-F5344CB8AC3E}">
        <p14:creationId xmlns:p14="http://schemas.microsoft.com/office/powerpoint/2010/main" val="535399407"/>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p:cSld name="Title slide A: stripe/log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5793"/>
            <a:ext cx="9365488" cy="1602882"/>
          </a:xfrm>
        </p:spPr>
        <p:txBody>
          <a:bodyPr vert="horz"/>
          <a:lstStyle>
            <a:lvl1pPr>
              <a:lnSpc>
                <a:spcPct val="90000"/>
              </a:lnSpc>
              <a:defRPr sz="6000" b="1" i="0" cap="none" baseline="0">
                <a:latin typeface="Arial" panose="020B0604020202020204" pitchFamily="34" charset="0"/>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60887"/>
            <a:ext cx="9310624"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8" name="Picture Placeholder 5">
            <a:extLst>
              <a:ext uri="{FF2B5EF4-FFF2-40B4-BE49-F238E27FC236}">
                <a16:creationId xmlns:a16="http://schemas.microsoft.com/office/drawing/2014/main" id="{6AA4DE2D-F68B-BB43-AF2C-40B2A7B333AD}"/>
              </a:ext>
            </a:extLst>
          </p:cNvPr>
          <p:cNvSpPr>
            <a:spLocks noGrp="1" noChangeAspect="1"/>
          </p:cNvSpPr>
          <p:nvPr>
            <p:ph type="pic" sz="quarter" idx="12" hasCustomPrompt="1"/>
          </p:nvPr>
        </p:nvSpPr>
        <p:spPr>
          <a:xfrm>
            <a:off x="2202227" y="341143"/>
            <a:ext cx="2863215" cy="342900"/>
          </a:xfrm>
          <a:noFill/>
        </p:spPr>
        <p:txBody>
          <a:bodyPr anchor="t" anchorCtr="0"/>
          <a:lstStyle>
            <a:lvl1pPr algn="l">
              <a:spcBef>
                <a:spcPts val="0"/>
              </a:spcBef>
              <a:spcAft>
                <a:spcPts val="0"/>
              </a:spcAft>
              <a:defRPr sz="1000" baseline="0">
                <a:solidFill>
                  <a:srgbClr val="FF0000"/>
                </a:solidFill>
              </a:defRPr>
            </a:lvl1pPr>
          </a:lstStyle>
          <a:p>
            <a:r>
              <a:rPr lang="en-US" dirty="0"/>
              <a:t>Placeholder for collaborator (MMC business) logo. </a:t>
            </a:r>
            <a:br>
              <a:rPr lang="en-US" dirty="0"/>
            </a:br>
            <a:r>
              <a:rPr lang="en-US" dirty="0"/>
              <a:t>Delete box if not used.</a:t>
            </a:r>
          </a:p>
        </p:txBody>
      </p:sp>
      <p:pic>
        <p:nvPicPr>
          <p:cNvPr id="11" name="Graphic 10">
            <a:extLst>
              <a:ext uri="{FF2B5EF4-FFF2-40B4-BE49-F238E27FC236}">
                <a16:creationId xmlns:a16="http://schemas.microsoft.com/office/drawing/2014/main" id="{4D8D969B-1ECE-2C44-8889-FF09503BD87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6803" y="341762"/>
            <a:ext cx="1623974" cy="338328"/>
          </a:xfrm>
          <a:prstGeom prst="rect">
            <a:avLst/>
          </a:prstGeom>
        </p:spPr>
      </p:pic>
      <p:sp>
        <p:nvSpPr>
          <p:cNvPr id="12" name="Picture Placeholder 5">
            <a:extLst>
              <a:ext uri="{FF2B5EF4-FFF2-40B4-BE49-F238E27FC236}">
                <a16:creationId xmlns:a16="http://schemas.microsoft.com/office/drawing/2014/main" id="{080A16FD-0635-534B-8EF0-AC82A24FE50A}"/>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sp>
        <p:nvSpPr>
          <p:cNvPr id="13" name="Text Placeholder 3">
            <a:extLst>
              <a:ext uri="{FF2B5EF4-FFF2-40B4-BE49-F238E27FC236}">
                <a16:creationId xmlns:a16="http://schemas.microsoft.com/office/drawing/2014/main" id="{7731C4F9-CCD2-1349-A6C5-1F63598D3F2C}"/>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779E8AEE-4750-3448-90BB-1CA12B7B33ED}"/>
              </a:ext>
            </a:extLst>
          </p:cNvPr>
          <p:cNvSpPr/>
          <p:nvPr/>
        </p:nvSpPr>
        <p:spPr>
          <a:xfrm>
            <a:off x="485775" y="6257135"/>
            <a:ext cx="1814599" cy="153888"/>
          </a:xfrm>
          <a:prstGeom prst="rect">
            <a:avLst/>
          </a:prstGeom>
        </p:spPr>
        <p:txBody>
          <a:bodyPr wrap="none" lIns="0" tIns="0" rIns="0" bIns="0">
            <a:spAutoFit/>
          </a:bodyPr>
          <a:lstStyle/>
          <a:p>
            <a:r>
              <a:rPr lang="en-US" sz="1000" dirty="0">
                <a:solidFill>
                  <a:schemeClr val="tx1"/>
                </a:solidFill>
                <a:effectLst/>
                <a:latin typeface="Arial" panose="020B0604020202020204" pitchFamily="34" charset="0"/>
              </a:rPr>
              <a:t>Businesses of Marsh McLennan</a:t>
            </a:r>
            <a:endParaRPr lang="en-US" sz="1000" dirty="0">
              <a:solidFill>
                <a:schemeClr val="tx1"/>
              </a:solidFill>
            </a:endParaRPr>
          </a:p>
        </p:txBody>
      </p:sp>
    </p:spTree>
    <p:extLst>
      <p:ext uri="{BB962C8B-B14F-4D97-AF65-F5344CB8AC3E}">
        <p14:creationId xmlns:p14="http://schemas.microsoft.com/office/powerpoint/2010/main" val="4088644020"/>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p:cSld name="Title slide A: blue - stripe/logo">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sz="6000" b="1" i="0" cap="none" baseline="0">
                <a:solidFill>
                  <a:schemeClr val="bg1"/>
                </a:solidFill>
                <a:latin typeface="Arial" panose="020B0604020202020204" pitchFamily="34" charset="0"/>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a:p>
            <a:endParaRPr lang="en-US" dirty="0"/>
          </a:p>
        </p:txBody>
      </p:sp>
      <p:sp>
        <p:nvSpPr>
          <p:cNvPr id="10" name="Picture Placeholder 5">
            <a:extLst>
              <a:ext uri="{FF2B5EF4-FFF2-40B4-BE49-F238E27FC236}">
                <a16:creationId xmlns:a16="http://schemas.microsoft.com/office/drawing/2014/main" id="{CD55AD5D-7D50-4F42-A265-20F46833B070}"/>
              </a:ext>
            </a:extLst>
          </p:cNvPr>
          <p:cNvSpPr>
            <a:spLocks noGrp="1" noChangeAspect="1"/>
          </p:cNvSpPr>
          <p:nvPr>
            <p:ph type="pic" sz="quarter" idx="12" hasCustomPrompt="1"/>
          </p:nvPr>
        </p:nvSpPr>
        <p:spPr>
          <a:xfrm>
            <a:off x="2202227" y="341143"/>
            <a:ext cx="2863215" cy="342900"/>
          </a:xfrm>
          <a:noFill/>
        </p:spPr>
        <p:txBody>
          <a:bodyPr anchor="t" anchorCtr="0"/>
          <a:lstStyle>
            <a:lvl1pPr algn="l">
              <a:spcBef>
                <a:spcPts val="0"/>
              </a:spcBef>
              <a:spcAft>
                <a:spcPts val="0"/>
              </a:spcAft>
              <a:defRPr sz="1000">
                <a:solidFill>
                  <a:srgbClr val="FF0000"/>
                </a:solidFill>
              </a:defRPr>
            </a:lvl1pPr>
          </a:lstStyle>
          <a:p>
            <a:r>
              <a:rPr lang="en-US" dirty="0"/>
              <a:t>Placeholder for collaborator (MMC business) logo. </a:t>
            </a:r>
            <a:br>
              <a:rPr lang="en-US" dirty="0"/>
            </a:br>
            <a:r>
              <a:rPr lang="en-US" dirty="0"/>
              <a:t>Delete box if not used.</a:t>
            </a:r>
          </a:p>
        </p:txBody>
      </p:sp>
      <p:pic>
        <p:nvPicPr>
          <p:cNvPr id="11" name="Graphic 10">
            <a:extLst>
              <a:ext uri="{FF2B5EF4-FFF2-40B4-BE49-F238E27FC236}">
                <a16:creationId xmlns:a16="http://schemas.microsoft.com/office/drawing/2014/main" id="{8592E6A1-8C6D-B446-81B7-94340E3547D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047A2875-C8A1-A446-8F58-D4B2DE1E532B}"/>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sp>
        <p:nvSpPr>
          <p:cNvPr id="14" name="Text Placeholder 3">
            <a:extLst>
              <a:ext uri="{FF2B5EF4-FFF2-40B4-BE49-F238E27FC236}">
                <a16:creationId xmlns:a16="http://schemas.microsoft.com/office/drawing/2014/main" id="{2E6207F1-15CB-6546-A549-DF244E46D6F3}"/>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5" name="Rectangle 14">
            <a:extLst>
              <a:ext uri="{FF2B5EF4-FFF2-40B4-BE49-F238E27FC236}">
                <a16:creationId xmlns:a16="http://schemas.microsoft.com/office/drawing/2014/main" id="{35F05B11-D474-A04D-8E61-5AEFD7224969}"/>
              </a:ext>
            </a:extLst>
          </p:cNvPr>
          <p:cNvSpPr/>
          <p:nvPr/>
        </p:nvSpPr>
        <p:spPr>
          <a:xfrm>
            <a:off x="485775" y="6257135"/>
            <a:ext cx="1814599"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Businesses of Marsh McLennan</a:t>
            </a:r>
            <a:endParaRPr lang="en-US" sz="1000" dirty="0">
              <a:solidFill>
                <a:schemeClr val="bg1"/>
              </a:solidFill>
            </a:endParaRPr>
          </a:p>
        </p:txBody>
      </p:sp>
    </p:spTree>
    <p:extLst>
      <p:ext uri="{BB962C8B-B14F-4D97-AF65-F5344CB8AC3E}">
        <p14:creationId xmlns:p14="http://schemas.microsoft.com/office/powerpoint/2010/main" val="1777157"/>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p:cSld name="AGENDA + CONTENT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5064E14D-7EB8-984D-B09A-CDFF8DFEAAB9}"/>
              </a:ext>
            </a:extLst>
          </p:cNvPr>
          <p:cNvSpPr txBox="1"/>
          <p:nvPr/>
        </p:nvSpPr>
        <p:spPr>
          <a:xfrm>
            <a:off x="374977" y="1582341"/>
            <a:ext cx="7824258" cy="369331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Agendas +</a:t>
            </a:r>
          </a:p>
          <a:p>
            <a:pPr algn="l"/>
            <a:r>
              <a:rPr lang="en-US" sz="12000" b="1" i="0" dirty="0">
                <a:solidFill>
                  <a:schemeClr val="bg1"/>
                </a:solidFill>
                <a:latin typeface="Arial" panose="020B0604020202020204" pitchFamily="34" charset="0"/>
                <a:cs typeface="Arial" panose="020B0604020202020204" pitchFamily="34" charset="0"/>
              </a:rPr>
              <a:t>Contents</a:t>
            </a:r>
          </a:p>
        </p:txBody>
      </p:sp>
    </p:spTree>
    <p:extLst>
      <p:ext uri="{BB962C8B-B14F-4D97-AF65-F5344CB8AC3E}">
        <p14:creationId xmlns:p14="http://schemas.microsoft.com/office/powerpoint/2010/main" val="2604794533"/>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1950"/>
            <a:ext cx="5495925" cy="5759450"/>
          </a:xfrm>
        </p:spPr>
        <p:txBody>
          <a:bodyPr/>
          <a:lstStyle>
            <a:lvl1pPr marL="233363" indent="-233363">
              <a:lnSpc>
                <a:spcPct val="90000"/>
              </a:lnSpc>
              <a:spcBef>
                <a:spcPts val="600"/>
              </a:spcBef>
              <a:buFont typeface="+mj-lt"/>
              <a:buAutoNum type="arabicPeriod"/>
              <a:tabLst/>
              <a:defRPr/>
            </a:lvl1pPr>
            <a:lvl2pPr marL="461963" indent="-230188">
              <a:buFont typeface="Arial" panose="020B0604020202020204" pitchFamily="34" charset="0"/>
              <a:buChar char="•"/>
              <a:defRPr baseline="0"/>
            </a:lvl2pPr>
            <a:lvl3pPr marL="685800" indent="-228600">
              <a:defRPr baseline="0"/>
            </a:lvl3pPr>
            <a:lvl4pPr marL="914400" indent="-228600">
              <a:defRPr baseline="0"/>
            </a:lvl4pPr>
            <a:lvl5pPr marL="1143000" indent="-228600">
              <a:defRPr baseline="0"/>
            </a:lvl5pPr>
            <a:lvl6pPr marL="1371600" indent="-227013">
              <a:defRPr baseline="0"/>
            </a:lvl6pPr>
            <a:lvl7pPr marL="1600200" indent="-228600">
              <a:defRPr baseline="0"/>
            </a:lvl7pPr>
            <a:lvl8pPr marL="1828800" indent="-227013">
              <a:defRPr/>
            </a:lvl8pPr>
            <a:lvl9pPr marL="1828800" indent="0">
              <a:buFont typeface="Arial" panose="020B0604020202020204" pitchFamily="34" charset="0"/>
              <a:buNone/>
              <a:defRPr baseline="0"/>
            </a:lvl9pPr>
          </a:lstStyle>
          <a:p>
            <a:pPr lvl="0"/>
            <a:r>
              <a:rPr lang="en-US" dirty="0"/>
              <a:t>Click to add topic</a:t>
            </a:r>
          </a:p>
        </p:txBody>
      </p:sp>
      <p:sp>
        <p:nvSpPr>
          <p:cNvPr id="7"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85775" y="4901386"/>
            <a:ext cx="11223626" cy="1846659"/>
          </a:xfrm>
        </p:spPr>
        <p:txBody>
          <a:bodyPr vert="horz" wrap="square">
            <a:spAutoFit/>
          </a:bodyPr>
          <a:lstStyle>
            <a:lvl1pPr algn="r">
              <a:lnSpc>
                <a:spcPct val="100000"/>
              </a:lnSpc>
              <a:defRPr sz="12000"/>
            </a:lvl1pPr>
          </a:lstStyle>
          <a:p>
            <a:r>
              <a:rPr lang="en-US" dirty="0"/>
              <a:t>Add title</a:t>
            </a:r>
          </a:p>
        </p:txBody>
      </p:sp>
    </p:spTree>
    <p:extLst>
      <p:ext uri="{BB962C8B-B14F-4D97-AF65-F5344CB8AC3E}">
        <p14:creationId xmlns:p14="http://schemas.microsoft.com/office/powerpoint/2010/main" val="3579137693"/>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userDrawn="1">
  <p:cSld name="Agenda: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1950"/>
            <a:ext cx="5495925" cy="5759450"/>
          </a:xfrm>
        </p:spPr>
        <p:txBody>
          <a:bodyPr/>
          <a:lstStyle>
            <a:lvl1pPr marL="233363" indent="-233363">
              <a:lnSpc>
                <a:spcPct val="90000"/>
              </a:lnSpc>
              <a:spcBef>
                <a:spcPts val="600"/>
              </a:spcBef>
              <a:buFont typeface="+mj-lt"/>
              <a:buAutoNum type="arabicPeriod"/>
              <a:tabLst/>
              <a:defRPr>
                <a:solidFill>
                  <a:schemeClr val="bg1"/>
                </a:solidFill>
              </a:defRPr>
            </a:lvl1pPr>
            <a:lvl2pPr marL="512763" indent="-285750">
              <a:buFont typeface="Arial" panose="020B0604020202020204" pitchFamily="34" charset="0"/>
              <a:buChar char="•"/>
              <a:defRPr>
                <a:solidFill>
                  <a:schemeClr val="bg1"/>
                </a:solidFill>
              </a:defRPr>
            </a:lvl2pPr>
            <a:lvl3pPr marL="685800" indent="-228600">
              <a:defRPr>
                <a:solidFill>
                  <a:schemeClr val="bg1"/>
                </a:solidFill>
              </a:defRPr>
            </a:lvl3pPr>
            <a:lvl4pPr marL="914400" indent="-228600">
              <a:defRPr>
                <a:solidFill>
                  <a:schemeClr val="bg1"/>
                </a:solidFill>
              </a:defRPr>
            </a:lvl4pPr>
            <a:lvl5pPr marL="1143000" indent="-228600">
              <a:defRPr baseline="0">
                <a:solidFill>
                  <a:schemeClr val="bg1"/>
                </a:solidFill>
              </a:defRPr>
            </a:lvl5pPr>
            <a:lvl6pPr marL="1371600" indent="-227013">
              <a:defRPr baseline="0">
                <a:solidFill>
                  <a:schemeClr val="bg1"/>
                </a:solidFill>
              </a:defRPr>
            </a:lvl6pPr>
            <a:lvl7pPr marL="1600200" indent="-228600">
              <a:defRPr baseline="0">
                <a:solidFill>
                  <a:schemeClr val="bg1"/>
                </a:solidFill>
              </a:defRPr>
            </a:lvl7pPr>
            <a:lvl8pPr marL="1828800" indent="-227013">
              <a:defRPr baseline="0">
                <a:solidFill>
                  <a:schemeClr val="bg1"/>
                </a:solidFill>
              </a:defRPr>
            </a:lvl8pPr>
            <a:lvl9pPr marL="2057400" indent="-219075">
              <a:defRPr baseline="0">
                <a:solidFill>
                  <a:schemeClr val="bg1"/>
                </a:solidFill>
              </a:defRPr>
            </a:lvl9pPr>
          </a:lstStyle>
          <a:p>
            <a:pPr lvl="0"/>
            <a:r>
              <a:rPr lang="en-US" dirty="0"/>
              <a:t>Click to add topic</a:t>
            </a:r>
          </a:p>
        </p:txBody>
      </p:sp>
      <p:sp>
        <p:nvSpPr>
          <p:cNvPr id="7"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85775" y="4901386"/>
            <a:ext cx="11223626" cy="1846659"/>
          </a:xfrm>
        </p:spPr>
        <p:txBody>
          <a:bodyPr vert="horz" wrap="square">
            <a:spAutoFit/>
          </a:bodyPr>
          <a:lstStyle>
            <a:lvl1pPr algn="r">
              <a:lnSpc>
                <a:spcPct val="100000"/>
              </a:lnSpc>
              <a:defRPr sz="12000">
                <a:solidFill>
                  <a:schemeClr val="bg1"/>
                </a:solidFill>
              </a:defRPr>
            </a:lvl1pPr>
          </a:lstStyle>
          <a:p>
            <a:r>
              <a:rPr lang="en-US" dirty="0"/>
              <a:t>Add title</a:t>
            </a:r>
          </a:p>
        </p:txBody>
      </p:sp>
    </p:spTree>
    <p:extLst>
      <p:ext uri="{BB962C8B-B14F-4D97-AF65-F5344CB8AC3E}">
        <p14:creationId xmlns:p14="http://schemas.microsoft.com/office/powerpoint/2010/main" val="34674100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x">
  <p:cSld name="Divider">
    <p:bg>
      <p:bgPr>
        <a:solidFill>
          <a:srgbClr val="FFFFFF"/>
        </a:solidFill>
        <a:effectLst/>
      </p:bgPr>
    </p:bg>
    <p:spTree>
      <p:nvGrpSpPr>
        <p:cNvPr id="1" name=""/>
        <p:cNvGrpSpPr/>
        <p:nvPr/>
      </p:nvGrpSpPr>
      <p:grpSpPr>
        <a:xfrm>
          <a:off x="0" y="0"/>
          <a:ext cx="0" cy="0"/>
          <a:chOff x="0" y="0"/>
          <a:chExt cx="0" cy="0"/>
        </a:xfrm>
      </p:grpSpPr>
      <p:sp>
        <p:nvSpPr>
          <p:cNvPr id="443" name="Shape 443"/>
          <p:cNvSpPr>
            <a:spLocks noGrp="1"/>
          </p:cNvSpPr>
          <p:nvPr>
            <p:ph type="title"/>
          </p:nvPr>
        </p:nvSpPr>
        <p:spPr>
          <a:xfrm>
            <a:off x="482600" y="265694"/>
            <a:ext cx="8356600" cy="5855705"/>
          </a:xfrm>
          <a:prstGeom prst="rect">
            <a:avLst/>
          </a:prstGeom>
        </p:spPr>
        <p:txBody>
          <a:bodyPr>
            <a:normAutofit/>
          </a:bodyPr>
          <a:lstStyle>
            <a:lvl1pPr>
              <a:lnSpc>
                <a:spcPct val="90000"/>
              </a:lnSpc>
              <a:defRPr sz="5400"/>
            </a:lvl1pPr>
          </a:lstStyle>
          <a:p>
            <a:r>
              <a:t>Texto del título</a:t>
            </a:r>
          </a:p>
        </p:txBody>
      </p:sp>
      <p:sp>
        <p:nvSpPr>
          <p:cNvPr id="444" name="Shape 444"/>
          <p:cNvSpPr>
            <a:spLocks noGrp="1"/>
          </p:cNvSpPr>
          <p:nvPr>
            <p:ph type="sldNum" sz="quarter" idx="2"/>
          </p:nvPr>
        </p:nvSpPr>
        <p:spPr>
          <a:prstGeom prst="rect">
            <a:avLst/>
          </a:prstGeom>
        </p:spPr>
        <p:txBody>
          <a:bodyPr/>
          <a:lstStyle/>
          <a:p>
            <a:fld id="{86CB4B4D-7CA3-9044-876B-883B54F8677D}" type="slidenum">
              <a:t>‹Nº›</a:t>
            </a:fld>
            <a:endParaRPr/>
          </a:p>
        </p:txBody>
      </p:sp>
    </p:spTree>
  </p:cSld>
  <p:clrMapOvr>
    <a:masterClrMapping/>
  </p:clrMapOvr>
  <p:transition spd="med"/>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p:cSld name="DIVID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5064E14D-7EB8-984D-B09A-CDFF8DFEAAB9}"/>
              </a:ext>
            </a:extLst>
          </p:cNvPr>
          <p:cNvSpPr txBox="1"/>
          <p:nvPr/>
        </p:nvSpPr>
        <p:spPr>
          <a:xfrm>
            <a:off x="374977" y="2505671"/>
            <a:ext cx="6073779" cy="184665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Dividers</a:t>
            </a:r>
          </a:p>
        </p:txBody>
      </p:sp>
    </p:spTree>
    <p:extLst>
      <p:ext uri="{BB962C8B-B14F-4D97-AF65-F5344CB8AC3E}">
        <p14:creationId xmlns:p14="http://schemas.microsoft.com/office/powerpoint/2010/main" val="1037357350"/>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1"/>
          <p:cNvSpPr>
            <a:spLocks noGrp="1"/>
          </p:cNvSpPr>
          <p:nvPr>
            <p:ph type="title" hasCustomPrompt="1"/>
          </p:nvPr>
        </p:nvSpPr>
        <p:spPr>
          <a:xfrm>
            <a:off x="482600" y="265694"/>
            <a:ext cx="8356600" cy="5855705"/>
          </a:xfrm>
        </p:spPr>
        <p:txBody>
          <a:bodyPr/>
          <a:lstStyle>
            <a:lvl1pPr>
              <a:lnSpc>
                <a:spcPct val="90000"/>
              </a:lnSpc>
              <a:defRPr sz="5400"/>
            </a:lvl1pPr>
          </a:lstStyle>
          <a:p>
            <a:pPr lvl="0"/>
            <a:r>
              <a:rPr lang="en-US" dirty="0"/>
              <a:t>This slide is for </a:t>
            </a:r>
            <a:br>
              <a:rPr lang="en-US" dirty="0"/>
            </a:br>
            <a:r>
              <a:rPr lang="en-US" dirty="0"/>
              <a:t>divider, statement </a:t>
            </a:r>
            <a:br>
              <a:rPr lang="en-US" dirty="0"/>
            </a:br>
            <a:r>
              <a:rPr lang="en-US" dirty="0"/>
              <a:t>or takeaway.</a:t>
            </a:r>
          </a:p>
        </p:txBody>
      </p:sp>
    </p:spTree>
    <p:extLst>
      <p:ext uri="{BB962C8B-B14F-4D97-AF65-F5344CB8AC3E}">
        <p14:creationId xmlns:p14="http://schemas.microsoft.com/office/powerpoint/2010/main" val="1596820031"/>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1"/>
          <p:cNvSpPr>
            <a:spLocks noGrp="1"/>
          </p:cNvSpPr>
          <p:nvPr>
            <p:ph type="title" hasCustomPrompt="1"/>
          </p:nvPr>
        </p:nvSpPr>
        <p:spPr>
          <a:xfrm>
            <a:off x="482600" y="265694"/>
            <a:ext cx="8356600" cy="5855705"/>
          </a:xfrm>
        </p:spPr>
        <p:txBody>
          <a:bodyPr/>
          <a:lstStyle>
            <a:lvl1pPr>
              <a:lnSpc>
                <a:spcPct val="90000"/>
              </a:lnSpc>
              <a:defRPr sz="5400">
                <a:solidFill>
                  <a:schemeClr val="bg1"/>
                </a:solidFill>
              </a:defRPr>
            </a:lvl1pPr>
          </a:lstStyle>
          <a:p>
            <a:pPr lvl="0"/>
            <a:r>
              <a:rPr lang="en-US" dirty="0"/>
              <a:t>This slide is for </a:t>
            </a:r>
            <a:br>
              <a:rPr lang="en-US" dirty="0"/>
            </a:br>
            <a:r>
              <a:rPr lang="en-US" dirty="0"/>
              <a:t>divider, statement </a:t>
            </a:r>
            <a:br>
              <a:rPr lang="en-US" dirty="0"/>
            </a:br>
            <a:r>
              <a:rPr lang="en-US" dirty="0"/>
              <a:t>or takeaway.</a:t>
            </a:r>
          </a:p>
        </p:txBody>
      </p:sp>
    </p:spTree>
    <p:extLst>
      <p:ext uri="{BB962C8B-B14F-4D97-AF65-F5344CB8AC3E}">
        <p14:creationId xmlns:p14="http://schemas.microsoft.com/office/powerpoint/2010/main" val="3698700917"/>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userDrawn="1">
  <p:cSld name="Divider: gradient teal">
    <p:bg>
      <p:bgPr>
        <a:blipFill dpi="0" rotWithShape="1">
          <a:blip r:embed="rId3">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Title 1"/>
          <p:cNvSpPr>
            <a:spLocks noGrp="1"/>
          </p:cNvSpPr>
          <p:nvPr>
            <p:ph type="title" hasCustomPrompt="1"/>
          </p:nvPr>
        </p:nvSpPr>
        <p:spPr>
          <a:xfrm>
            <a:off x="482600" y="265694"/>
            <a:ext cx="8356600" cy="5855705"/>
          </a:xfrm>
        </p:spPr>
        <p:txBody>
          <a:bodyPr/>
          <a:lstStyle>
            <a:lvl1pPr>
              <a:lnSpc>
                <a:spcPct val="90000"/>
              </a:lnSpc>
              <a:defRPr sz="5400">
                <a:solidFill>
                  <a:schemeClr val="bg1"/>
                </a:solidFill>
              </a:defRPr>
            </a:lvl1pPr>
          </a:lstStyle>
          <a:p>
            <a:pPr lvl="0"/>
            <a:r>
              <a:rPr lang="en-US" dirty="0"/>
              <a:t>This slide is for </a:t>
            </a:r>
            <a:br>
              <a:rPr lang="en-US" dirty="0"/>
            </a:br>
            <a:r>
              <a:rPr lang="en-US" dirty="0"/>
              <a:t>divider, statement </a:t>
            </a:r>
            <a:br>
              <a:rPr lang="en-US" dirty="0"/>
            </a:br>
            <a:r>
              <a:rPr lang="en-US" dirty="0"/>
              <a:t>or takeaway.</a:t>
            </a:r>
          </a:p>
        </p:txBody>
      </p:sp>
    </p:spTree>
    <p:extLst>
      <p:ext uri="{BB962C8B-B14F-4D97-AF65-F5344CB8AC3E}">
        <p14:creationId xmlns:p14="http://schemas.microsoft.com/office/powerpoint/2010/main" val="3475782694"/>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p:cSld name="BIOS + PRESENT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54EA0D7-47B3-5149-B51A-CABC5742FBE7}"/>
              </a:ext>
            </a:extLst>
          </p:cNvPr>
          <p:cNvSpPr txBox="1"/>
          <p:nvPr/>
        </p:nvSpPr>
        <p:spPr>
          <a:xfrm>
            <a:off x="374977" y="1582341"/>
            <a:ext cx="7870744" cy="369331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Bios</a:t>
            </a:r>
            <a:r>
              <a:rPr lang="en-US" sz="12000" b="1" i="0" baseline="0" dirty="0">
                <a:solidFill>
                  <a:schemeClr val="bg1"/>
                </a:solidFill>
                <a:latin typeface="Arial" panose="020B0604020202020204" pitchFamily="34" charset="0"/>
                <a:cs typeface="Arial" panose="020B0604020202020204" pitchFamily="34" charset="0"/>
              </a:rPr>
              <a:t> + </a:t>
            </a:r>
          </a:p>
          <a:p>
            <a:pPr algn="l"/>
            <a:r>
              <a:rPr lang="en-US" sz="12000" b="1" i="0" baseline="0" dirty="0">
                <a:solidFill>
                  <a:schemeClr val="bg1"/>
                </a:solidFill>
                <a:latin typeface="Arial" panose="020B0604020202020204" pitchFamily="34" charset="0"/>
                <a:cs typeface="Arial" panose="020B0604020202020204" pitchFamily="34" charset="0"/>
              </a:rPr>
              <a:t>presenter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11981388"/>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1 Squar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3578224" cy="3578224"/>
          </a:xfrm>
          <a:prstGeom prst="rect">
            <a:avLst/>
          </a:prstGeom>
          <a:solidFill>
            <a:srgbClr val="F0F0F0"/>
          </a:solidFill>
        </p:spPr>
        <p:txBody>
          <a:bodyPr/>
          <a:lstStyle>
            <a:lvl1pPr algn="l">
              <a:defRPr sz="1200" baseline="0">
                <a:solidFill>
                  <a:srgbClr val="FF0000"/>
                </a:solidFill>
              </a:defRPr>
            </a:lvl1pPr>
          </a:lstStyle>
          <a:p>
            <a:r>
              <a:rPr lang="en-US" dirty="0"/>
              <a:t>Click icon to add picture. Use “Crop” feature on “Format” tab to resize or reposition picture once added. Reset slide layout if needed.</a:t>
            </a:r>
          </a:p>
        </p:txBody>
      </p:sp>
      <p:sp>
        <p:nvSpPr>
          <p:cNvPr id="11" name="Subtitle 2">
            <a:extLst>
              <a:ext uri="{FF2B5EF4-FFF2-40B4-BE49-F238E27FC236}">
                <a16:creationId xmlns:a16="http://schemas.microsoft.com/office/drawing/2014/main" id="{8FB48F80-0958-024B-9A43-F726B5006EF6}"/>
              </a:ext>
            </a:extLst>
          </p:cNvPr>
          <p:cNvSpPr>
            <a:spLocks noGrp="1"/>
          </p:cNvSpPr>
          <p:nvPr>
            <p:ph type="subTitle" idx="1" hasCustomPrompt="1"/>
          </p:nvPr>
        </p:nvSpPr>
        <p:spPr>
          <a:xfrm>
            <a:off x="4312994" y="1557463"/>
            <a:ext cx="7396407" cy="318476"/>
          </a:xfrm>
        </p:spPr>
        <p:txBody>
          <a:bodyPr anchor="t"/>
          <a:lstStyle>
            <a:lvl1pPr marL="0" indent="0" algn="l">
              <a:spcBef>
                <a:spcPts val="0"/>
              </a:spcBef>
              <a:spcAft>
                <a:spcPts val="0"/>
              </a:spcAft>
              <a:buNone/>
              <a:defRPr sz="18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4312994" y="2308118"/>
            <a:ext cx="7396406" cy="3813282"/>
          </a:xfrm>
        </p:spPr>
        <p:txBody>
          <a:bodyPr/>
          <a:lstStyle>
            <a:lvl1pPr>
              <a:defRPr sz="1500"/>
            </a:lvl1pPr>
            <a:lvl2pPr>
              <a:spcBef>
                <a:spcPts val="600"/>
              </a:spcBef>
              <a:defRPr sz="1500"/>
            </a:lvl2pPr>
            <a:lvl3pPr>
              <a:defRPr sz="1500"/>
            </a:lvl3pPr>
            <a:lvl4pPr>
              <a:defRPr sz="1500"/>
            </a:lvl4pPr>
            <a:lvl5pPr>
              <a:defRPr sz="1500"/>
            </a:lvl5pPr>
            <a:lvl6pPr>
              <a:defRPr/>
            </a:lvl6pPr>
            <a:lvl7pPr>
              <a:defRPr/>
            </a:lvl7pPr>
            <a:lvl8pPr>
              <a:defRPr/>
            </a:lvl8pPr>
          </a:lstStyle>
          <a:p>
            <a:pPr lvl="0"/>
            <a:r>
              <a:rPr lang="en-US"/>
              <a:t>Edit Master text styles</a:t>
            </a:r>
          </a:p>
          <a:p>
            <a:pPr lvl="1"/>
            <a:r>
              <a:rPr lang="en-US"/>
              <a:t>Second level</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4312995" y="1875118"/>
            <a:ext cx="7396406"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9" name="Title 1">
            <a:extLst>
              <a:ext uri="{FF2B5EF4-FFF2-40B4-BE49-F238E27FC236}">
                <a16:creationId xmlns:a16="http://schemas.microsoft.com/office/drawing/2014/main" id="{07528AAB-5505-3B4E-8BF6-F6444612DEDF}"/>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D0AFCE9C-2323-C542-8AB3-51D29AAD0400}"/>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2342578467"/>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2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F1E2AC-3027-3048-8FE1-F9832E4FA9E1}"/>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6" name="Text Placeholder 3">
            <a:extLst>
              <a:ext uri="{FF2B5EF4-FFF2-40B4-BE49-F238E27FC236}">
                <a16:creationId xmlns:a16="http://schemas.microsoft.com/office/drawing/2014/main" id="{478E7F30-C13D-CC4E-B648-9CE1EDF3C6B8}"/>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224" cy="1704974"/>
          </a:xfrm>
          <a:prstGeom prst="rect">
            <a:avLst/>
          </a:prstGeom>
          <a:solidFill>
            <a:srgbClr val="F0F0F0"/>
          </a:solidFill>
        </p:spPr>
        <p:txBody>
          <a:bodyPr/>
          <a:lstStyle>
            <a:lvl1pPr algn="l">
              <a:defRPr sz="1200" baseline="0">
                <a:solidFill>
                  <a:srgbClr val="FF0000"/>
                </a:solidFill>
              </a:defRPr>
            </a:lvl1pPr>
          </a:lstStyle>
          <a:p>
            <a:r>
              <a:rPr lang="en-US" dirty="0"/>
              <a:t>Click icon to add picture. Use “Crop” feature on “Format” tab to resize or reposition picture once added. Reset slide layout if needed.</a:t>
            </a:r>
          </a:p>
        </p:txBody>
      </p:sp>
      <p:sp>
        <p:nvSpPr>
          <p:cNvPr id="13"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6217381" y="1620838"/>
            <a:ext cx="1669319"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6226174" y="3548674"/>
            <a:ext cx="5495924"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485777" y="3548674"/>
            <a:ext cx="5495924"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6226176" y="4319152"/>
            <a:ext cx="5495922" cy="1802248"/>
          </a:xfrm>
        </p:spPr>
        <p:txBody>
          <a:bodyPr/>
          <a:lstStyle>
            <a:lvl1pPr>
              <a:defRPr sz="1500"/>
            </a:lvl1pPr>
            <a:lvl2pPr>
              <a:spcBef>
                <a:spcPts val="600"/>
              </a:spcBef>
              <a:defRPr sz="1500"/>
            </a:lvl2pPr>
            <a:lvl3pPr>
              <a:defRPr sz="1500"/>
            </a:lvl3pPr>
            <a:lvl4pPr>
              <a:defRPr sz="1500"/>
            </a:lvl4pPr>
            <a:lvl5pPr>
              <a:defRPr sz="1500"/>
            </a:lvl5pPr>
            <a:lvl6pPr>
              <a:defRPr/>
            </a:lvl6pPr>
          </a:lstStyle>
          <a:p>
            <a:pPr lvl="0"/>
            <a:r>
              <a:rPr lang="en-US"/>
              <a:t>Edit Master text styles</a:t>
            </a:r>
          </a:p>
          <a:p>
            <a:pPr lvl="1"/>
            <a:r>
              <a:rPr lang="en-US"/>
              <a:t>Second level</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6226174" y="3866329"/>
            <a:ext cx="5495924"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17" name="Text Placeholder 13">
            <a:extLst>
              <a:ext uri="{FF2B5EF4-FFF2-40B4-BE49-F238E27FC236}">
                <a16:creationId xmlns:a16="http://schemas.microsoft.com/office/drawing/2014/main" id="{FA11E823-0F61-B144-9A65-89A2F749C474}"/>
              </a:ext>
            </a:extLst>
          </p:cNvPr>
          <p:cNvSpPr>
            <a:spLocks noGrp="1"/>
          </p:cNvSpPr>
          <p:nvPr>
            <p:ph type="body" sz="quarter" idx="14"/>
          </p:nvPr>
        </p:nvSpPr>
        <p:spPr>
          <a:xfrm>
            <a:off x="485779" y="4319152"/>
            <a:ext cx="5495922" cy="1802248"/>
          </a:xfrm>
        </p:spPr>
        <p:txBody>
          <a:bodyPr/>
          <a:lstStyle>
            <a:lvl1pPr>
              <a:defRPr sz="1500"/>
            </a:lvl1pPr>
            <a:lvl2pPr>
              <a:spcBef>
                <a:spcPts val="600"/>
              </a:spcBef>
              <a:defRPr sz="1500"/>
            </a:lvl2pPr>
            <a:lvl3pPr>
              <a:defRPr sz="1500"/>
            </a:lvl3pPr>
            <a:lvl4pPr>
              <a:defRPr sz="1500"/>
            </a:lvl4pPr>
            <a:lvl5pPr>
              <a:defRPr sz="1500"/>
            </a:lvl5pPr>
          </a:lstStyle>
          <a:p>
            <a:pPr lvl="0"/>
            <a:r>
              <a:rPr lang="en-US"/>
              <a:t>Edit Master text styles</a:t>
            </a:r>
          </a:p>
          <a:p>
            <a:pPr lvl="1"/>
            <a:r>
              <a:rPr lang="en-US"/>
              <a:t>Second level</a:t>
            </a:r>
          </a:p>
        </p:txBody>
      </p:sp>
      <p:sp>
        <p:nvSpPr>
          <p:cNvPr id="1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485777" y="3866329"/>
            <a:ext cx="5495924"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Tree>
    <p:extLst>
      <p:ext uri="{BB962C8B-B14F-4D97-AF65-F5344CB8AC3E}">
        <p14:creationId xmlns:p14="http://schemas.microsoft.com/office/powerpoint/2010/main" val="1040626796"/>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3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224"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3"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4308478" y="1620838"/>
            <a:ext cx="1673222" cy="1704974"/>
          </a:xfrm>
          <a:prstGeom prst="rect">
            <a:avLst/>
          </a:prstGeom>
          <a:solidFill>
            <a:srgbClr val="F0F0F0"/>
          </a:solidFill>
        </p:spPr>
        <p:txBody>
          <a:bodyPr/>
          <a:lstStyle>
            <a:lvl1pPr marL="0" marR="0" indent="0" algn="l" defTabSz="457200" rtl="0" eaLnBrk="1" fontAlgn="auto" latinLnBrk="0" hangingPunct="1">
              <a:lnSpc>
                <a:spcPct val="100000"/>
              </a:lnSpc>
              <a:spcBef>
                <a:spcPts val="1200"/>
              </a:spcBef>
              <a:spcAft>
                <a:spcPts val="600"/>
              </a:spcAft>
              <a:buClrTx/>
              <a:buSzTx/>
              <a:buFont typeface="Arial"/>
              <a:buNone/>
              <a:tabLst/>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4305301" y="3548674"/>
            <a:ext cx="3581400"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485777" y="3548674"/>
            <a:ext cx="3578223"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4305303" y="4319152"/>
            <a:ext cx="3581399" cy="1802248"/>
          </a:xfrm>
        </p:spPr>
        <p:txBody>
          <a:bodyPr/>
          <a:lstStyle>
            <a:lvl1pPr>
              <a:defRPr sz="1500"/>
            </a:lvl1pPr>
            <a:lvl2pPr>
              <a:spcBef>
                <a:spcPts val="600"/>
              </a:spcBef>
              <a:defRPr sz="1500"/>
            </a:lvl2pPr>
            <a:lvl3pPr>
              <a:defRPr sz="1500"/>
            </a:lvl3pPr>
            <a:lvl4pPr>
              <a:defRPr sz="1500"/>
            </a:lvl4pPr>
            <a:lvl5pPr>
              <a:defRPr sz="1500"/>
            </a:lvl5pPr>
            <a:lvl6pPr marL="919162" indent="0">
              <a:buNone/>
              <a:defRPr/>
            </a:lvl6pPr>
          </a:lstStyle>
          <a:p>
            <a:pPr lvl="0"/>
            <a:r>
              <a:rPr lang="en-US"/>
              <a:t>Edit Master text styles</a:t>
            </a:r>
          </a:p>
          <a:p>
            <a:pPr lvl="1"/>
            <a:r>
              <a:rPr lang="en-US"/>
              <a:t>Second level</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4305301" y="3866329"/>
            <a:ext cx="3581400" cy="318476"/>
          </a:xfrm>
        </p:spPr>
        <p:txBody>
          <a:bodyPr/>
          <a:lstStyle>
            <a:lvl1pPr marL="0" indent="0">
              <a:spcBef>
                <a:spcPts val="0"/>
              </a:spcBef>
              <a:spcAft>
                <a:spcPts val="0"/>
              </a:spcAft>
              <a:buNone/>
              <a:defRPr sz="20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17" name="Text Placeholder 13">
            <a:extLst>
              <a:ext uri="{FF2B5EF4-FFF2-40B4-BE49-F238E27FC236}">
                <a16:creationId xmlns:a16="http://schemas.microsoft.com/office/drawing/2014/main" id="{FA11E823-0F61-B144-9A65-89A2F749C474}"/>
              </a:ext>
            </a:extLst>
          </p:cNvPr>
          <p:cNvSpPr>
            <a:spLocks noGrp="1"/>
          </p:cNvSpPr>
          <p:nvPr>
            <p:ph type="body" sz="quarter" idx="14"/>
          </p:nvPr>
        </p:nvSpPr>
        <p:spPr>
          <a:xfrm>
            <a:off x="485779" y="4319152"/>
            <a:ext cx="3578222" cy="1802248"/>
          </a:xfrm>
        </p:spPr>
        <p:txBody>
          <a:bodyPr/>
          <a:lstStyle>
            <a:lvl1pPr>
              <a:defRPr sz="1500"/>
            </a:lvl1pPr>
            <a:lvl2pPr>
              <a:spcBef>
                <a:spcPts val="600"/>
              </a:spcBef>
              <a:defRPr sz="1500"/>
            </a:lvl2pPr>
            <a:lvl3pPr>
              <a:defRPr sz="1500"/>
            </a:lvl3pPr>
            <a:lvl4pPr>
              <a:defRPr sz="1500"/>
            </a:lvl4pPr>
            <a:lvl5pPr>
              <a:defRPr sz="1500"/>
            </a:lvl5pPr>
            <a:lvl6pPr>
              <a:defRPr/>
            </a:lvl6pPr>
          </a:lstStyle>
          <a:p>
            <a:pPr lvl="0"/>
            <a:r>
              <a:rPr lang="en-US"/>
              <a:t>Edit Master text styles</a:t>
            </a:r>
          </a:p>
          <a:p>
            <a:pPr lvl="1"/>
            <a:r>
              <a:rPr lang="en-US"/>
              <a:t>Second level</a:t>
            </a:r>
          </a:p>
        </p:txBody>
      </p:sp>
      <p:sp>
        <p:nvSpPr>
          <p:cNvPr id="1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485777" y="3866329"/>
            <a:ext cx="3578223"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1" name="Text Placeholder 3">
            <a:extLst>
              <a:ext uri="{FF2B5EF4-FFF2-40B4-BE49-F238E27FC236}">
                <a16:creationId xmlns:a16="http://schemas.microsoft.com/office/drawing/2014/main" id="{AC0CDF27-1ADD-8342-879D-707AFEFCFEF8}"/>
              </a:ext>
            </a:extLst>
          </p:cNvPr>
          <p:cNvSpPr>
            <a:spLocks noGrp="1"/>
          </p:cNvSpPr>
          <p:nvPr>
            <p:ph type="body" sz="half" idx="18" hasCustomPrompt="1"/>
          </p:nvPr>
        </p:nvSpPr>
        <p:spPr>
          <a:xfrm>
            <a:off x="8130667" y="3548674"/>
            <a:ext cx="3578733"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2" name="Text Placeholder 13">
            <a:extLst>
              <a:ext uri="{FF2B5EF4-FFF2-40B4-BE49-F238E27FC236}">
                <a16:creationId xmlns:a16="http://schemas.microsoft.com/office/drawing/2014/main" id="{E53B07F7-1C0A-6047-A541-C601FCBCE8EF}"/>
              </a:ext>
            </a:extLst>
          </p:cNvPr>
          <p:cNvSpPr>
            <a:spLocks noGrp="1"/>
          </p:cNvSpPr>
          <p:nvPr>
            <p:ph type="body" sz="quarter" idx="19"/>
          </p:nvPr>
        </p:nvSpPr>
        <p:spPr>
          <a:xfrm>
            <a:off x="8130670" y="4319152"/>
            <a:ext cx="3578732" cy="1802248"/>
          </a:xfrm>
        </p:spPr>
        <p:txBody>
          <a:bodyPr/>
          <a:lstStyle>
            <a:lvl1pPr>
              <a:defRPr sz="1500"/>
            </a:lvl1pPr>
            <a:lvl2pPr>
              <a:spcBef>
                <a:spcPts val="600"/>
              </a:spcBef>
              <a:defRPr sz="1500"/>
            </a:lvl2pPr>
            <a:lvl3pPr>
              <a:defRPr sz="1500"/>
            </a:lvl3pPr>
            <a:lvl4pPr>
              <a:defRPr sz="1500"/>
            </a:lvl4pPr>
            <a:lvl5pPr>
              <a:defRPr sz="1500"/>
            </a:lvl5pPr>
            <a:lvl6pPr marL="919162" indent="0">
              <a:buNone/>
              <a:defRPr/>
            </a:lvl6pPr>
          </a:lstStyle>
          <a:p>
            <a:pPr lvl="0"/>
            <a:r>
              <a:rPr lang="en-US"/>
              <a:t>Edit Master text styles</a:t>
            </a:r>
          </a:p>
          <a:p>
            <a:pPr lvl="1"/>
            <a:r>
              <a:rPr lang="en-US"/>
              <a:t>Second level</a:t>
            </a:r>
          </a:p>
        </p:txBody>
      </p:sp>
      <p:sp>
        <p:nvSpPr>
          <p:cNvPr id="23" name="Text Placeholder 3">
            <a:extLst>
              <a:ext uri="{FF2B5EF4-FFF2-40B4-BE49-F238E27FC236}">
                <a16:creationId xmlns:a16="http://schemas.microsoft.com/office/drawing/2014/main" id="{94746E12-3EC2-5141-8C5F-4B4265F409C4}"/>
              </a:ext>
            </a:extLst>
          </p:cNvPr>
          <p:cNvSpPr>
            <a:spLocks noGrp="1"/>
          </p:cNvSpPr>
          <p:nvPr>
            <p:ph type="body" sz="half" idx="20" hasCustomPrompt="1"/>
          </p:nvPr>
        </p:nvSpPr>
        <p:spPr>
          <a:xfrm>
            <a:off x="8130667" y="3866329"/>
            <a:ext cx="3578733"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4" name="Picture Placeholder 9">
            <a:extLst>
              <a:ext uri="{FF2B5EF4-FFF2-40B4-BE49-F238E27FC236}">
                <a16:creationId xmlns:a16="http://schemas.microsoft.com/office/drawing/2014/main" id="{FF57ADCE-A8E0-014E-9057-FA914AC44AB6}"/>
              </a:ext>
            </a:extLst>
          </p:cNvPr>
          <p:cNvSpPr>
            <a:spLocks noGrp="1" noChangeAspect="1"/>
          </p:cNvSpPr>
          <p:nvPr>
            <p:ph type="pic" sz="quarter" idx="21" hasCustomPrompt="1"/>
          </p:nvPr>
        </p:nvSpPr>
        <p:spPr>
          <a:xfrm>
            <a:off x="8128001" y="1620838"/>
            <a:ext cx="1676399"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25" name="Title 1">
            <a:extLst>
              <a:ext uri="{FF2B5EF4-FFF2-40B4-BE49-F238E27FC236}">
                <a16:creationId xmlns:a16="http://schemas.microsoft.com/office/drawing/2014/main" id="{1A557E69-B948-EE4F-8D3C-094A819B91FC}"/>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26" name="Text Placeholder 3">
            <a:extLst>
              <a:ext uri="{FF2B5EF4-FFF2-40B4-BE49-F238E27FC236}">
                <a16:creationId xmlns:a16="http://schemas.microsoft.com/office/drawing/2014/main" id="{E15F6C54-7BEE-0A47-9C13-2AD0DEE8A17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141539885"/>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4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224"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3"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6226173" y="1620838"/>
            <a:ext cx="1660527"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8127999" y="3800320"/>
            <a:ext cx="35814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2387599" y="3800320"/>
            <a:ext cx="35941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hasCustomPrompt="1"/>
          </p:nvPr>
        </p:nvSpPr>
        <p:spPr>
          <a:xfrm>
            <a:off x="8128001" y="4502460"/>
            <a:ext cx="35814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8127999" y="4117975"/>
            <a:ext cx="35814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17" name="Text Placeholder 13">
            <a:extLst>
              <a:ext uri="{FF2B5EF4-FFF2-40B4-BE49-F238E27FC236}">
                <a16:creationId xmlns:a16="http://schemas.microsoft.com/office/drawing/2014/main" id="{FA11E823-0F61-B144-9A65-89A2F749C474}"/>
              </a:ext>
            </a:extLst>
          </p:cNvPr>
          <p:cNvSpPr>
            <a:spLocks noGrp="1"/>
          </p:cNvSpPr>
          <p:nvPr>
            <p:ph type="body" sz="quarter" idx="14" hasCustomPrompt="1"/>
          </p:nvPr>
        </p:nvSpPr>
        <p:spPr>
          <a:xfrm>
            <a:off x="2387601" y="4502460"/>
            <a:ext cx="35941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1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2387599" y="4117975"/>
            <a:ext cx="35941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1" name="Text Placeholder 3">
            <a:extLst>
              <a:ext uri="{FF2B5EF4-FFF2-40B4-BE49-F238E27FC236}">
                <a16:creationId xmlns:a16="http://schemas.microsoft.com/office/drawing/2014/main" id="{5F7713A0-A151-AC43-ADBC-57561531851D}"/>
              </a:ext>
            </a:extLst>
          </p:cNvPr>
          <p:cNvSpPr>
            <a:spLocks noGrp="1"/>
          </p:cNvSpPr>
          <p:nvPr>
            <p:ph type="body" sz="half" idx="18" hasCustomPrompt="1"/>
          </p:nvPr>
        </p:nvSpPr>
        <p:spPr>
          <a:xfrm>
            <a:off x="8127999" y="1564115"/>
            <a:ext cx="35814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2" name="Text Placeholder 3">
            <a:extLst>
              <a:ext uri="{FF2B5EF4-FFF2-40B4-BE49-F238E27FC236}">
                <a16:creationId xmlns:a16="http://schemas.microsoft.com/office/drawing/2014/main" id="{36990999-1C86-3C4A-9E86-512FFE509F06}"/>
              </a:ext>
            </a:extLst>
          </p:cNvPr>
          <p:cNvSpPr>
            <a:spLocks noGrp="1"/>
          </p:cNvSpPr>
          <p:nvPr>
            <p:ph type="body" sz="half" idx="19" hasCustomPrompt="1"/>
          </p:nvPr>
        </p:nvSpPr>
        <p:spPr>
          <a:xfrm>
            <a:off x="2387599" y="1564115"/>
            <a:ext cx="35941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3" name="Text Placeholder 13">
            <a:extLst>
              <a:ext uri="{FF2B5EF4-FFF2-40B4-BE49-F238E27FC236}">
                <a16:creationId xmlns:a16="http://schemas.microsoft.com/office/drawing/2014/main" id="{A71029AB-D37D-2644-A741-0C081A0EFD23}"/>
              </a:ext>
            </a:extLst>
          </p:cNvPr>
          <p:cNvSpPr>
            <a:spLocks noGrp="1"/>
          </p:cNvSpPr>
          <p:nvPr>
            <p:ph type="body" sz="quarter" idx="20" hasCustomPrompt="1"/>
          </p:nvPr>
        </p:nvSpPr>
        <p:spPr>
          <a:xfrm>
            <a:off x="8128001" y="2266255"/>
            <a:ext cx="35814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24" name="Text Placeholder 3">
            <a:extLst>
              <a:ext uri="{FF2B5EF4-FFF2-40B4-BE49-F238E27FC236}">
                <a16:creationId xmlns:a16="http://schemas.microsoft.com/office/drawing/2014/main" id="{C8BA4402-6CAF-594E-89D2-451CACAEAF49}"/>
              </a:ext>
            </a:extLst>
          </p:cNvPr>
          <p:cNvSpPr>
            <a:spLocks noGrp="1"/>
          </p:cNvSpPr>
          <p:nvPr>
            <p:ph type="body" sz="half" idx="21" hasCustomPrompt="1"/>
          </p:nvPr>
        </p:nvSpPr>
        <p:spPr>
          <a:xfrm>
            <a:off x="8127999" y="1881770"/>
            <a:ext cx="35814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5" name="Text Placeholder 13">
            <a:extLst>
              <a:ext uri="{FF2B5EF4-FFF2-40B4-BE49-F238E27FC236}">
                <a16:creationId xmlns:a16="http://schemas.microsoft.com/office/drawing/2014/main" id="{265C0D49-3234-5E4D-894F-6B46C7FB1261}"/>
              </a:ext>
            </a:extLst>
          </p:cNvPr>
          <p:cNvSpPr>
            <a:spLocks noGrp="1"/>
          </p:cNvSpPr>
          <p:nvPr>
            <p:ph type="body" sz="quarter" idx="22" hasCustomPrompt="1"/>
          </p:nvPr>
        </p:nvSpPr>
        <p:spPr>
          <a:xfrm>
            <a:off x="2387601" y="2266255"/>
            <a:ext cx="35941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26" name="Text Placeholder 3">
            <a:extLst>
              <a:ext uri="{FF2B5EF4-FFF2-40B4-BE49-F238E27FC236}">
                <a16:creationId xmlns:a16="http://schemas.microsoft.com/office/drawing/2014/main" id="{0257D817-539C-DD4E-AE71-8174AB5D41C0}"/>
              </a:ext>
            </a:extLst>
          </p:cNvPr>
          <p:cNvSpPr>
            <a:spLocks noGrp="1"/>
          </p:cNvSpPr>
          <p:nvPr>
            <p:ph type="body" sz="half" idx="23" hasCustomPrompt="1"/>
          </p:nvPr>
        </p:nvSpPr>
        <p:spPr>
          <a:xfrm>
            <a:off x="2387599" y="1881770"/>
            <a:ext cx="35941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7" name="Picture Placeholder 9">
            <a:extLst>
              <a:ext uri="{FF2B5EF4-FFF2-40B4-BE49-F238E27FC236}">
                <a16:creationId xmlns:a16="http://schemas.microsoft.com/office/drawing/2014/main" id="{6BD28324-F3EB-BE41-9D0C-98C0D13B4016}"/>
              </a:ext>
            </a:extLst>
          </p:cNvPr>
          <p:cNvSpPr>
            <a:spLocks noGrp="1" noChangeAspect="1"/>
          </p:cNvSpPr>
          <p:nvPr>
            <p:ph type="pic" sz="quarter" idx="24" hasCustomPrompt="1"/>
          </p:nvPr>
        </p:nvSpPr>
        <p:spPr>
          <a:xfrm>
            <a:off x="485776" y="3879092"/>
            <a:ext cx="1673224"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28" name="Picture Placeholder 9">
            <a:extLst>
              <a:ext uri="{FF2B5EF4-FFF2-40B4-BE49-F238E27FC236}">
                <a16:creationId xmlns:a16="http://schemas.microsoft.com/office/drawing/2014/main" id="{F9D2F30B-E1C7-574E-BAC9-2FA330852737}"/>
              </a:ext>
            </a:extLst>
          </p:cNvPr>
          <p:cNvSpPr>
            <a:spLocks noGrp="1" noChangeAspect="1"/>
          </p:cNvSpPr>
          <p:nvPr>
            <p:ph type="pic" sz="quarter" idx="25" hasCustomPrompt="1"/>
          </p:nvPr>
        </p:nvSpPr>
        <p:spPr>
          <a:xfrm>
            <a:off x="6226173" y="3879092"/>
            <a:ext cx="1660527"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29" name="Title 1">
            <a:extLst>
              <a:ext uri="{FF2B5EF4-FFF2-40B4-BE49-F238E27FC236}">
                <a16:creationId xmlns:a16="http://schemas.microsoft.com/office/drawing/2014/main" id="{7AA2A475-59E8-7C47-A042-7D18D3F485F0}"/>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30" name="Text Placeholder 3">
            <a:extLst>
              <a:ext uri="{FF2B5EF4-FFF2-40B4-BE49-F238E27FC236}">
                <a16:creationId xmlns:a16="http://schemas.microsoft.com/office/drawing/2014/main" id="{89251D6D-CA0A-B446-980B-987AD095401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339069221"/>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8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22" name="Text Placeholder 3">
            <a:extLst>
              <a:ext uri="{FF2B5EF4-FFF2-40B4-BE49-F238E27FC236}">
                <a16:creationId xmlns:a16="http://schemas.microsoft.com/office/drawing/2014/main" id="{36990999-1C86-3C4A-9E86-512FFE509F06}"/>
              </a:ext>
            </a:extLst>
          </p:cNvPr>
          <p:cNvSpPr>
            <a:spLocks noGrp="1"/>
          </p:cNvSpPr>
          <p:nvPr>
            <p:ph type="body" sz="half" idx="19" hasCustomPrompt="1"/>
          </p:nvPr>
        </p:nvSpPr>
        <p:spPr>
          <a:xfrm>
            <a:off x="48577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6" name="Text Placeholder 3">
            <a:extLst>
              <a:ext uri="{FF2B5EF4-FFF2-40B4-BE49-F238E27FC236}">
                <a16:creationId xmlns:a16="http://schemas.microsoft.com/office/drawing/2014/main" id="{0257D817-539C-DD4E-AE71-8174AB5D41C0}"/>
              </a:ext>
            </a:extLst>
          </p:cNvPr>
          <p:cNvSpPr>
            <a:spLocks noGrp="1"/>
          </p:cNvSpPr>
          <p:nvPr>
            <p:ph type="body" sz="half" idx="23" hasCustomPrompt="1"/>
          </p:nvPr>
        </p:nvSpPr>
        <p:spPr>
          <a:xfrm>
            <a:off x="48577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9" name="Title 1">
            <a:extLst>
              <a:ext uri="{FF2B5EF4-FFF2-40B4-BE49-F238E27FC236}">
                <a16:creationId xmlns:a16="http://schemas.microsoft.com/office/drawing/2014/main" id="{7AA2A475-59E8-7C47-A042-7D18D3F485F0}"/>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30" name="Text Placeholder 3">
            <a:extLst>
              <a:ext uri="{FF2B5EF4-FFF2-40B4-BE49-F238E27FC236}">
                <a16:creationId xmlns:a16="http://schemas.microsoft.com/office/drawing/2014/main" id="{89251D6D-CA0A-B446-980B-987AD095401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32"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4" hasCustomPrompt="1"/>
          </p:nvPr>
        </p:nvSpPr>
        <p:spPr>
          <a:xfrm>
            <a:off x="3361056" y="162083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33"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5" hasCustomPrompt="1"/>
          </p:nvPr>
        </p:nvSpPr>
        <p:spPr>
          <a:xfrm>
            <a:off x="6210300" y="162083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34"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6" hasCustomPrompt="1"/>
          </p:nvPr>
        </p:nvSpPr>
        <p:spPr>
          <a:xfrm>
            <a:off x="9080500" y="162083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35" name="Text Placeholder 3">
            <a:extLst>
              <a:ext uri="{FF2B5EF4-FFF2-40B4-BE49-F238E27FC236}">
                <a16:creationId xmlns:a16="http://schemas.microsoft.com/office/drawing/2014/main" id="{36990999-1C86-3C4A-9E86-512FFE509F06}"/>
              </a:ext>
            </a:extLst>
          </p:cNvPr>
          <p:cNvSpPr>
            <a:spLocks noGrp="1"/>
          </p:cNvSpPr>
          <p:nvPr>
            <p:ph type="body" sz="half" idx="27" hasCustomPrompt="1"/>
          </p:nvPr>
        </p:nvSpPr>
        <p:spPr>
          <a:xfrm>
            <a:off x="336105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36" name="Text Placeholder 3">
            <a:extLst>
              <a:ext uri="{FF2B5EF4-FFF2-40B4-BE49-F238E27FC236}">
                <a16:creationId xmlns:a16="http://schemas.microsoft.com/office/drawing/2014/main" id="{0257D817-539C-DD4E-AE71-8174AB5D41C0}"/>
              </a:ext>
            </a:extLst>
          </p:cNvPr>
          <p:cNvSpPr>
            <a:spLocks noGrp="1"/>
          </p:cNvSpPr>
          <p:nvPr>
            <p:ph type="body" sz="half" idx="28" hasCustomPrompt="1"/>
          </p:nvPr>
        </p:nvSpPr>
        <p:spPr>
          <a:xfrm>
            <a:off x="336105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37" name="Text Placeholder 3">
            <a:extLst>
              <a:ext uri="{FF2B5EF4-FFF2-40B4-BE49-F238E27FC236}">
                <a16:creationId xmlns:a16="http://schemas.microsoft.com/office/drawing/2014/main" id="{36990999-1C86-3C4A-9E86-512FFE509F06}"/>
              </a:ext>
            </a:extLst>
          </p:cNvPr>
          <p:cNvSpPr>
            <a:spLocks noGrp="1"/>
          </p:cNvSpPr>
          <p:nvPr>
            <p:ph type="body" sz="half" idx="29" hasCustomPrompt="1"/>
          </p:nvPr>
        </p:nvSpPr>
        <p:spPr>
          <a:xfrm>
            <a:off x="620585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38" name="Text Placeholder 3">
            <a:extLst>
              <a:ext uri="{FF2B5EF4-FFF2-40B4-BE49-F238E27FC236}">
                <a16:creationId xmlns:a16="http://schemas.microsoft.com/office/drawing/2014/main" id="{0257D817-539C-DD4E-AE71-8174AB5D41C0}"/>
              </a:ext>
            </a:extLst>
          </p:cNvPr>
          <p:cNvSpPr>
            <a:spLocks noGrp="1"/>
          </p:cNvSpPr>
          <p:nvPr>
            <p:ph type="body" sz="half" idx="30" hasCustomPrompt="1"/>
          </p:nvPr>
        </p:nvSpPr>
        <p:spPr>
          <a:xfrm>
            <a:off x="620585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39" name="Text Placeholder 3">
            <a:extLst>
              <a:ext uri="{FF2B5EF4-FFF2-40B4-BE49-F238E27FC236}">
                <a16:creationId xmlns:a16="http://schemas.microsoft.com/office/drawing/2014/main" id="{36990999-1C86-3C4A-9E86-512FFE509F06}"/>
              </a:ext>
            </a:extLst>
          </p:cNvPr>
          <p:cNvSpPr>
            <a:spLocks noGrp="1"/>
          </p:cNvSpPr>
          <p:nvPr>
            <p:ph type="body" sz="half" idx="31" hasCustomPrompt="1"/>
          </p:nvPr>
        </p:nvSpPr>
        <p:spPr>
          <a:xfrm>
            <a:off x="908113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40" name="Text Placeholder 3">
            <a:extLst>
              <a:ext uri="{FF2B5EF4-FFF2-40B4-BE49-F238E27FC236}">
                <a16:creationId xmlns:a16="http://schemas.microsoft.com/office/drawing/2014/main" id="{0257D817-539C-DD4E-AE71-8174AB5D41C0}"/>
              </a:ext>
            </a:extLst>
          </p:cNvPr>
          <p:cNvSpPr>
            <a:spLocks noGrp="1"/>
          </p:cNvSpPr>
          <p:nvPr>
            <p:ph type="body" sz="half" idx="32" hasCustomPrompt="1"/>
          </p:nvPr>
        </p:nvSpPr>
        <p:spPr>
          <a:xfrm>
            <a:off x="908113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41"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3" hasCustomPrompt="1"/>
          </p:nvPr>
        </p:nvSpPr>
        <p:spPr>
          <a:xfrm>
            <a:off x="485776" y="391699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42" name="Text Placeholder 3">
            <a:extLst>
              <a:ext uri="{FF2B5EF4-FFF2-40B4-BE49-F238E27FC236}">
                <a16:creationId xmlns:a16="http://schemas.microsoft.com/office/drawing/2014/main" id="{36990999-1C86-3C4A-9E86-512FFE509F06}"/>
              </a:ext>
            </a:extLst>
          </p:cNvPr>
          <p:cNvSpPr>
            <a:spLocks noGrp="1"/>
          </p:cNvSpPr>
          <p:nvPr>
            <p:ph type="body" sz="half" idx="34" hasCustomPrompt="1"/>
          </p:nvPr>
        </p:nvSpPr>
        <p:spPr>
          <a:xfrm>
            <a:off x="48577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43" name="Text Placeholder 3">
            <a:extLst>
              <a:ext uri="{FF2B5EF4-FFF2-40B4-BE49-F238E27FC236}">
                <a16:creationId xmlns:a16="http://schemas.microsoft.com/office/drawing/2014/main" id="{0257D817-539C-DD4E-AE71-8174AB5D41C0}"/>
              </a:ext>
            </a:extLst>
          </p:cNvPr>
          <p:cNvSpPr>
            <a:spLocks noGrp="1"/>
          </p:cNvSpPr>
          <p:nvPr>
            <p:ph type="body" sz="half" idx="35" hasCustomPrompt="1"/>
          </p:nvPr>
        </p:nvSpPr>
        <p:spPr>
          <a:xfrm>
            <a:off x="48577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44"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6" hasCustomPrompt="1"/>
          </p:nvPr>
        </p:nvSpPr>
        <p:spPr>
          <a:xfrm>
            <a:off x="3361056" y="391699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45"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7" hasCustomPrompt="1"/>
          </p:nvPr>
        </p:nvSpPr>
        <p:spPr>
          <a:xfrm>
            <a:off x="6210300" y="391699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46"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8" hasCustomPrompt="1"/>
          </p:nvPr>
        </p:nvSpPr>
        <p:spPr>
          <a:xfrm>
            <a:off x="9080500" y="391699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47" name="Text Placeholder 3">
            <a:extLst>
              <a:ext uri="{FF2B5EF4-FFF2-40B4-BE49-F238E27FC236}">
                <a16:creationId xmlns:a16="http://schemas.microsoft.com/office/drawing/2014/main" id="{36990999-1C86-3C4A-9E86-512FFE509F06}"/>
              </a:ext>
            </a:extLst>
          </p:cNvPr>
          <p:cNvSpPr>
            <a:spLocks noGrp="1"/>
          </p:cNvSpPr>
          <p:nvPr>
            <p:ph type="body" sz="half" idx="39" hasCustomPrompt="1"/>
          </p:nvPr>
        </p:nvSpPr>
        <p:spPr>
          <a:xfrm>
            <a:off x="336105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48" name="Text Placeholder 3">
            <a:extLst>
              <a:ext uri="{FF2B5EF4-FFF2-40B4-BE49-F238E27FC236}">
                <a16:creationId xmlns:a16="http://schemas.microsoft.com/office/drawing/2014/main" id="{0257D817-539C-DD4E-AE71-8174AB5D41C0}"/>
              </a:ext>
            </a:extLst>
          </p:cNvPr>
          <p:cNvSpPr>
            <a:spLocks noGrp="1"/>
          </p:cNvSpPr>
          <p:nvPr>
            <p:ph type="body" sz="half" idx="40" hasCustomPrompt="1"/>
          </p:nvPr>
        </p:nvSpPr>
        <p:spPr>
          <a:xfrm>
            <a:off x="336105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49" name="Text Placeholder 3">
            <a:extLst>
              <a:ext uri="{FF2B5EF4-FFF2-40B4-BE49-F238E27FC236}">
                <a16:creationId xmlns:a16="http://schemas.microsoft.com/office/drawing/2014/main" id="{36990999-1C86-3C4A-9E86-512FFE509F06}"/>
              </a:ext>
            </a:extLst>
          </p:cNvPr>
          <p:cNvSpPr>
            <a:spLocks noGrp="1"/>
          </p:cNvSpPr>
          <p:nvPr>
            <p:ph type="body" sz="half" idx="41" hasCustomPrompt="1"/>
          </p:nvPr>
        </p:nvSpPr>
        <p:spPr>
          <a:xfrm>
            <a:off x="620585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50" name="Text Placeholder 3">
            <a:extLst>
              <a:ext uri="{FF2B5EF4-FFF2-40B4-BE49-F238E27FC236}">
                <a16:creationId xmlns:a16="http://schemas.microsoft.com/office/drawing/2014/main" id="{0257D817-539C-DD4E-AE71-8174AB5D41C0}"/>
              </a:ext>
            </a:extLst>
          </p:cNvPr>
          <p:cNvSpPr>
            <a:spLocks noGrp="1"/>
          </p:cNvSpPr>
          <p:nvPr>
            <p:ph type="body" sz="half" idx="42" hasCustomPrompt="1"/>
          </p:nvPr>
        </p:nvSpPr>
        <p:spPr>
          <a:xfrm>
            <a:off x="620585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51" name="Text Placeholder 3">
            <a:extLst>
              <a:ext uri="{FF2B5EF4-FFF2-40B4-BE49-F238E27FC236}">
                <a16:creationId xmlns:a16="http://schemas.microsoft.com/office/drawing/2014/main" id="{36990999-1C86-3C4A-9E86-512FFE509F06}"/>
              </a:ext>
            </a:extLst>
          </p:cNvPr>
          <p:cNvSpPr>
            <a:spLocks noGrp="1"/>
          </p:cNvSpPr>
          <p:nvPr>
            <p:ph type="body" sz="half" idx="43" hasCustomPrompt="1"/>
          </p:nvPr>
        </p:nvSpPr>
        <p:spPr>
          <a:xfrm>
            <a:off x="908113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52" name="Text Placeholder 3">
            <a:extLst>
              <a:ext uri="{FF2B5EF4-FFF2-40B4-BE49-F238E27FC236}">
                <a16:creationId xmlns:a16="http://schemas.microsoft.com/office/drawing/2014/main" id="{0257D817-539C-DD4E-AE71-8174AB5D41C0}"/>
              </a:ext>
            </a:extLst>
          </p:cNvPr>
          <p:cNvSpPr>
            <a:spLocks noGrp="1"/>
          </p:cNvSpPr>
          <p:nvPr>
            <p:ph type="body" sz="half" idx="44" hasCustomPrompt="1"/>
          </p:nvPr>
        </p:nvSpPr>
        <p:spPr>
          <a:xfrm>
            <a:off x="908113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Tree>
    <p:extLst>
      <p:ext uri="{BB962C8B-B14F-4D97-AF65-F5344CB8AC3E}">
        <p14:creationId xmlns:p14="http://schemas.microsoft.com/office/powerpoint/2010/main" val="305808824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x">
  <p:cSld name="Divider: blue">
    <p:bg>
      <p:bgPr>
        <a:solidFill>
          <a:srgbClr val="002C77"/>
        </a:solidFill>
        <a:effectLst/>
      </p:bgPr>
    </p:bg>
    <p:spTree>
      <p:nvGrpSpPr>
        <p:cNvPr id="1" name=""/>
        <p:cNvGrpSpPr/>
        <p:nvPr/>
      </p:nvGrpSpPr>
      <p:grpSpPr>
        <a:xfrm>
          <a:off x="0" y="0"/>
          <a:ext cx="0" cy="0"/>
          <a:chOff x="0" y="0"/>
          <a:chExt cx="0" cy="0"/>
        </a:xfrm>
      </p:grpSpPr>
      <p:sp>
        <p:nvSpPr>
          <p:cNvPr id="451" name="Shape 451"/>
          <p:cNvSpPr>
            <a:spLocks noGrp="1"/>
          </p:cNvSpPr>
          <p:nvPr>
            <p:ph type="title"/>
          </p:nvPr>
        </p:nvSpPr>
        <p:spPr>
          <a:xfrm>
            <a:off x="482600" y="265694"/>
            <a:ext cx="8356600" cy="5855705"/>
          </a:xfrm>
          <a:prstGeom prst="rect">
            <a:avLst/>
          </a:prstGeom>
        </p:spPr>
        <p:txBody>
          <a:bodyPr>
            <a:normAutofit/>
          </a:bodyPr>
          <a:lstStyle>
            <a:lvl1pPr>
              <a:lnSpc>
                <a:spcPct val="90000"/>
              </a:lnSpc>
              <a:defRPr sz="5400">
                <a:solidFill>
                  <a:srgbClr val="FFFFFF"/>
                </a:solidFill>
              </a:defRPr>
            </a:lvl1pPr>
          </a:lstStyle>
          <a:p>
            <a:r>
              <a:t>Texto del título</a:t>
            </a:r>
          </a:p>
        </p:txBody>
      </p:sp>
      <p:sp>
        <p:nvSpPr>
          <p:cNvPr id="452" name="Shape 452"/>
          <p:cNvSpPr>
            <a:spLocks noGrp="1"/>
          </p:cNvSpPr>
          <p:nvPr>
            <p:ph type="sldNum" sz="quarter" idx="2"/>
          </p:nvPr>
        </p:nvSpPr>
        <p:spPr>
          <a:prstGeom prst="rect">
            <a:avLst/>
          </a:prstGeom>
        </p:spPr>
        <p:txBody>
          <a:bodyPr/>
          <a:lstStyle/>
          <a:p>
            <a:fld id="{86CB4B4D-7CA3-9044-876B-883B54F8677D}" type="slidenum">
              <a:t>‹Nº›</a:t>
            </a:fld>
            <a:endParaRPr/>
          </a:p>
        </p:txBody>
      </p:sp>
    </p:spTree>
  </p:cSld>
  <p:clrMapOvr>
    <a:masterClrMapping/>
  </p:clrMapOvr>
  <p:transition spd="med"/>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p:cSld name="QUOT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54EA0D7-47B3-5149-B51A-CABC5742FBE7}"/>
              </a:ext>
            </a:extLst>
          </p:cNvPr>
          <p:cNvSpPr txBox="1"/>
          <p:nvPr/>
        </p:nvSpPr>
        <p:spPr>
          <a:xfrm>
            <a:off x="374977" y="2505671"/>
            <a:ext cx="5301131" cy="184665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Quotes</a:t>
            </a:r>
          </a:p>
        </p:txBody>
      </p:sp>
    </p:spTree>
    <p:extLst>
      <p:ext uri="{BB962C8B-B14F-4D97-AF65-F5344CB8AC3E}">
        <p14:creationId xmlns:p14="http://schemas.microsoft.com/office/powerpoint/2010/main" val="776635368"/>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160A2B-5371-CA41-BD2F-F42585E23A6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7B160A2B-5371-CA41-BD2F-F42585E23A6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3">
            <a:extLst>
              <a:ext uri="{FF2B5EF4-FFF2-40B4-BE49-F238E27FC236}">
                <a16:creationId xmlns:a16="http://schemas.microsoft.com/office/drawing/2014/main" id="{2C68D909-7F77-144F-A778-CADD0466B483}"/>
              </a:ext>
            </a:extLst>
          </p:cNvPr>
          <p:cNvSpPr>
            <a:spLocks noGrp="1"/>
          </p:cNvSpPr>
          <p:nvPr>
            <p:ph type="body" sz="half" idx="2" hasCustomPrompt="1"/>
          </p:nvPr>
        </p:nvSpPr>
        <p:spPr>
          <a:xfrm>
            <a:off x="485776" y="4979815"/>
            <a:ext cx="3578224" cy="803619"/>
          </a:xfrm>
        </p:spPr>
        <p:txBody>
          <a:bodyPr anchor="t"/>
          <a:lstStyle>
            <a:lvl1pPr marL="179388" indent="-179388">
              <a:lnSpc>
                <a:spcPct val="100000"/>
              </a:lnSpc>
              <a:spcBef>
                <a:spcPts val="0"/>
              </a:spcBef>
              <a:spcAft>
                <a:spcPts val="0"/>
              </a:spcAft>
              <a:buFont typeface="System Font Regular"/>
              <a:buChar char="–"/>
              <a:tabLst/>
              <a:defRPr lang="en-US" sz="1600" smtClean="0">
                <a:solidFill>
                  <a:schemeClr val="tx2"/>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dirty="0">
                <a:effectLst/>
                <a:latin typeface="Arial" panose="020B0604020202020204" pitchFamily="34" charset="0"/>
              </a:rPr>
              <a:t>Click to add author</a:t>
            </a:r>
          </a:p>
        </p:txBody>
      </p:sp>
      <p:sp>
        <p:nvSpPr>
          <p:cNvPr id="6" name="Title 1"/>
          <p:cNvSpPr>
            <a:spLocks noGrp="1"/>
          </p:cNvSpPr>
          <p:nvPr>
            <p:ph type="title" hasCustomPrompt="1"/>
          </p:nvPr>
        </p:nvSpPr>
        <p:spPr>
          <a:xfrm>
            <a:off x="482600" y="1807779"/>
            <a:ext cx="7404101" cy="3061084"/>
          </a:xfrm>
        </p:spPr>
        <p:txBody>
          <a:bodyPr/>
          <a:lstStyle>
            <a:lvl1pPr>
              <a:defRPr sz="5400">
                <a:solidFill>
                  <a:schemeClr val="tx2"/>
                </a:solidFill>
              </a:defRPr>
            </a:lvl1pPr>
          </a:lstStyle>
          <a:p>
            <a:r>
              <a:rPr lang="en-US" dirty="0"/>
              <a:t>Click to add quote</a:t>
            </a:r>
          </a:p>
        </p:txBody>
      </p:sp>
    </p:spTree>
    <p:extLst>
      <p:ext uri="{BB962C8B-B14F-4D97-AF65-F5344CB8AC3E}">
        <p14:creationId xmlns:p14="http://schemas.microsoft.com/office/powerpoint/2010/main" val="2228196262"/>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160A2B-5371-CA41-BD2F-F42585E23A6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7B160A2B-5371-CA41-BD2F-F42585E23A6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3">
            <a:extLst>
              <a:ext uri="{FF2B5EF4-FFF2-40B4-BE49-F238E27FC236}">
                <a16:creationId xmlns:a16="http://schemas.microsoft.com/office/drawing/2014/main" id="{2C68D909-7F77-144F-A778-CADD0466B483}"/>
              </a:ext>
            </a:extLst>
          </p:cNvPr>
          <p:cNvSpPr>
            <a:spLocks noGrp="1"/>
          </p:cNvSpPr>
          <p:nvPr>
            <p:ph type="body" sz="half" idx="2" hasCustomPrompt="1"/>
          </p:nvPr>
        </p:nvSpPr>
        <p:spPr>
          <a:xfrm>
            <a:off x="485776" y="4979815"/>
            <a:ext cx="3578224" cy="803619"/>
          </a:xfrm>
        </p:spPr>
        <p:txBody>
          <a:bodyPr anchor="t"/>
          <a:lstStyle>
            <a:lvl1pPr marL="179388" indent="-179388">
              <a:lnSpc>
                <a:spcPct val="100000"/>
              </a:lnSpc>
              <a:spcBef>
                <a:spcPts val="0"/>
              </a:spcBef>
              <a:spcAft>
                <a:spcPts val="0"/>
              </a:spcAft>
              <a:buFont typeface="System Font Regular"/>
              <a:buChar char="–"/>
              <a:tabLst/>
              <a:defRPr lang="en-US" sz="1600" smtClean="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dirty="0">
                <a:effectLst/>
                <a:latin typeface="Arial" panose="020B0604020202020204" pitchFamily="34" charset="0"/>
              </a:rPr>
              <a:t>Click to add author</a:t>
            </a:r>
          </a:p>
        </p:txBody>
      </p:sp>
      <p:sp>
        <p:nvSpPr>
          <p:cNvPr id="9" name="TextBox 8">
            <a:extLst>
              <a:ext uri="{FF2B5EF4-FFF2-40B4-BE49-F238E27FC236}">
                <a16:creationId xmlns:a16="http://schemas.microsoft.com/office/drawing/2014/main" id="{02A92D50-B69F-614A-9C8F-D600BB0D9EB1}"/>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Nº›</a:t>
            </a:fld>
            <a:endParaRPr lang="en-US" sz="800" kern="1200" dirty="0">
              <a:solidFill>
                <a:schemeClr val="bg1"/>
              </a:solidFill>
              <a:effectLst/>
              <a:latin typeface="+mn-lt"/>
              <a:ea typeface="+mn-ea"/>
              <a:cs typeface="+mn-cs"/>
            </a:endParaRPr>
          </a:p>
        </p:txBody>
      </p:sp>
      <p:sp>
        <p:nvSpPr>
          <p:cNvPr id="6" name="Title 1"/>
          <p:cNvSpPr>
            <a:spLocks noGrp="1"/>
          </p:cNvSpPr>
          <p:nvPr>
            <p:ph type="title" hasCustomPrompt="1"/>
          </p:nvPr>
        </p:nvSpPr>
        <p:spPr>
          <a:xfrm>
            <a:off x="482600" y="1807779"/>
            <a:ext cx="7404101" cy="3061084"/>
          </a:xfrm>
        </p:spPr>
        <p:txBody>
          <a:bodyPr/>
          <a:lstStyle>
            <a:lvl1pPr>
              <a:defRPr sz="5400">
                <a:solidFill>
                  <a:schemeClr val="bg1"/>
                </a:solidFill>
              </a:defRPr>
            </a:lvl1pPr>
          </a:lstStyle>
          <a:p>
            <a:r>
              <a:rPr lang="en-US" dirty="0"/>
              <a:t>Click to add quote</a:t>
            </a:r>
          </a:p>
        </p:txBody>
      </p:sp>
    </p:spTree>
    <p:extLst>
      <p:ext uri="{BB962C8B-B14F-4D97-AF65-F5344CB8AC3E}">
        <p14:creationId xmlns:p14="http://schemas.microsoft.com/office/powerpoint/2010/main" val="716148120"/>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p:cSld name="INTERACTIVE ELEMENT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52E706-1FE4-5448-BF88-BDD1A5847DF0}"/>
              </a:ext>
            </a:extLst>
          </p:cNvPr>
          <p:cNvSpPr txBox="1"/>
          <p:nvPr/>
        </p:nvSpPr>
        <p:spPr>
          <a:xfrm>
            <a:off x="374977" y="1582341"/>
            <a:ext cx="7700826" cy="369331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Interactive</a:t>
            </a:r>
          </a:p>
          <a:p>
            <a:pPr algn="l"/>
            <a:r>
              <a:rPr lang="en-US" sz="12000" b="1" i="0" dirty="0">
                <a:solidFill>
                  <a:schemeClr val="bg1"/>
                </a:solidFill>
                <a:latin typeface="Arial" panose="020B0604020202020204" pitchFamily="34" charset="0"/>
                <a:cs typeface="Arial" panose="020B0604020202020204" pitchFamily="34" charset="0"/>
              </a:rPr>
              <a:t>elements</a:t>
            </a:r>
          </a:p>
        </p:txBody>
      </p:sp>
    </p:spTree>
    <p:extLst>
      <p:ext uri="{BB962C8B-B14F-4D97-AF65-F5344CB8AC3E}">
        <p14:creationId xmlns:p14="http://schemas.microsoft.com/office/powerpoint/2010/main" val="1677803381"/>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Interactive top">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485776" y="866775"/>
            <a:ext cx="11461750"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6394451"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p:ph type="body" sz="half" idx="2" hasCustomPrompt="1"/>
          </p:nvPr>
        </p:nvSpPr>
        <p:spPr>
          <a:xfrm>
            <a:off x="485776" y="1311632"/>
            <a:ext cx="11461750"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3" name="Rectangle 2"/>
          <p:cNvSpPr/>
          <p:nvPr userDrawn="1"/>
        </p:nvSpPr>
        <p:spPr>
          <a:xfrm>
            <a:off x="2815" y="-1"/>
            <a:ext cx="12189185" cy="61370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 name="Rectangle 6"/>
          <p:cNvSpPr/>
          <p:nvPr userDrawn="1"/>
        </p:nvSpPr>
        <p:spPr>
          <a:xfrm>
            <a:off x="485776"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1</a:t>
            </a:r>
            <a:endParaRPr lang="en-GB" sz="1400" dirty="0"/>
          </a:p>
        </p:txBody>
      </p:sp>
      <p:sp>
        <p:nvSpPr>
          <p:cNvPr id="8" name="Rectangle 7"/>
          <p:cNvSpPr/>
          <p:nvPr userDrawn="1"/>
        </p:nvSpPr>
        <p:spPr>
          <a:xfrm>
            <a:off x="2437449"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2</a:t>
            </a:r>
            <a:endParaRPr lang="en-GB" sz="1400" dirty="0"/>
          </a:p>
        </p:txBody>
      </p:sp>
      <p:sp>
        <p:nvSpPr>
          <p:cNvPr id="9" name="Rectangle 8"/>
          <p:cNvSpPr/>
          <p:nvPr userDrawn="1"/>
        </p:nvSpPr>
        <p:spPr>
          <a:xfrm>
            <a:off x="4389122"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3</a:t>
            </a:r>
            <a:endParaRPr lang="en-GB" sz="1400" dirty="0"/>
          </a:p>
        </p:txBody>
      </p:sp>
      <p:sp>
        <p:nvSpPr>
          <p:cNvPr id="10" name="Rectangle 9"/>
          <p:cNvSpPr/>
          <p:nvPr userDrawn="1"/>
        </p:nvSpPr>
        <p:spPr>
          <a:xfrm>
            <a:off x="6340795"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4</a:t>
            </a:r>
            <a:endParaRPr lang="en-GB" sz="1400" dirty="0"/>
          </a:p>
        </p:txBody>
      </p:sp>
      <p:sp>
        <p:nvSpPr>
          <p:cNvPr id="11" name="Rectangle 10"/>
          <p:cNvSpPr/>
          <p:nvPr userDrawn="1"/>
        </p:nvSpPr>
        <p:spPr>
          <a:xfrm>
            <a:off x="8292468"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5</a:t>
            </a:r>
            <a:endParaRPr lang="en-GB" sz="1400" dirty="0"/>
          </a:p>
        </p:txBody>
      </p:sp>
      <p:sp>
        <p:nvSpPr>
          <p:cNvPr id="12" name="Rectangle 11"/>
          <p:cNvSpPr/>
          <p:nvPr userDrawn="1"/>
        </p:nvSpPr>
        <p:spPr>
          <a:xfrm>
            <a:off x="10244138"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6</a:t>
            </a:r>
            <a:endParaRPr lang="en-GB" sz="1400" dirty="0"/>
          </a:p>
        </p:txBody>
      </p:sp>
      <p:cxnSp>
        <p:nvCxnSpPr>
          <p:cNvPr id="14" name="Straight Connector 13"/>
          <p:cNvCxnSpPr/>
          <p:nvPr userDrawn="1"/>
        </p:nvCxnSpPr>
        <p:spPr>
          <a:xfrm>
            <a:off x="2314099"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4265772"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6217445"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8169118"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0120791"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Box 12"/>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a:solidFill>
                  <a:srgbClr val="FF0000"/>
                </a:solidFill>
              </a:rPr>
              <a:t>These slides provide</a:t>
            </a:r>
            <a:r>
              <a:rPr lang="en-US" sz="1050" baseline="0" dirty="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a:solidFill>
                <a:srgbClr val="FF0000"/>
              </a:solidFill>
            </a:endParaRPr>
          </a:p>
          <a:p>
            <a:pPr algn="l"/>
            <a:r>
              <a:rPr lang="en-US" sz="1050" baseline="0" dirty="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1594993798"/>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Interactive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485776" y="361950"/>
            <a:ext cx="9509124"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5429250"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p:ph type="body" sz="half" idx="2" hasCustomPrompt="1"/>
          </p:nvPr>
        </p:nvSpPr>
        <p:spPr>
          <a:xfrm>
            <a:off x="485776" y="806807"/>
            <a:ext cx="9509124"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8" name="Rectangle 7"/>
          <p:cNvSpPr/>
          <p:nvPr userDrawn="1"/>
        </p:nvSpPr>
        <p:spPr>
          <a:xfrm>
            <a:off x="10239375" y="3176"/>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a:t>
            </a:r>
            <a:r>
              <a:rPr lang="en-GB" sz="1400" baseline="0" dirty="0"/>
              <a:t> 1</a:t>
            </a:r>
            <a:endParaRPr lang="en-GB" sz="1400" dirty="0"/>
          </a:p>
        </p:txBody>
      </p:sp>
      <p:sp>
        <p:nvSpPr>
          <p:cNvPr id="9" name="Rectangle 8"/>
          <p:cNvSpPr/>
          <p:nvPr userDrawn="1"/>
        </p:nvSpPr>
        <p:spPr>
          <a:xfrm>
            <a:off x="10239375" y="1146251"/>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 </a:t>
            </a:r>
            <a:r>
              <a:rPr lang="en-GB" sz="1400" baseline="0" dirty="0"/>
              <a:t>2</a:t>
            </a:r>
            <a:endParaRPr lang="en-GB" sz="1400" dirty="0"/>
          </a:p>
        </p:txBody>
      </p:sp>
      <p:sp>
        <p:nvSpPr>
          <p:cNvPr id="10" name="Rectangle 9"/>
          <p:cNvSpPr/>
          <p:nvPr userDrawn="1"/>
        </p:nvSpPr>
        <p:spPr>
          <a:xfrm>
            <a:off x="10239375" y="2289325"/>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a:t>
            </a:r>
            <a:r>
              <a:rPr lang="en-GB" sz="1400" baseline="0" dirty="0"/>
              <a:t> 3</a:t>
            </a:r>
            <a:endParaRPr lang="en-GB" sz="1400" dirty="0"/>
          </a:p>
        </p:txBody>
      </p:sp>
      <p:sp>
        <p:nvSpPr>
          <p:cNvPr id="11" name="Rectangle 10"/>
          <p:cNvSpPr/>
          <p:nvPr userDrawn="1"/>
        </p:nvSpPr>
        <p:spPr>
          <a:xfrm>
            <a:off x="10239375" y="3432400"/>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a:t>
            </a:r>
            <a:r>
              <a:rPr lang="en-GB" sz="1400" baseline="0" dirty="0"/>
              <a:t> 4</a:t>
            </a:r>
            <a:endParaRPr lang="en-GB" sz="1400" dirty="0"/>
          </a:p>
        </p:txBody>
      </p:sp>
      <p:sp>
        <p:nvSpPr>
          <p:cNvPr id="12" name="Rectangle 11"/>
          <p:cNvSpPr/>
          <p:nvPr userDrawn="1"/>
        </p:nvSpPr>
        <p:spPr>
          <a:xfrm>
            <a:off x="10239375" y="4575475"/>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a:t>
            </a:r>
            <a:r>
              <a:rPr lang="en-GB" sz="1400" baseline="0" dirty="0"/>
              <a:t> 5</a:t>
            </a:r>
            <a:endParaRPr lang="en-GB" sz="1400" dirty="0"/>
          </a:p>
        </p:txBody>
      </p:sp>
      <p:sp>
        <p:nvSpPr>
          <p:cNvPr id="14" name="Rectangle 13"/>
          <p:cNvSpPr/>
          <p:nvPr userDrawn="1"/>
        </p:nvSpPr>
        <p:spPr>
          <a:xfrm>
            <a:off x="10239375" y="5718547"/>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a:t>
            </a:r>
            <a:r>
              <a:rPr lang="en-GB" sz="1400" baseline="0" dirty="0"/>
              <a:t> 6</a:t>
            </a:r>
            <a:endParaRPr lang="en-GB" sz="1400" dirty="0"/>
          </a:p>
        </p:txBody>
      </p:sp>
      <p:sp>
        <p:nvSpPr>
          <p:cNvPr id="18" name="Freeform 10"/>
          <p:cNvSpPr>
            <a:spLocks noEditPoints="1"/>
          </p:cNvSpPr>
          <p:nvPr userDrawn="1"/>
        </p:nvSpPr>
        <p:spPr bwMode="auto">
          <a:xfrm>
            <a:off x="11069333" y="1424425"/>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23"/>
          <p:cNvSpPr>
            <a:spLocks noEditPoints="1"/>
          </p:cNvSpPr>
          <p:nvPr userDrawn="1"/>
        </p:nvSpPr>
        <p:spPr bwMode="auto">
          <a:xfrm>
            <a:off x="11081842" y="4837714"/>
            <a:ext cx="267691" cy="317727"/>
          </a:xfrm>
          <a:custGeom>
            <a:avLst/>
            <a:gdLst>
              <a:gd name="T0" fmla="*/ 76 w 80"/>
              <a:gd name="T1" fmla="*/ 96 h 96"/>
              <a:gd name="T2" fmla="*/ 40 w 80"/>
              <a:gd name="T3" fmla="*/ 96 h 96"/>
              <a:gd name="T4" fmla="*/ 36 w 80"/>
              <a:gd name="T5" fmla="*/ 92 h 96"/>
              <a:gd name="T6" fmla="*/ 36 w 80"/>
              <a:gd name="T7" fmla="*/ 76 h 96"/>
              <a:gd name="T8" fmla="*/ 40 w 80"/>
              <a:gd name="T9" fmla="*/ 72 h 96"/>
              <a:gd name="T10" fmla="*/ 76 w 80"/>
              <a:gd name="T11" fmla="*/ 72 h 96"/>
              <a:gd name="T12" fmla="*/ 80 w 80"/>
              <a:gd name="T13" fmla="*/ 76 h 96"/>
              <a:gd name="T14" fmla="*/ 80 w 80"/>
              <a:gd name="T15" fmla="*/ 92 h 96"/>
              <a:gd name="T16" fmla="*/ 76 w 80"/>
              <a:gd name="T17" fmla="*/ 96 h 96"/>
              <a:gd name="T18" fmla="*/ 44 w 80"/>
              <a:gd name="T19" fmla="*/ 88 h 96"/>
              <a:gd name="T20" fmla="*/ 72 w 80"/>
              <a:gd name="T21" fmla="*/ 88 h 96"/>
              <a:gd name="T22" fmla="*/ 72 w 80"/>
              <a:gd name="T23" fmla="*/ 80 h 96"/>
              <a:gd name="T24" fmla="*/ 44 w 80"/>
              <a:gd name="T25" fmla="*/ 80 h 96"/>
              <a:gd name="T26" fmla="*/ 44 w 80"/>
              <a:gd name="T27" fmla="*/ 88 h 96"/>
              <a:gd name="T28" fmla="*/ 76 w 80"/>
              <a:gd name="T29" fmla="*/ 64 h 96"/>
              <a:gd name="T30" fmla="*/ 4 w 80"/>
              <a:gd name="T31" fmla="*/ 64 h 96"/>
              <a:gd name="T32" fmla="*/ 0 w 80"/>
              <a:gd name="T33" fmla="*/ 60 h 96"/>
              <a:gd name="T34" fmla="*/ 0 w 80"/>
              <a:gd name="T35" fmla="*/ 4 h 96"/>
              <a:gd name="T36" fmla="*/ 4 w 80"/>
              <a:gd name="T37" fmla="*/ 0 h 96"/>
              <a:gd name="T38" fmla="*/ 76 w 80"/>
              <a:gd name="T39" fmla="*/ 0 h 96"/>
              <a:gd name="T40" fmla="*/ 80 w 80"/>
              <a:gd name="T41" fmla="*/ 4 h 96"/>
              <a:gd name="T42" fmla="*/ 80 w 80"/>
              <a:gd name="T43" fmla="*/ 60 h 96"/>
              <a:gd name="T44" fmla="*/ 76 w 80"/>
              <a:gd name="T45" fmla="*/ 64 h 96"/>
              <a:gd name="T46" fmla="*/ 8 w 80"/>
              <a:gd name="T47" fmla="*/ 56 h 96"/>
              <a:gd name="T48" fmla="*/ 72 w 80"/>
              <a:gd name="T49" fmla="*/ 56 h 96"/>
              <a:gd name="T50" fmla="*/ 72 w 80"/>
              <a:gd name="T51" fmla="*/ 24 h 96"/>
              <a:gd name="T52" fmla="*/ 8 w 80"/>
              <a:gd name="T53" fmla="*/ 24 h 96"/>
              <a:gd name="T54" fmla="*/ 8 w 80"/>
              <a:gd name="T55" fmla="*/ 56 h 96"/>
              <a:gd name="T56" fmla="*/ 8 w 80"/>
              <a:gd name="T57" fmla="*/ 16 h 96"/>
              <a:gd name="T58" fmla="*/ 72 w 80"/>
              <a:gd name="T59" fmla="*/ 16 h 96"/>
              <a:gd name="T60" fmla="*/ 72 w 80"/>
              <a:gd name="T61" fmla="*/ 8 h 96"/>
              <a:gd name="T62" fmla="*/ 8 w 80"/>
              <a:gd name="T63" fmla="*/ 8 h 96"/>
              <a:gd name="T64" fmla="*/ 8 w 80"/>
              <a:gd name="T65"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96">
                <a:moveTo>
                  <a:pt x="76" y="96"/>
                </a:moveTo>
                <a:cubicBezTo>
                  <a:pt x="40" y="96"/>
                  <a:pt x="40" y="96"/>
                  <a:pt x="40" y="96"/>
                </a:cubicBezTo>
                <a:cubicBezTo>
                  <a:pt x="38" y="96"/>
                  <a:pt x="36" y="94"/>
                  <a:pt x="36" y="92"/>
                </a:cubicBezTo>
                <a:cubicBezTo>
                  <a:pt x="36" y="76"/>
                  <a:pt x="36" y="76"/>
                  <a:pt x="36" y="76"/>
                </a:cubicBezTo>
                <a:cubicBezTo>
                  <a:pt x="36" y="74"/>
                  <a:pt x="38" y="72"/>
                  <a:pt x="40" y="72"/>
                </a:cubicBezTo>
                <a:cubicBezTo>
                  <a:pt x="76" y="72"/>
                  <a:pt x="76" y="72"/>
                  <a:pt x="76" y="72"/>
                </a:cubicBezTo>
                <a:cubicBezTo>
                  <a:pt x="78" y="72"/>
                  <a:pt x="80" y="74"/>
                  <a:pt x="80" y="76"/>
                </a:cubicBezTo>
                <a:cubicBezTo>
                  <a:pt x="80" y="92"/>
                  <a:pt x="80" y="92"/>
                  <a:pt x="80" y="92"/>
                </a:cubicBezTo>
                <a:cubicBezTo>
                  <a:pt x="80" y="94"/>
                  <a:pt x="78" y="96"/>
                  <a:pt x="76" y="96"/>
                </a:cubicBezTo>
                <a:close/>
                <a:moveTo>
                  <a:pt x="44" y="88"/>
                </a:moveTo>
                <a:cubicBezTo>
                  <a:pt x="72" y="88"/>
                  <a:pt x="72" y="88"/>
                  <a:pt x="72" y="88"/>
                </a:cubicBezTo>
                <a:cubicBezTo>
                  <a:pt x="72" y="80"/>
                  <a:pt x="72" y="80"/>
                  <a:pt x="72" y="80"/>
                </a:cubicBezTo>
                <a:cubicBezTo>
                  <a:pt x="44" y="80"/>
                  <a:pt x="44" y="80"/>
                  <a:pt x="44" y="80"/>
                </a:cubicBezTo>
                <a:lnTo>
                  <a:pt x="44" y="88"/>
                </a:lnTo>
                <a:close/>
                <a:moveTo>
                  <a:pt x="76" y="64"/>
                </a:moveTo>
                <a:cubicBezTo>
                  <a:pt x="4" y="64"/>
                  <a:pt x="4" y="64"/>
                  <a:pt x="4" y="64"/>
                </a:cubicBezTo>
                <a:cubicBezTo>
                  <a:pt x="2" y="64"/>
                  <a:pt x="0" y="62"/>
                  <a:pt x="0" y="60"/>
                </a:cubicBezTo>
                <a:cubicBezTo>
                  <a:pt x="0" y="4"/>
                  <a:pt x="0" y="4"/>
                  <a:pt x="0" y="4"/>
                </a:cubicBezTo>
                <a:cubicBezTo>
                  <a:pt x="0" y="2"/>
                  <a:pt x="2" y="0"/>
                  <a:pt x="4" y="0"/>
                </a:cubicBezTo>
                <a:cubicBezTo>
                  <a:pt x="76" y="0"/>
                  <a:pt x="76" y="0"/>
                  <a:pt x="76" y="0"/>
                </a:cubicBezTo>
                <a:cubicBezTo>
                  <a:pt x="78" y="0"/>
                  <a:pt x="80" y="2"/>
                  <a:pt x="80" y="4"/>
                </a:cubicBezTo>
                <a:cubicBezTo>
                  <a:pt x="80" y="60"/>
                  <a:pt x="80" y="60"/>
                  <a:pt x="80" y="60"/>
                </a:cubicBezTo>
                <a:cubicBezTo>
                  <a:pt x="80" y="62"/>
                  <a:pt x="78" y="64"/>
                  <a:pt x="76" y="64"/>
                </a:cubicBezTo>
                <a:close/>
                <a:moveTo>
                  <a:pt x="8" y="56"/>
                </a:moveTo>
                <a:cubicBezTo>
                  <a:pt x="72" y="56"/>
                  <a:pt x="72" y="56"/>
                  <a:pt x="72" y="56"/>
                </a:cubicBezTo>
                <a:cubicBezTo>
                  <a:pt x="72" y="24"/>
                  <a:pt x="72" y="24"/>
                  <a:pt x="72" y="24"/>
                </a:cubicBezTo>
                <a:cubicBezTo>
                  <a:pt x="8" y="24"/>
                  <a:pt x="8" y="24"/>
                  <a:pt x="8" y="24"/>
                </a:cubicBezTo>
                <a:lnTo>
                  <a:pt x="8" y="56"/>
                </a:lnTo>
                <a:close/>
                <a:moveTo>
                  <a:pt x="8" y="16"/>
                </a:moveTo>
                <a:cubicBezTo>
                  <a:pt x="72" y="16"/>
                  <a:pt x="72" y="16"/>
                  <a:pt x="72" y="16"/>
                </a:cubicBezTo>
                <a:cubicBezTo>
                  <a:pt x="72" y="8"/>
                  <a:pt x="72" y="8"/>
                  <a:pt x="72" y="8"/>
                </a:cubicBezTo>
                <a:cubicBezTo>
                  <a:pt x="8" y="8"/>
                  <a:pt x="8" y="8"/>
                  <a:pt x="8" y="8"/>
                </a:cubicBezTo>
                <a:lnTo>
                  <a:pt x="8"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0" name="Group 13"/>
          <p:cNvGrpSpPr>
            <a:grpSpLocks noChangeAspect="1"/>
          </p:cNvGrpSpPr>
          <p:nvPr userDrawn="1"/>
        </p:nvGrpSpPr>
        <p:grpSpPr bwMode="auto">
          <a:xfrm>
            <a:off x="11081216" y="2554763"/>
            <a:ext cx="268942" cy="323982"/>
            <a:chOff x="292" y="2131"/>
            <a:chExt cx="215" cy="259"/>
          </a:xfrm>
          <a:solidFill>
            <a:schemeClr val="bg1"/>
          </a:solidFill>
        </p:grpSpPr>
        <p:sp>
          <p:nvSpPr>
            <p:cNvPr id="21"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 name="Group 26"/>
          <p:cNvGrpSpPr>
            <a:grpSpLocks noChangeAspect="1"/>
          </p:cNvGrpSpPr>
          <p:nvPr userDrawn="1"/>
        </p:nvGrpSpPr>
        <p:grpSpPr bwMode="auto">
          <a:xfrm>
            <a:off x="11081841" y="5970546"/>
            <a:ext cx="267692" cy="317727"/>
            <a:chOff x="3091" y="1784"/>
            <a:chExt cx="214" cy="254"/>
          </a:xfrm>
          <a:solidFill>
            <a:schemeClr val="bg1"/>
          </a:solidFill>
        </p:grpSpPr>
        <p:sp>
          <p:nvSpPr>
            <p:cNvPr id="24" name="Freeform 27"/>
            <p:cNvSpPr>
              <a:spLocks noEditPoints="1"/>
            </p:cNvSpPr>
            <p:nvPr/>
          </p:nvSpPr>
          <p:spPr bwMode="auto">
            <a:xfrm>
              <a:off x="3091" y="1784"/>
              <a:ext cx="214" cy="254"/>
            </a:xfrm>
            <a:custGeom>
              <a:avLst/>
              <a:gdLst>
                <a:gd name="T0" fmla="*/ 76 w 80"/>
                <a:gd name="T1" fmla="*/ 96 h 96"/>
                <a:gd name="T2" fmla="*/ 4 w 80"/>
                <a:gd name="T3" fmla="*/ 96 h 96"/>
                <a:gd name="T4" fmla="*/ 0 w 80"/>
                <a:gd name="T5" fmla="*/ 92 h 96"/>
                <a:gd name="T6" fmla="*/ 0 w 80"/>
                <a:gd name="T7" fmla="*/ 4 h 96"/>
                <a:gd name="T8" fmla="*/ 4 w 80"/>
                <a:gd name="T9" fmla="*/ 0 h 96"/>
                <a:gd name="T10" fmla="*/ 76 w 80"/>
                <a:gd name="T11" fmla="*/ 0 h 96"/>
                <a:gd name="T12" fmla="*/ 80 w 80"/>
                <a:gd name="T13" fmla="*/ 4 h 96"/>
                <a:gd name="T14" fmla="*/ 80 w 80"/>
                <a:gd name="T15" fmla="*/ 92 h 96"/>
                <a:gd name="T16" fmla="*/ 76 w 80"/>
                <a:gd name="T17" fmla="*/ 96 h 96"/>
                <a:gd name="T18" fmla="*/ 8 w 80"/>
                <a:gd name="T19" fmla="*/ 88 h 96"/>
                <a:gd name="T20" fmla="*/ 72 w 80"/>
                <a:gd name="T21" fmla="*/ 88 h 96"/>
                <a:gd name="T22" fmla="*/ 72 w 80"/>
                <a:gd name="T23" fmla="*/ 8 h 96"/>
                <a:gd name="T24" fmla="*/ 8 w 80"/>
                <a:gd name="T25" fmla="*/ 8 h 96"/>
                <a:gd name="T26" fmla="*/ 8 w 80"/>
                <a:gd name="T27" fmla="*/ 88 h 96"/>
                <a:gd name="T28" fmla="*/ 40 w 80"/>
                <a:gd name="T29" fmla="*/ 80 h 96"/>
                <a:gd name="T30" fmla="*/ 36 w 80"/>
                <a:gd name="T31" fmla="*/ 76 h 96"/>
                <a:gd name="T32" fmla="*/ 36 w 80"/>
                <a:gd name="T33" fmla="*/ 20 h 96"/>
                <a:gd name="T34" fmla="*/ 40 w 80"/>
                <a:gd name="T35" fmla="*/ 16 h 96"/>
                <a:gd name="T36" fmla="*/ 44 w 80"/>
                <a:gd name="T37" fmla="*/ 20 h 96"/>
                <a:gd name="T38" fmla="*/ 44 w 80"/>
                <a:gd name="T39" fmla="*/ 76 h 96"/>
                <a:gd name="T40" fmla="*/ 40 w 80"/>
                <a:gd name="T41" fmla="*/ 8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96">
                  <a:moveTo>
                    <a:pt x="76" y="96"/>
                  </a:moveTo>
                  <a:cubicBezTo>
                    <a:pt x="4" y="96"/>
                    <a:pt x="4" y="96"/>
                    <a:pt x="4" y="96"/>
                  </a:cubicBezTo>
                  <a:cubicBezTo>
                    <a:pt x="2" y="96"/>
                    <a:pt x="0" y="94"/>
                    <a:pt x="0" y="92"/>
                  </a:cubicBezTo>
                  <a:cubicBezTo>
                    <a:pt x="0" y="4"/>
                    <a:pt x="0" y="4"/>
                    <a:pt x="0" y="4"/>
                  </a:cubicBezTo>
                  <a:cubicBezTo>
                    <a:pt x="0" y="2"/>
                    <a:pt x="2" y="0"/>
                    <a:pt x="4" y="0"/>
                  </a:cubicBezTo>
                  <a:cubicBezTo>
                    <a:pt x="76" y="0"/>
                    <a:pt x="76" y="0"/>
                    <a:pt x="76" y="0"/>
                  </a:cubicBezTo>
                  <a:cubicBezTo>
                    <a:pt x="78" y="0"/>
                    <a:pt x="80" y="2"/>
                    <a:pt x="80" y="4"/>
                  </a:cubicBezTo>
                  <a:cubicBezTo>
                    <a:pt x="80" y="92"/>
                    <a:pt x="80" y="92"/>
                    <a:pt x="80" y="92"/>
                  </a:cubicBezTo>
                  <a:cubicBezTo>
                    <a:pt x="80" y="94"/>
                    <a:pt x="78" y="96"/>
                    <a:pt x="76" y="96"/>
                  </a:cubicBezTo>
                  <a:close/>
                  <a:moveTo>
                    <a:pt x="8" y="88"/>
                  </a:moveTo>
                  <a:cubicBezTo>
                    <a:pt x="72" y="88"/>
                    <a:pt x="72" y="88"/>
                    <a:pt x="72" y="88"/>
                  </a:cubicBezTo>
                  <a:cubicBezTo>
                    <a:pt x="72" y="8"/>
                    <a:pt x="72" y="8"/>
                    <a:pt x="72" y="8"/>
                  </a:cubicBezTo>
                  <a:cubicBezTo>
                    <a:pt x="8" y="8"/>
                    <a:pt x="8" y="8"/>
                    <a:pt x="8" y="8"/>
                  </a:cubicBezTo>
                  <a:lnTo>
                    <a:pt x="8" y="88"/>
                  </a:lnTo>
                  <a:close/>
                  <a:moveTo>
                    <a:pt x="40" y="80"/>
                  </a:moveTo>
                  <a:cubicBezTo>
                    <a:pt x="38" y="80"/>
                    <a:pt x="36" y="78"/>
                    <a:pt x="36" y="76"/>
                  </a:cubicBezTo>
                  <a:cubicBezTo>
                    <a:pt x="36" y="20"/>
                    <a:pt x="36" y="20"/>
                    <a:pt x="36" y="20"/>
                  </a:cubicBezTo>
                  <a:cubicBezTo>
                    <a:pt x="36" y="18"/>
                    <a:pt x="38" y="16"/>
                    <a:pt x="40" y="16"/>
                  </a:cubicBezTo>
                  <a:cubicBezTo>
                    <a:pt x="42" y="16"/>
                    <a:pt x="44" y="18"/>
                    <a:pt x="44" y="20"/>
                  </a:cubicBezTo>
                  <a:cubicBezTo>
                    <a:pt x="44" y="76"/>
                    <a:pt x="44" y="76"/>
                    <a:pt x="44" y="76"/>
                  </a:cubicBezTo>
                  <a:cubicBezTo>
                    <a:pt x="44" y="78"/>
                    <a:pt x="42"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8"/>
            <p:cNvSpPr>
              <a:spLocks/>
            </p:cNvSpPr>
            <p:nvPr/>
          </p:nvSpPr>
          <p:spPr bwMode="auto">
            <a:xfrm>
              <a:off x="3145" y="1837"/>
              <a:ext cx="101" cy="138"/>
            </a:xfrm>
            <a:custGeom>
              <a:avLst/>
              <a:gdLst>
                <a:gd name="T0" fmla="*/ 19 w 38"/>
                <a:gd name="T1" fmla="*/ 52 h 52"/>
                <a:gd name="T2" fmla="*/ 3 w 38"/>
                <a:gd name="T3" fmla="*/ 49 h 52"/>
                <a:gd name="T4" fmla="*/ 1 w 38"/>
                <a:gd name="T5" fmla="*/ 43 h 52"/>
                <a:gd name="T6" fmla="*/ 6 w 38"/>
                <a:gd name="T7" fmla="*/ 41 h 52"/>
                <a:gd name="T8" fmla="*/ 27 w 38"/>
                <a:gd name="T9" fmla="*/ 42 h 52"/>
                <a:gd name="T10" fmla="*/ 29 w 38"/>
                <a:gd name="T11" fmla="*/ 37 h 52"/>
                <a:gd name="T12" fmla="*/ 19 w 38"/>
                <a:gd name="T13" fmla="*/ 31 h 52"/>
                <a:gd name="T14" fmla="*/ 3 w 38"/>
                <a:gd name="T15" fmla="*/ 15 h 52"/>
                <a:gd name="T16" fmla="*/ 9 w 38"/>
                <a:gd name="T17" fmla="*/ 4 h 52"/>
                <a:gd name="T18" fmla="*/ 36 w 38"/>
                <a:gd name="T19" fmla="*/ 5 h 52"/>
                <a:gd name="T20" fmla="*/ 37 w 38"/>
                <a:gd name="T21" fmla="*/ 11 h 52"/>
                <a:gd name="T22" fmla="*/ 32 w 38"/>
                <a:gd name="T23" fmla="*/ 12 h 52"/>
                <a:gd name="T24" fmla="*/ 13 w 38"/>
                <a:gd name="T25" fmla="*/ 11 h 52"/>
                <a:gd name="T26" fmla="*/ 11 w 38"/>
                <a:gd name="T27" fmla="*/ 15 h 52"/>
                <a:gd name="T28" fmla="*/ 22 w 38"/>
                <a:gd name="T29" fmla="*/ 23 h 52"/>
                <a:gd name="T30" fmla="*/ 37 w 38"/>
                <a:gd name="T31" fmla="*/ 37 h 52"/>
                <a:gd name="T32" fmla="*/ 31 w 38"/>
                <a:gd name="T33" fmla="*/ 49 h 52"/>
                <a:gd name="T34" fmla="*/ 19 w 38"/>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2">
                  <a:moveTo>
                    <a:pt x="19" y="52"/>
                  </a:moveTo>
                  <a:cubicBezTo>
                    <a:pt x="14" y="52"/>
                    <a:pt x="8" y="50"/>
                    <a:pt x="3" y="49"/>
                  </a:cubicBezTo>
                  <a:cubicBezTo>
                    <a:pt x="1" y="48"/>
                    <a:pt x="0" y="45"/>
                    <a:pt x="1" y="43"/>
                  </a:cubicBezTo>
                  <a:cubicBezTo>
                    <a:pt x="1" y="41"/>
                    <a:pt x="4" y="40"/>
                    <a:pt x="6" y="41"/>
                  </a:cubicBezTo>
                  <a:cubicBezTo>
                    <a:pt x="14" y="44"/>
                    <a:pt x="23" y="45"/>
                    <a:pt x="27" y="42"/>
                  </a:cubicBezTo>
                  <a:cubicBezTo>
                    <a:pt x="28" y="41"/>
                    <a:pt x="29" y="40"/>
                    <a:pt x="29" y="37"/>
                  </a:cubicBezTo>
                  <a:cubicBezTo>
                    <a:pt x="29" y="34"/>
                    <a:pt x="26" y="33"/>
                    <a:pt x="19" y="31"/>
                  </a:cubicBezTo>
                  <a:cubicBezTo>
                    <a:pt x="12" y="28"/>
                    <a:pt x="3" y="25"/>
                    <a:pt x="3" y="15"/>
                  </a:cubicBezTo>
                  <a:cubicBezTo>
                    <a:pt x="3" y="10"/>
                    <a:pt x="5" y="6"/>
                    <a:pt x="9" y="4"/>
                  </a:cubicBezTo>
                  <a:cubicBezTo>
                    <a:pt x="17" y="0"/>
                    <a:pt x="30" y="2"/>
                    <a:pt x="36" y="5"/>
                  </a:cubicBezTo>
                  <a:cubicBezTo>
                    <a:pt x="37" y="6"/>
                    <a:pt x="38" y="9"/>
                    <a:pt x="37" y="11"/>
                  </a:cubicBezTo>
                  <a:cubicBezTo>
                    <a:pt x="36" y="13"/>
                    <a:pt x="34" y="13"/>
                    <a:pt x="32" y="12"/>
                  </a:cubicBezTo>
                  <a:cubicBezTo>
                    <a:pt x="28" y="10"/>
                    <a:pt x="18" y="8"/>
                    <a:pt x="13" y="11"/>
                  </a:cubicBezTo>
                  <a:cubicBezTo>
                    <a:pt x="11" y="12"/>
                    <a:pt x="11" y="13"/>
                    <a:pt x="11" y="15"/>
                  </a:cubicBezTo>
                  <a:cubicBezTo>
                    <a:pt x="11" y="19"/>
                    <a:pt x="14" y="21"/>
                    <a:pt x="22" y="23"/>
                  </a:cubicBezTo>
                  <a:cubicBezTo>
                    <a:pt x="28" y="25"/>
                    <a:pt x="37" y="28"/>
                    <a:pt x="37" y="37"/>
                  </a:cubicBezTo>
                  <a:cubicBezTo>
                    <a:pt x="37" y="43"/>
                    <a:pt x="34" y="47"/>
                    <a:pt x="31" y="49"/>
                  </a:cubicBezTo>
                  <a:cubicBezTo>
                    <a:pt x="28" y="51"/>
                    <a:pt x="24" y="52"/>
                    <a:pt x="1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4"/>
          <p:cNvGrpSpPr>
            <a:grpSpLocks noChangeAspect="1"/>
          </p:cNvGrpSpPr>
          <p:nvPr userDrawn="1"/>
        </p:nvGrpSpPr>
        <p:grpSpPr bwMode="auto">
          <a:xfrm>
            <a:off x="11055573" y="291565"/>
            <a:ext cx="320229" cy="292709"/>
            <a:chOff x="293" y="695"/>
            <a:chExt cx="256" cy="234"/>
          </a:xfrm>
          <a:solidFill>
            <a:schemeClr val="bg1"/>
          </a:solidFill>
        </p:grpSpPr>
        <p:sp>
          <p:nvSpPr>
            <p:cNvPr id="27"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9" name="Freeform 19"/>
          <p:cNvSpPr>
            <a:spLocks noEditPoints="1"/>
          </p:cNvSpPr>
          <p:nvPr userDrawn="1"/>
        </p:nvSpPr>
        <p:spPr bwMode="auto">
          <a:xfrm>
            <a:off x="11063704" y="3701460"/>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0" name="TextBox 29"/>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a:solidFill>
                  <a:srgbClr val="FF0000"/>
                </a:solidFill>
              </a:rPr>
              <a:t>These slides provide</a:t>
            </a:r>
            <a:r>
              <a:rPr lang="en-US" sz="1050" baseline="0" dirty="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a:solidFill>
                <a:srgbClr val="FF0000"/>
              </a:solidFill>
            </a:endParaRPr>
          </a:p>
          <a:p>
            <a:pPr algn="l"/>
            <a:r>
              <a:rPr lang="en-US" sz="1050" baseline="0" dirty="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1527809019"/>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Interactive right condensed">
    <p:spTree>
      <p:nvGrpSpPr>
        <p:cNvPr id="1" name=""/>
        <p:cNvGrpSpPr/>
        <p:nvPr/>
      </p:nvGrpSpPr>
      <p:grpSpPr>
        <a:xfrm>
          <a:off x="0" y="0"/>
          <a:ext cx="0" cy="0"/>
          <a:chOff x="0" y="0"/>
          <a:chExt cx="0" cy="0"/>
        </a:xfrm>
      </p:grpSpPr>
      <p:sp>
        <p:nvSpPr>
          <p:cNvPr id="88" name="Rectangle 87"/>
          <p:cNvSpPr/>
          <p:nvPr userDrawn="1"/>
        </p:nvSpPr>
        <p:spPr>
          <a:xfrm>
            <a:off x="10033000" y="0"/>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6" name="Rectangle 65"/>
          <p:cNvSpPr/>
          <p:nvPr userDrawn="1"/>
        </p:nvSpPr>
        <p:spPr>
          <a:xfrm>
            <a:off x="10033000" y="685682"/>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7" name="Rectangle 66"/>
          <p:cNvSpPr/>
          <p:nvPr userDrawn="1"/>
        </p:nvSpPr>
        <p:spPr>
          <a:xfrm>
            <a:off x="10033000" y="1371364"/>
            <a:ext cx="2159000" cy="68685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3" name="Rectangle 102"/>
          <p:cNvSpPr/>
          <p:nvPr userDrawn="1"/>
        </p:nvSpPr>
        <p:spPr>
          <a:xfrm>
            <a:off x="10033000" y="2057046"/>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4" name="Rectangle 103"/>
          <p:cNvSpPr/>
          <p:nvPr userDrawn="1"/>
        </p:nvSpPr>
        <p:spPr>
          <a:xfrm>
            <a:off x="10033000" y="2742728"/>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5" name="Rectangle 104"/>
          <p:cNvSpPr/>
          <p:nvPr userDrawn="1"/>
        </p:nvSpPr>
        <p:spPr>
          <a:xfrm>
            <a:off x="10033000" y="3428410"/>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6" name="Rectangle 105"/>
          <p:cNvSpPr/>
          <p:nvPr userDrawn="1"/>
        </p:nvSpPr>
        <p:spPr>
          <a:xfrm>
            <a:off x="10033000" y="4114092"/>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7" name="Rectangle 106"/>
          <p:cNvSpPr/>
          <p:nvPr userDrawn="1"/>
        </p:nvSpPr>
        <p:spPr>
          <a:xfrm>
            <a:off x="10033000" y="4799774"/>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8" name="Rectangle 107"/>
          <p:cNvSpPr/>
          <p:nvPr userDrawn="1"/>
        </p:nvSpPr>
        <p:spPr>
          <a:xfrm>
            <a:off x="10033000" y="5485456"/>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9" name="Rectangle 108"/>
          <p:cNvSpPr/>
          <p:nvPr userDrawn="1"/>
        </p:nvSpPr>
        <p:spPr>
          <a:xfrm>
            <a:off x="10033000" y="6171142"/>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userDrawn="1">
            <p:ph type="title" hasCustomPrompt="1"/>
          </p:nvPr>
        </p:nvSpPr>
        <p:spPr>
          <a:xfrm>
            <a:off x="485776" y="361950"/>
            <a:ext cx="9509124"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userDrawn="1">
            <p:ph type="body" sz="half" idx="15" hasCustomPrompt="1"/>
          </p:nvPr>
        </p:nvSpPr>
        <p:spPr>
          <a:xfrm>
            <a:off x="5200650"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userDrawn="1">
            <p:ph type="body" sz="half" idx="2" hasCustomPrompt="1"/>
          </p:nvPr>
        </p:nvSpPr>
        <p:spPr>
          <a:xfrm>
            <a:off x="485776" y="806807"/>
            <a:ext cx="9509124"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grpSp>
        <p:nvGrpSpPr>
          <p:cNvPr id="100" name="Group 99"/>
          <p:cNvGrpSpPr/>
          <p:nvPr userDrawn="1"/>
        </p:nvGrpSpPr>
        <p:grpSpPr>
          <a:xfrm>
            <a:off x="10460877" y="866671"/>
            <a:ext cx="1208299" cy="268942"/>
            <a:chOff x="10460877" y="887251"/>
            <a:chExt cx="1208299" cy="268942"/>
          </a:xfrm>
        </p:grpSpPr>
        <p:sp>
          <p:nvSpPr>
            <p:cNvPr id="9" name="Rectangle 8"/>
            <p:cNvSpPr/>
            <p:nvPr userDrawn="1"/>
          </p:nvSpPr>
          <p:spPr>
            <a:xfrm>
              <a:off x="10922177" y="913999"/>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 </a:t>
              </a:r>
              <a:r>
                <a:rPr lang="en-GB" sz="1400" baseline="0" dirty="0">
                  <a:solidFill>
                    <a:schemeClr val="accent2"/>
                  </a:solidFill>
                </a:rPr>
                <a:t>2</a:t>
              </a:r>
              <a:endParaRPr lang="en-GB" sz="1400" dirty="0">
                <a:solidFill>
                  <a:schemeClr val="accent2"/>
                </a:solidFill>
              </a:endParaRPr>
            </a:p>
          </p:txBody>
        </p:sp>
        <p:sp>
          <p:nvSpPr>
            <p:cNvPr id="68" name="Freeform 10"/>
            <p:cNvSpPr>
              <a:spLocks noEditPoints="1"/>
            </p:cNvSpPr>
            <p:nvPr userDrawn="1"/>
          </p:nvSpPr>
          <p:spPr bwMode="auto">
            <a:xfrm>
              <a:off x="10460877" y="887251"/>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5" name="Group 24"/>
          <p:cNvGrpSpPr/>
          <p:nvPr userDrawn="1"/>
        </p:nvGrpSpPr>
        <p:grpSpPr>
          <a:xfrm>
            <a:off x="10473386" y="2911468"/>
            <a:ext cx="1195790" cy="317727"/>
            <a:chOff x="10473386" y="2964687"/>
            <a:chExt cx="1195790" cy="317727"/>
          </a:xfrm>
        </p:grpSpPr>
        <p:sp>
          <p:nvSpPr>
            <p:cNvPr id="12" name="Rectangle 11"/>
            <p:cNvSpPr/>
            <p:nvPr userDrawn="1"/>
          </p:nvSpPr>
          <p:spPr>
            <a:xfrm>
              <a:off x="10922177" y="2977382"/>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5</a:t>
              </a:r>
              <a:endParaRPr lang="en-GB" sz="1400" dirty="0">
                <a:solidFill>
                  <a:schemeClr val="accent2"/>
                </a:solidFill>
              </a:endParaRPr>
            </a:p>
          </p:txBody>
        </p:sp>
        <p:sp>
          <p:nvSpPr>
            <p:cNvPr id="69" name="Freeform 23"/>
            <p:cNvSpPr>
              <a:spLocks noEditPoints="1"/>
            </p:cNvSpPr>
            <p:nvPr userDrawn="1"/>
          </p:nvSpPr>
          <p:spPr bwMode="auto">
            <a:xfrm>
              <a:off x="10473386" y="2964687"/>
              <a:ext cx="267691" cy="317727"/>
            </a:xfrm>
            <a:custGeom>
              <a:avLst/>
              <a:gdLst>
                <a:gd name="T0" fmla="*/ 76 w 80"/>
                <a:gd name="T1" fmla="*/ 96 h 96"/>
                <a:gd name="T2" fmla="*/ 40 w 80"/>
                <a:gd name="T3" fmla="*/ 96 h 96"/>
                <a:gd name="T4" fmla="*/ 36 w 80"/>
                <a:gd name="T5" fmla="*/ 92 h 96"/>
                <a:gd name="T6" fmla="*/ 36 w 80"/>
                <a:gd name="T7" fmla="*/ 76 h 96"/>
                <a:gd name="T8" fmla="*/ 40 w 80"/>
                <a:gd name="T9" fmla="*/ 72 h 96"/>
                <a:gd name="T10" fmla="*/ 76 w 80"/>
                <a:gd name="T11" fmla="*/ 72 h 96"/>
                <a:gd name="T12" fmla="*/ 80 w 80"/>
                <a:gd name="T13" fmla="*/ 76 h 96"/>
                <a:gd name="T14" fmla="*/ 80 w 80"/>
                <a:gd name="T15" fmla="*/ 92 h 96"/>
                <a:gd name="T16" fmla="*/ 76 w 80"/>
                <a:gd name="T17" fmla="*/ 96 h 96"/>
                <a:gd name="T18" fmla="*/ 44 w 80"/>
                <a:gd name="T19" fmla="*/ 88 h 96"/>
                <a:gd name="T20" fmla="*/ 72 w 80"/>
                <a:gd name="T21" fmla="*/ 88 h 96"/>
                <a:gd name="T22" fmla="*/ 72 w 80"/>
                <a:gd name="T23" fmla="*/ 80 h 96"/>
                <a:gd name="T24" fmla="*/ 44 w 80"/>
                <a:gd name="T25" fmla="*/ 80 h 96"/>
                <a:gd name="T26" fmla="*/ 44 w 80"/>
                <a:gd name="T27" fmla="*/ 88 h 96"/>
                <a:gd name="T28" fmla="*/ 76 w 80"/>
                <a:gd name="T29" fmla="*/ 64 h 96"/>
                <a:gd name="T30" fmla="*/ 4 w 80"/>
                <a:gd name="T31" fmla="*/ 64 h 96"/>
                <a:gd name="T32" fmla="*/ 0 w 80"/>
                <a:gd name="T33" fmla="*/ 60 h 96"/>
                <a:gd name="T34" fmla="*/ 0 w 80"/>
                <a:gd name="T35" fmla="*/ 4 h 96"/>
                <a:gd name="T36" fmla="*/ 4 w 80"/>
                <a:gd name="T37" fmla="*/ 0 h 96"/>
                <a:gd name="T38" fmla="*/ 76 w 80"/>
                <a:gd name="T39" fmla="*/ 0 h 96"/>
                <a:gd name="T40" fmla="*/ 80 w 80"/>
                <a:gd name="T41" fmla="*/ 4 h 96"/>
                <a:gd name="T42" fmla="*/ 80 w 80"/>
                <a:gd name="T43" fmla="*/ 60 h 96"/>
                <a:gd name="T44" fmla="*/ 76 w 80"/>
                <a:gd name="T45" fmla="*/ 64 h 96"/>
                <a:gd name="T46" fmla="*/ 8 w 80"/>
                <a:gd name="T47" fmla="*/ 56 h 96"/>
                <a:gd name="T48" fmla="*/ 72 w 80"/>
                <a:gd name="T49" fmla="*/ 56 h 96"/>
                <a:gd name="T50" fmla="*/ 72 w 80"/>
                <a:gd name="T51" fmla="*/ 24 h 96"/>
                <a:gd name="T52" fmla="*/ 8 w 80"/>
                <a:gd name="T53" fmla="*/ 24 h 96"/>
                <a:gd name="T54" fmla="*/ 8 w 80"/>
                <a:gd name="T55" fmla="*/ 56 h 96"/>
                <a:gd name="T56" fmla="*/ 8 w 80"/>
                <a:gd name="T57" fmla="*/ 16 h 96"/>
                <a:gd name="T58" fmla="*/ 72 w 80"/>
                <a:gd name="T59" fmla="*/ 16 h 96"/>
                <a:gd name="T60" fmla="*/ 72 w 80"/>
                <a:gd name="T61" fmla="*/ 8 h 96"/>
                <a:gd name="T62" fmla="*/ 8 w 80"/>
                <a:gd name="T63" fmla="*/ 8 h 96"/>
                <a:gd name="T64" fmla="*/ 8 w 80"/>
                <a:gd name="T65"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96">
                  <a:moveTo>
                    <a:pt x="76" y="96"/>
                  </a:moveTo>
                  <a:cubicBezTo>
                    <a:pt x="40" y="96"/>
                    <a:pt x="40" y="96"/>
                    <a:pt x="40" y="96"/>
                  </a:cubicBezTo>
                  <a:cubicBezTo>
                    <a:pt x="38" y="96"/>
                    <a:pt x="36" y="94"/>
                    <a:pt x="36" y="92"/>
                  </a:cubicBezTo>
                  <a:cubicBezTo>
                    <a:pt x="36" y="76"/>
                    <a:pt x="36" y="76"/>
                    <a:pt x="36" y="76"/>
                  </a:cubicBezTo>
                  <a:cubicBezTo>
                    <a:pt x="36" y="74"/>
                    <a:pt x="38" y="72"/>
                    <a:pt x="40" y="72"/>
                  </a:cubicBezTo>
                  <a:cubicBezTo>
                    <a:pt x="76" y="72"/>
                    <a:pt x="76" y="72"/>
                    <a:pt x="76" y="72"/>
                  </a:cubicBezTo>
                  <a:cubicBezTo>
                    <a:pt x="78" y="72"/>
                    <a:pt x="80" y="74"/>
                    <a:pt x="80" y="76"/>
                  </a:cubicBezTo>
                  <a:cubicBezTo>
                    <a:pt x="80" y="92"/>
                    <a:pt x="80" y="92"/>
                    <a:pt x="80" y="92"/>
                  </a:cubicBezTo>
                  <a:cubicBezTo>
                    <a:pt x="80" y="94"/>
                    <a:pt x="78" y="96"/>
                    <a:pt x="76" y="96"/>
                  </a:cubicBezTo>
                  <a:close/>
                  <a:moveTo>
                    <a:pt x="44" y="88"/>
                  </a:moveTo>
                  <a:cubicBezTo>
                    <a:pt x="72" y="88"/>
                    <a:pt x="72" y="88"/>
                    <a:pt x="72" y="88"/>
                  </a:cubicBezTo>
                  <a:cubicBezTo>
                    <a:pt x="72" y="80"/>
                    <a:pt x="72" y="80"/>
                    <a:pt x="72" y="80"/>
                  </a:cubicBezTo>
                  <a:cubicBezTo>
                    <a:pt x="44" y="80"/>
                    <a:pt x="44" y="80"/>
                    <a:pt x="44" y="80"/>
                  </a:cubicBezTo>
                  <a:lnTo>
                    <a:pt x="44" y="88"/>
                  </a:lnTo>
                  <a:close/>
                  <a:moveTo>
                    <a:pt x="76" y="64"/>
                  </a:moveTo>
                  <a:cubicBezTo>
                    <a:pt x="4" y="64"/>
                    <a:pt x="4" y="64"/>
                    <a:pt x="4" y="64"/>
                  </a:cubicBezTo>
                  <a:cubicBezTo>
                    <a:pt x="2" y="64"/>
                    <a:pt x="0" y="62"/>
                    <a:pt x="0" y="60"/>
                  </a:cubicBezTo>
                  <a:cubicBezTo>
                    <a:pt x="0" y="4"/>
                    <a:pt x="0" y="4"/>
                    <a:pt x="0" y="4"/>
                  </a:cubicBezTo>
                  <a:cubicBezTo>
                    <a:pt x="0" y="2"/>
                    <a:pt x="2" y="0"/>
                    <a:pt x="4" y="0"/>
                  </a:cubicBezTo>
                  <a:cubicBezTo>
                    <a:pt x="76" y="0"/>
                    <a:pt x="76" y="0"/>
                    <a:pt x="76" y="0"/>
                  </a:cubicBezTo>
                  <a:cubicBezTo>
                    <a:pt x="78" y="0"/>
                    <a:pt x="80" y="2"/>
                    <a:pt x="80" y="4"/>
                  </a:cubicBezTo>
                  <a:cubicBezTo>
                    <a:pt x="80" y="60"/>
                    <a:pt x="80" y="60"/>
                    <a:pt x="80" y="60"/>
                  </a:cubicBezTo>
                  <a:cubicBezTo>
                    <a:pt x="80" y="62"/>
                    <a:pt x="78" y="64"/>
                    <a:pt x="76" y="64"/>
                  </a:cubicBezTo>
                  <a:close/>
                  <a:moveTo>
                    <a:pt x="8" y="56"/>
                  </a:moveTo>
                  <a:cubicBezTo>
                    <a:pt x="72" y="56"/>
                    <a:pt x="72" y="56"/>
                    <a:pt x="72" y="56"/>
                  </a:cubicBezTo>
                  <a:cubicBezTo>
                    <a:pt x="72" y="24"/>
                    <a:pt x="72" y="24"/>
                    <a:pt x="72" y="24"/>
                  </a:cubicBezTo>
                  <a:cubicBezTo>
                    <a:pt x="8" y="24"/>
                    <a:pt x="8" y="24"/>
                    <a:pt x="8" y="24"/>
                  </a:cubicBezTo>
                  <a:lnTo>
                    <a:pt x="8" y="56"/>
                  </a:lnTo>
                  <a:close/>
                  <a:moveTo>
                    <a:pt x="8" y="16"/>
                  </a:moveTo>
                  <a:cubicBezTo>
                    <a:pt x="72" y="16"/>
                    <a:pt x="72" y="16"/>
                    <a:pt x="72" y="16"/>
                  </a:cubicBezTo>
                  <a:cubicBezTo>
                    <a:pt x="72" y="8"/>
                    <a:pt x="72" y="8"/>
                    <a:pt x="72" y="8"/>
                  </a:cubicBezTo>
                  <a:cubicBezTo>
                    <a:pt x="8" y="8"/>
                    <a:pt x="8" y="8"/>
                    <a:pt x="8" y="8"/>
                  </a:cubicBezTo>
                  <a:lnTo>
                    <a:pt x="8" y="1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99" name="Group 98"/>
          <p:cNvGrpSpPr/>
          <p:nvPr userDrawn="1"/>
        </p:nvGrpSpPr>
        <p:grpSpPr>
          <a:xfrm>
            <a:off x="10472760" y="1522001"/>
            <a:ext cx="1196416" cy="323982"/>
            <a:chOff x="10472760" y="1547526"/>
            <a:chExt cx="1196416" cy="323982"/>
          </a:xfrm>
        </p:grpSpPr>
        <p:sp>
          <p:nvSpPr>
            <p:cNvPr id="10" name="Rectangle 9"/>
            <p:cNvSpPr/>
            <p:nvPr userDrawn="1"/>
          </p:nvSpPr>
          <p:spPr>
            <a:xfrm>
              <a:off x="10922177" y="1601794"/>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bg1"/>
                  </a:solidFill>
                </a:rPr>
                <a:t>Section</a:t>
              </a:r>
              <a:r>
                <a:rPr lang="en-GB" sz="1400" baseline="0" dirty="0">
                  <a:solidFill>
                    <a:schemeClr val="bg1"/>
                  </a:solidFill>
                </a:rPr>
                <a:t> 3</a:t>
              </a:r>
              <a:endParaRPr lang="en-GB" sz="1400" dirty="0">
                <a:solidFill>
                  <a:schemeClr val="bg1"/>
                </a:solidFill>
              </a:endParaRPr>
            </a:p>
          </p:txBody>
        </p:sp>
        <p:grpSp>
          <p:nvGrpSpPr>
            <p:cNvPr id="70" name="Group 13"/>
            <p:cNvGrpSpPr>
              <a:grpSpLocks noChangeAspect="1"/>
            </p:cNvGrpSpPr>
            <p:nvPr userDrawn="1"/>
          </p:nvGrpSpPr>
          <p:grpSpPr bwMode="auto">
            <a:xfrm>
              <a:off x="10472760" y="1547526"/>
              <a:ext cx="268942" cy="323982"/>
              <a:chOff x="292" y="2131"/>
              <a:chExt cx="215" cy="259"/>
            </a:xfrm>
            <a:solidFill>
              <a:schemeClr val="bg1"/>
            </a:solidFill>
          </p:grpSpPr>
          <p:sp>
            <p:nvSpPr>
              <p:cNvPr id="71"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4" name="Group 23"/>
          <p:cNvGrpSpPr/>
          <p:nvPr userDrawn="1"/>
        </p:nvGrpSpPr>
        <p:grpSpPr>
          <a:xfrm>
            <a:off x="10473385" y="3615583"/>
            <a:ext cx="1195791" cy="317727"/>
            <a:chOff x="10473385" y="3630879"/>
            <a:chExt cx="1195791" cy="317727"/>
          </a:xfrm>
        </p:grpSpPr>
        <p:sp>
          <p:nvSpPr>
            <p:cNvPr id="14" name="Rectangle 13"/>
            <p:cNvSpPr/>
            <p:nvPr userDrawn="1"/>
          </p:nvSpPr>
          <p:spPr>
            <a:xfrm>
              <a:off x="10922177" y="3665176"/>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6</a:t>
              </a:r>
              <a:endParaRPr lang="en-GB" sz="1400" dirty="0">
                <a:solidFill>
                  <a:schemeClr val="accent2"/>
                </a:solidFill>
              </a:endParaRPr>
            </a:p>
          </p:txBody>
        </p:sp>
        <p:grpSp>
          <p:nvGrpSpPr>
            <p:cNvPr id="73" name="Group 26"/>
            <p:cNvGrpSpPr>
              <a:grpSpLocks noChangeAspect="1"/>
            </p:cNvGrpSpPr>
            <p:nvPr userDrawn="1"/>
          </p:nvGrpSpPr>
          <p:grpSpPr bwMode="auto">
            <a:xfrm>
              <a:off x="10473385" y="3630879"/>
              <a:ext cx="267692" cy="317727"/>
              <a:chOff x="3091" y="1784"/>
              <a:chExt cx="214" cy="254"/>
            </a:xfrm>
            <a:solidFill>
              <a:schemeClr val="accent2"/>
            </a:solidFill>
          </p:grpSpPr>
          <p:sp>
            <p:nvSpPr>
              <p:cNvPr id="74" name="Freeform 27"/>
              <p:cNvSpPr>
                <a:spLocks noEditPoints="1"/>
              </p:cNvSpPr>
              <p:nvPr/>
            </p:nvSpPr>
            <p:spPr bwMode="auto">
              <a:xfrm>
                <a:off x="3091" y="1784"/>
                <a:ext cx="214" cy="254"/>
              </a:xfrm>
              <a:custGeom>
                <a:avLst/>
                <a:gdLst>
                  <a:gd name="T0" fmla="*/ 76 w 80"/>
                  <a:gd name="T1" fmla="*/ 96 h 96"/>
                  <a:gd name="T2" fmla="*/ 4 w 80"/>
                  <a:gd name="T3" fmla="*/ 96 h 96"/>
                  <a:gd name="T4" fmla="*/ 0 w 80"/>
                  <a:gd name="T5" fmla="*/ 92 h 96"/>
                  <a:gd name="T6" fmla="*/ 0 w 80"/>
                  <a:gd name="T7" fmla="*/ 4 h 96"/>
                  <a:gd name="T8" fmla="*/ 4 w 80"/>
                  <a:gd name="T9" fmla="*/ 0 h 96"/>
                  <a:gd name="T10" fmla="*/ 76 w 80"/>
                  <a:gd name="T11" fmla="*/ 0 h 96"/>
                  <a:gd name="T12" fmla="*/ 80 w 80"/>
                  <a:gd name="T13" fmla="*/ 4 h 96"/>
                  <a:gd name="T14" fmla="*/ 80 w 80"/>
                  <a:gd name="T15" fmla="*/ 92 h 96"/>
                  <a:gd name="T16" fmla="*/ 76 w 80"/>
                  <a:gd name="T17" fmla="*/ 96 h 96"/>
                  <a:gd name="T18" fmla="*/ 8 w 80"/>
                  <a:gd name="T19" fmla="*/ 88 h 96"/>
                  <a:gd name="T20" fmla="*/ 72 w 80"/>
                  <a:gd name="T21" fmla="*/ 88 h 96"/>
                  <a:gd name="T22" fmla="*/ 72 w 80"/>
                  <a:gd name="T23" fmla="*/ 8 h 96"/>
                  <a:gd name="T24" fmla="*/ 8 w 80"/>
                  <a:gd name="T25" fmla="*/ 8 h 96"/>
                  <a:gd name="T26" fmla="*/ 8 w 80"/>
                  <a:gd name="T27" fmla="*/ 88 h 96"/>
                  <a:gd name="T28" fmla="*/ 40 w 80"/>
                  <a:gd name="T29" fmla="*/ 80 h 96"/>
                  <a:gd name="T30" fmla="*/ 36 w 80"/>
                  <a:gd name="T31" fmla="*/ 76 h 96"/>
                  <a:gd name="T32" fmla="*/ 36 w 80"/>
                  <a:gd name="T33" fmla="*/ 20 h 96"/>
                  <a:gd name="T34" fmla="*/ 40 w 80"/>
                  <a:gd name="T35" fmla="*/ 16 h 96"/>
                  <a:gd name="T36" fmla="*/ 44 w 80"/>
                  <a:gd name="T37" fmla="*/ 20 h 96"/>
                  <a:gd name="T38" fmla="*/ 44 w 80"/>
                  <a:gd name="T39" fmla="*/ 76 h 96"/>
                  <a:gd name="T40" fmla="*/ 40 w 80"/>
                  <a:gd name="T41" fmla="*/ 8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96">
                    <a:moveTo>
                      <a:pt x="76" y="96"/>
                    </a:moveTo>
                    <a:cubicBezTo>
                      <a:pt x="4" y="96"/>
                      <a:pt x="4" y="96"/>
                      <a:pt x="4" y="96"/>
                    </a:cubicBezTo>
                    <a:cubicBezTo>
                      <a:pt x="2" y="96"/>
                      <a:pt x="0" y="94"/>
                      <a:pt x="0" y="92"/>
                    </a:cubicBezTo>
                    <a:cubicBezTo>
                      <a:pt x="0" y="4"/>
                      <a:pt x="0" y="4"/>
                      <a:pt x="0" y="4"/>
                    </a:cubicBezTo>
                    <a:cubicBezTo>
                      <a:pt x="0" y="2"/>
                      <a:pt x="2" y="0"/>
                      <a:pt x="4" y="0"/>
                    </a:cubicBezTo>
                    <a:cubicBezTo>
                      <a:pt x="76" y="0"/>
                      <a:pt x="76" y="0"/>
                      <a:pt x="76" y="0"/>
                    </a:cubicBezTo>
                    <a:cubicBezTo>
                      <a:pt x="78" y="0"/>
                      <a:pt x="80" y="2"/>
                      <a:pt x="80" y="4"/>
                    </a:cubicBezTo>
                    <a:cubicBezTo>
                      <a:pt x="80" y="92"/>
                      <a:pt x="80" y="92"/>
                      <a:pt x="80" y="92"/>
                    </a:cubicBezTo>
                    <a:cubicBezTo>
                      <a:pt x="80" y="94"/>
                      <a:pt x="78" y="96"/>
                      <a:pt x="76" y="96"/>
                    </a:cubicBezTo>
                    <a:close/>
                    <a:moveTo>
                      <a:pt x="8" y="88"/>
                    </a:moveTo>
                    <a:cubicBezTo>
                      <a:pt x="72" y="88"/>
                      <a:pt x="72" y="88"/>
                      <a:pt x="72" y="88"/>
                    </a:cubicBezTo>
                    <a:cubicBezTo>
                      <a:pt x="72" y="8"/>
                      <a:pt x="72" y="8"/>
                      <a:pt x="72" y="8"/>
                    </a:cubicBezTo>
                    <a:cubicBezTo>
                      <a:pt x="8" y="8"/>
                      <a:pt x="8" y="8"/>
                      <a:pt x="8" y="8"/>
                    </a:cubicBezTo>
                    <a:lnTo>
                      <a:pt x="8" y="88"/>
                    </a:lnTo>
                    <a:close/>
                    <a:moveTo>
                      <a:pt x="40" y="80"/>
                    </a:moveTo>
                    <a:cubicBezTo>
                      <a:pt x="38" y="80"/>
                      <a:pt x="36" y="78"/>
                      <a:pt x="36" y="76"/>
                    </a:cubicBezTo>
                    <a:cubicBezTo>
                      <a:pt x="36" y="20"/>
                      <a:pt x="36" y="20"/>
                      <a:pt x="36" y="20"/>
                    </a:cubicBezTo>
                    <a:cubicBezTo>
                      <a:pt x="36" y="18"/>
                      <a:pt x="38" y="16"/>
                      <a:pt x="40" y="16"/>
                    </a:cubicBezTo>
                    <a:cubicBezTo>
                      <a:pt x="42" y="16"/>
                      <a:pt x="44" y="18"/>
                      <a:pt x="44" y="20"/>
                    </a:cubicBezTo>
                    <a:cubicBezTo>
                      <a:pt x="44" y="76"/>
                      <a:pt x="44" y="76"/>
                      <a:pt x="44" y="76"/>
                    </a:cubicBezTo>
                    <a:cubicBezTo>
                      <a:pt x="44" y="78"/>
                      <a:pt x="42"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8"/>
              <p:cNvSpPr>
                <a:spLocks/>
              </p:cNvSpPr>
              <p:nvPr/>
            </p:nvSpPr>
            <p:spPr bwMode="auto">
              <a:xfrm>
                <a:off x="3145" y="1837"/>
                <a:ext cx="101" cy="138"/>
              </a:xfrm>
              <a:custGeom>
                <a:avLst/>
                <a:gdLst>
                  <a:gd name="T0" fmla="*/ 19 w 38"/>
                  <a:gd name="T1" fmla="*/ 52 h 52"/>
                  <a:gd name="T2" fmla="*/ 3 w 38"/>
                  <a:gd name="T3" fmla="*/ 49 h 52"/>
                  <a:gd name="T4" fmla="*/ 1 w 38"/>
                  <a:gd name="T5" fmla="*/ 43 h 52"/>
                  <a:gd name="T6" fmla="*/ 6 w 38"/>
                  <a:gd name="T7" fmla="*/ 41 h 52"/>
                  <a:gd name="T8" fmla="*/ 27 w 38"/>
                  <a:gd name="T9" fmla="*/ 42 h 52"/>
                  <a:gd name="T10" fmla="*/ 29 w 38"/>
                  <a:gd name="T11" fmla="*/ 37 h 52"/>
                  <a:gd name="T12" fmla="*/ 19 w 38"/>
                  <a:gd name="T13" fmla="*/ 31 h 52"/>
                  <a:gd name="T14" fmla="*/ 3 w 38"/>
                  <a:gd name="T15" fmla="*/ 15 h 52"/>
                  <a:gd name="T16" fmla="*/ 9 w 38"/>
                  <a:gd name="T17" fmla="*/ 4 h 52"/>
                  <a:gd name="T18" fmla="*/ 36 w 38"/>
                  <a:gd name="T19" fmla="*/ 5 h 52"/>
                  <a:gd name="T20" fmla="*/ 37 w 38"/>
                  <a:gd name="T21" fmla="*/ 11 h 52"/>
                  <a:gd name="T22" fmla="*/ 32 w 38"/>
                  <a:gd name="T23" fmla="*/ 12 h 52"/>
                  <a:gd name="T24" fmla="*/ 13 w 38"/>
                  <a:gd name="T25" fmla="*/ 11 h 52"/>
                  <a:gd name="T26" fmla="*/ 11 w 38"/>
                  <a:gd name="T27" fmla="*/ 15 h 52"/>
                  <a:gd name="T28" fmla="*/ 22 w 38"/>
                  <a:gd name="T29" fmla="*/ 23 h 52"/>
                  <a:gd name="T30" fmla="*/ 37 w 38"/>
                  <a:gd name="T31" fmla="*/ 37 h 52"/>
                  <a:gd name="T32" fmla="*/ 31 w 38"/>
                  <a:gd name="T33" fmla="*/ 49 h 52"/>
                  <a:gd name="T34" fmla="*/ 19 w 38"/>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2">
                    <a:moveTo>
                      <a:pt x="19" y="52"/>
                    </a:moveTo>
                    <a:cubicBezTo>
                      <a:pt x="14" y="52"/>
                      <a:pt x="8" y="50"/>
                      <a:pt x="3" y="49"/>
                    </a:cubicBezTo>
                    <a:cubicBezTo>
                      <a:pt x="1" y="48"/>
                      <a:pt x="0" y="45"/>
                      <a:pt x="1" y="43"/>
                    </a:cubicBezTo>
                    <a:cubicBezTo>
                      <a:pt x="1" y="41"/>
                      <a:pt x="4" y="40"/>
                      <a:pt x="6" y="41"/>
                    </a:cubicBezTo>
                    <a:cubicBezTo>
                      <a:pt x="14" y="44"/>
                      <a:pt x="23" y="45"/>
                      <a:pt x="27" y="42"/>
                    </a:cubicBezTo>
                    <a:cubicBezTo>
                      <a:pt x="28" y="41"/>
                      <a:pt x="29" y="40"/>
                      <a:pt x="29" y="37"/>
                    </a:cubicBezTo>
                    <a:cubicBezTo>
                      <a:pt x="29" y="34"/>
                      <a:pt x="26" y="33"/>
                      <a:pt x="19" y="31"/>
                    </a:cubicBezTo>
                    <a:cubicBezTo>
                      <a:pt x="12" y="28"/>
                      <a:pt x="3" y="25"/>
                      <a:pt x="3" y="15"/>
                    </a:cubicBezTo>
                    <a:cubicBezTo>
                      <a:pt x="3" y="10"/>
                      <a:pt x="5" y="6"/>
                      <a:pt x="9" y="4"/>
                    </a:cubicBezTo>
                    <a:cubicBezTo>
                      <a:pt x="17" y="0"/>
                      <a:pt x="30" y="2"/>
                      <a:pt x="36" y="5"/>
                    </a:cubicBezTo>
                    <a:cubicBezTo>
                      <a:pt x="37" y="6"/>
                      <a:pt x="38" y="9"/>
                      <a:pt x="37" y="11"/>
                    </a:cubicBezTo>
                    <a:cubicBezTo>
                      <a:pt x="36" y="13"/>
                      <a:pt x="34" y="13"/>
                      <a:pt x="32" y="12"/>
                    </a:cubicBezTo>
                    <a:cubicBezTo>
                      <a:pt x="28" y="10"/>
                      <a:pt x="18" y="8"/>
                      <a:pt x="13" y="11"/>
                    </a:cubicBezTo>
                    <a:cubicBezTo>
                      <a:pt x="11" y="12"/>
                      <a:pt x="11" y="13"/>
                      <a:pt x="11" y="15"/>
                    </a:cubicBezTo>
                    <a:cubicBezTo>
                      <a:pt x="11" y="19"/>
                      <a:pt x="14" y="21"/>
                      <a:pt x="22" y="23"/>
                    </a:cubicBezTo>
                    <a:cubicBezTo>
                      <a:pt x="28" y="25"/>
                      <a:pt x="37" y="28"/>
                      <a:pt x="37" y="37"/>
                    </a:cubicBezTo>
                    <a:cubicBezTo>
                      <a:pt x="37" y="43"/>
                      <a:pt x="34" y="47"/>
                      <a:pt x="31" y="49"/>
                    </a:cubicBezTo>
                    <a:cubicBezTo>
                      <a:pt x="28" y="51"/>
                      <a:pt x="24" y="52"/>
                      <a:pt x="1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1" name="Group 100"/>
          <p:cNvGrpSpPr/>
          <p:nvPr userDrawn="1"/>
        </p:nvGrpSpPr>
        <p:grpSpPr>
          <a:xfrm>
            <a:off x="10447117" y="187574"/>
            <a:ext cx="1222059" cy="292709"/>
            <a:chOff x="10447117" y="187574"/>
            <a:chExt cx="1222059" cy="292709"/>
          </a:xfrm>
        </p:grpSpPr>
        <p:sp>
          <p:nvSpPr>
            <p:cNvPr id="8" name="Rectangle 7"/>
            <p:cNvSpPr/>
            <p:nvPr userDrawn="1"/>
          </p:nvSpPr>
          <p:spPr>
            <a:xfrm>
              <a:off x="10922177" y="226205"/>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1</a:t>
              </a:r>
              <a:endParaRPr lang="en-GB" sz="1400" dirty="0">
                <a:solidFill>
                  <a:schemeClr val="accent2"/>
                </a:solidFill>
              </a:endParaRPr>
            </a:p>
          </p:txBody>
        </p:sp>
        <p:grpSp>
          <p:nvGrpSpPr>
            <p:cNvPr id="76" name="Group 4"/>
            <p:cNvGrpSpPr>
              <a:grpSpLocks noChangeAspect="1"/>
            </p:cNvGrpSpPr>
            <p:nvPr userDrawn="1"/>
          </p:nvGrpSpPr>
          <p:grpSpPr bwMode="auto">
            <a:xfrm>
              <a:off x="10447117" y="187574"/>
              <a:ext cx="320229" cy="292709"/>
              <a:chOff x="293" y="695"/>
              <a:chExt cx="256" cy="234"/>
            </a:xfrm>
            <a:solidFill>
              <a:schemeClr val="accent2"/>
            </a:solidFill>
          </p:grpSpPr>
          <p:sp>
            <p:nvSpPr>
              <p:cNvPr id="77"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98" name="Group 97"/>
          <p:cNvGrpSpPr/>
          <p:nvPr userDrawn="1"/>
        </p:nvGrpSpPr>
        <p:grpSpPr>
          <a:xfrm>
            <a:off x="10455248" y="2232371"/>
            <a:ext cx="1213928" cy="292709"/>
            <a:chOff x="10455248" y="2259847"/>
            <a:chExt cx="1213928" cy="292709"/>
          </a:xfrm>
        </p:grpSpPr>
        <p:sp>
          <p:nvSpPr>
            <p:cNvPr id="11" name="Rectangle 10"/>
            <p:cNvSpPr/>
            <p:nvPr userDrawn="1"/>
          </p:nvSpPr>
          <p:spPr>
            <a:xfrm>
              <a:off x="10922177" y="2289588"/>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4</a:t>
              </a:r>
              <a:endParaRPr lang="en-GB" sz="1400" dirty="0">
                <a:solidFill>
                  <a:schemeClr val="accent2"/>
                </a:solidFill>
              </a:endParaRPr>
            </a:p>
          </p:txBody>
        </p:sp>
        <p:sp>
          <p:nvSpPr>
            <p:cNvPr id="79" name="Freeform 19"/>
            <p:cNvSpPr>
              <a:spLocks noEditPoints="1"/>
            </p:cNvSpPr>
            <p:nvPr userDrawn="1"/>
          </p:nvSpPr>
          <p:spPr bwMode="auto">
            <a:xfrm>
              <a:off x="10455248" y="2259847"/>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8" name="Group 17"/>
          <p:cNvGrpSpPr/>
          <p:nvPr userDrawn="1"/>
        </p:nvGrpSpPr>
        <p:grpSpPr>
          <a:xfrm>
            <a:off x="10460877" y="4998795"/>
            <a:ext cx="1208299" cy="268942"/>
            <a:chOff x="10460877" y="4991891"/>
            <a:chExt cx="1208299" cy="268942"/>
          </a:xfrm>
        </p:grpSpPr>
        <p:sp>
          <p:nvSpPr>
            <p:cNvPr id="21" name="Rectangle 20"/>
            <p:cNvSpPr/>
            <p:nvPr userDrawn="1"/>
          </p:nvSpPr>
          <p:spPr>
            <a:xfrm>
              <a:off x="10922177" y="5040765"/>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 </a:t>
              </a:r>
              <a:r>
                <a:rPr lang="en-GB" sz="1400" baseline="0" dirty="0">
                  <a:solidFill>
                    <a:schemeClr val="accent2"/>
                  </a:solidFill>
                </a:rPr>
                <a:t>8</a:t>
              </a:r>
              <a:endParaRPr lang="en-GB" sz="1400" dirty="0">
                <a:solidFill>
                  <a:schemeClr val="accent2"/>
                </a:solidFill>
              </a:endParaRPr>
            </a:p>
          </p:txBody>
        </p:sp>
        <p:sp>
          <p:nvSpPr>
            <p:cNvPr id="80" name="Freeform 10"/>
            <p:cNvSpPr>
              <a:spLocks noEditPoints="1"/>
            </p:cNvSpPr>
            <p:nvPr userDrawn="1"/>
          </p:nvSpPr>
          <p:spPr bwMode="auto">
            <a:xfrm>
              <a:off x="10460877" y="4991891"/>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7" name="Group 16"/>
          <p:cNvGrpSpPr/>
          <p:nvPr userDrawn="1"/>
        </p:nvGrpSpPr>
        <p:grpSpPr>
          <a:xfrm>
            <a:off x="10472760" y="5654125"/>
            <a:ext cx="1196416" cy="323982"/>
            <a:chOff x="10472760" y="5652166"/>
            <a:chExt cx="1196416" cy="323982"/>
          </a:xfrm>
        </p:grpSpPr>
        <p:sp>
          <p:nvSpPr>
            <p:cNvPr id="22" name="Rectangle 21"/>
            <p:cNvSpPr/>
            <p:nvPr userDrawn="1"/>
          </p:nvSpPr>
          <p:spPr>
            <a:xfrm>
              <a:off x="10922177" y="5728559"/>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9</a:t>
              </a:r>
              <a:endParaRPr lang="en-GB" sz="1400" dirty="0">
                <a:solidFill>
                  <a:schemeClr val="accent2"/>
                </a:solidFill>
              </a:endParaRPr>
            </a:p>
          </p:txBody>
        </p:sp>
        <p:grpSp>
          <p:nvGrpSpPr>
            <p:cNvPr id="81" name="Group 13"/>
            <p:cNvGrpSpPr>
              <a:grpSpLocks noChangeAspect="1"/>
            </p:cNvGrpSpPr>
            <p:nvPr userDrawn="1"/>
          </p:nvGrpSpPr>
          <p:grpSpPr bwMode="auto">
            <a:xfrm>
              <a:off x="10472760" y="5652166"/>
              <a:ext cx="268942" cy="323982"/>
              <a:chOff x="292" y="2131"/>
              <a:chExt cx="215" cy="259"/>
            </a:xfrm>
            <a:solidFill>
              <a:schemeClr val="accent2"/>
            </a:solidFill>
          </p:grpSpPr>
          <p:sp>
            <p:nvSpPr>
              <p:cNvPr id="82"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9" name="Group 18"/>
          <p:cNvGrpSpPr/>
          <p:nvPr userDrawn="1"/>
        </p:nvGrpSpPr>
        <p:grpSpPr>
          <a:xfrm>
            <a:off x="10447117" y="4319698"/>
            <a:ext cx="1222059" cy="292709"/>
            <a:chOff x="10447117" y="4292214"/>
            <a:chExt cx="1222059" cy="292709"/>
          </a:xfrm>
        </p:grpSpPr>
        <p:sp>
          <p:nvSpPr>
            <p:cNvPr id="20" name="Rectangle 19"/>
            <p:cNvSpPr/>
            <p:nvPr userDrawn="1"/>
          </p:nvSpPr>
          <p:spPr>
            <a:xfrm>
              <a:off x="10922177" y="4352971"/>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7</a:t>
              </a:r>
              <a:endParaRPr lang="en-GB" sz="1400" dirty="0">
                <a:solidFill>
                  <a:schemeClr val="accent2"/>
                </a:solidFill>
              </a:endParaRPr>
            </a:p>
          </p:txBody>
        </p:sp>
        <p:grpSp>
          <p:nvGrpSpPr>
            <p:cNvPr id="84" name="Group 4"/>
            <p:cNvGrpSpPr>
              <a:grpSpLocks noChangeAspect="1"/>
            </p:cNvGrpSpPr>
            <p:nvPr userDrawn="1"/>
          </p:nvGrpSpPr>
          <p:grpSpPr bwMode="auto">
            <a:xfrm>
              <a:off x="10447117" y="4292214"/>
              <a:ext cx="320229" cy="292709"/>
              <a:chOff x="293" y="695"/>
              <a:chExt cx="256" cy="234"/>
            </a:xfrm>
            <a:solidFill>
              <a:schemeClr val="accent2"/>
            </a:solidFill>
          </p:grpSpPr>
          <p:sp>
            <p:nvSpPr>
              <p:cNvPr id="85"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6" name="Group 15"/>
          <p:cNvGrpSpPr/>
          <p:nvPr userDrawn="1"/>
        </p:nvGrpSpPr>
        <p:grpSpPr>
          <a:xfrm>
            <a:off x="10455248" y="6364487"/>
            <a:ext cx="1313315" cy="292709"/>
            <a:chOff x="10455248" y="6364487"/>
            <a:chExt cx="1313315" cy="292709"/>
          </a:xfrm>
        </p:grpSpPr>
        <p:sp>
          <p:nvSpPr>
            <p:cNvPr id="23" name="Rectangle 22"/>
            <p:cNvSpPr/>
            <p:nvPr userDrawn="1"/>
          </p:nvSpPr>
          <p:spPr>
            <a:xfrm>
              <a:off x="10922177" y="6416349"/>
              <a:ext cx="846386"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10</a:t>
              </a:r>
              <a:endParaRPr lang="en-GB" sz="1400" dirty="0">
                <a:solidFill>
                  <a:schemeClr val="accent2"/>
                </a:solidFill>
              </a:endParaRPr>
            </a:p>
          </p:txBody>
        </p:sp>
        <p:sp>
          <p:nvSpPr>
            <p:cNvPr id="87" name="Freeform 19"/>
            <p:cNvSpPr>
              <a:spLocks noEditPoints="1"/>
            </p:cNvSpPr>
            <p:nvPr userDrawn="1"/>
          </p:nvSpPr>
          <p:spPr bwMode="auto">
            <a:xfrm>
              <a:off x="10455248" y="6364487"/>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89" name="Straight Connector 88"/>
          <p:cNvCxnSpPr/>
          <p:nvPr userDrawn="1"/>
        </p:nvCxnSpPr>
        <p:spPr>
          <a:xfrm>
            <a:off x="10033000" y="686270"/>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0" name="Straight Connector 89"/>
          <p:cNvCxnSpPr/>
          <p:nvPr userDrawn="1"/>
        </p:nvCxnSpPr>
        <p:spPr>
          <a:xfrm>
            <a:off x="10033000" y="1371952"/>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1" name="Straight Connector 90"/>
          <p:cNvCxnSpPr/>
          <p:nvPr userDrawn="1"/>
        </p:nvCxnSpPr>
        <p:spPr>
          <a:xfrm>
            <a:off x="10033000" y="2057634"/>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2" name="Straight Connector 91"/>
          <p:cNvCxnSpPr/>
          <p:nvPr userDrawn="1"/>
        </p:nvCxnSpPr>
        <p:spPr>
          <a:xfrm>
            <a:off x="10033000" y="2743316"/>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3" name="Straight Connector 92"/>
          <p:cNvCxnSpPr/>
          <p:nvPr userDrawn="1"/>
        </p:nvCxnSpPr>
        <p:spPr>
          <a:xfrm>
            <a:off x="10033000" y="3428998"/>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4" name="Straight Connector 93"/>
          <p:cNvCxnSpPr/>
          <p:nvPr userDrawn="1"/>
        </p:nvCxnSpPr>
        <p:spPr>
          <a:xfrm>
            <a:off x="10033000" y="4114680"/>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p:cNvCxnSpPr/>
          <p:nvPr userDrawn="1"/>
        </p:nvCxnSpPr>
        <p:spPr>
          <a:xfrm>
            <a:off x="10033000" y="4800362"/>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p:cNvCxnSpPr/>
          <p:nvPr userDrawn="1"/>
        </p:nvCxnSpPr>
        <p:spPr>
          <a:xfrm>
            <a:off x="10033000" y="5486044"/>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p:cNvCxnSpPr/>
          <p:nvPr userDrawn="1"/>
        </p:nvCxnSpPr>
        <p:spPr>
          <a:xfrm>
            <a:off x="10033000" y="6171726"/>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65" name="TextBox 64"/>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a:solidFill>
                  <a:srgbClr val="FF0000"/>
                </a:solidFill>
              </a:rPr>
              <a:t>These slides provide</a:t>
            </a:r>
            <a:r>
              <a:rPr lang="en-US" sz="1050" baseline="0" dirty="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a:solidFill>
                <a:srgbClr val="FF0000"/>
              </a:solidFill>
            </a:endParaRPr>
          </a:p>
          <a:p>
            <a:pPr algn="l"/>
            <a:r>
              <a:rPr lang="en-US" sz="1050" baseline="0" dirty="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742618938"/>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Interactive right icons">
    <p:spTree>
      <p:nvGrpSpPr>
        <p:cNvPr id="1" name=""/>
        <p:cNvGrpSpPr/>
        <p:nvPr/>
      </p:nvGrpSpPr>
      <p:grpSpPr>
        <a:xfrm>
          <a:off x="0" y="0"/>
          <a:ext cx="0" cy="0"/>
          <a:chOff x="0" y="0"/>
          <a:chExt cx="0" cy="0"/>
        </a:xfrm>
      </p:grpSpPr>
      <p:sp>
        <p:nvSpPr>
          <p:cNvPr id="3" name="Rectangle 2"/>
          <p:cNvSpPr/>
          <p:nvPr userDrawn="1"/>
        </p:nvSpPr>
        <p:spPr>
          <a:xfrm>
            <a:off x="10998200" y="0"/>
            <a:ext cx="1193800" cy="114200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Rectangle 38"/>
          <p:cNvSpPr/>
          <p:nvPr userDrawn="1"/>
        </p:nvSpPr>
        <p:spPr>
          <a:xfrm>
            <a:off x="10998200" y="1145870"/>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p:cNvSpPr/>
          <p:nvPr userDrawn="1"/>
        </p:nvSpPr>
        <p:spPr>
          <a:xfrm>
            <a:off x="10998200" y="2288863"/>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Rectangle 40"/>
          <p:cNvSpPr/>
          <p:nvPr userDrawn="1"/>
        </p:nvSpPr>
        <p:spPr>
          <a:xfrm>
            <a:off x="10998200" y="3427839"/>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Rectangle 41"/>
          <p:cNvSpPr/>
          <p:nvPr userDrawn="1"/>
        </p:nvSpPr>
        <p:spPr>
          <a:xfrm>
            <a:off x="10998200" y="4570832"/>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3" name="Rectangle 42"/>
          <p:cNvSpPr/>
          <p:nvPr userDrawn="1"/>
        </p:nvSpPr>
        <p:spPr>
          <a:xfrm>
            <a:off x="10998200" y="5715007"/>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userDrawn="1">
            <p:ph type="title" hasCustomPrompt="1"/>
          </p:nvPr>
        </p:nvSpPr>
        <p:spPr>
          <a:xfrm>
            <a:off x="485776" y="361950"/>
            <a:ext cx="9509124"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userDrawn="1">
            <p:ph type="body" sz="half" idx="15" hasCustomPrompt="1"/>
          </p:nvPr>
        </p:nvSpPr>
        <p:spPr>
          <a:xfrm>
            <a:off x="6162923"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userDrawn="1">
            <p:ph type="body" sz="half" idx="2" hasCustomPrompt="1"/>
          </p:nvPr>
        </p:nvSpPr>
        <p:spPr>
          <a:xfrm>
            <a:off x="485776" y="806807"/>
            <a:ext cx="9509124"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18" name="Freeform 10"/>
          <p:cNvSpPr>
            <a:spLocks noEditPoints="1"/>
          </p:cNvSpPr>
          <p:nvPr userDrawn="1"/>
        </p:nvSpPr>
        <p:spPr bwMode="auto">
          <a:xfrm>
            <a:off x="11448746" y="1582895"/>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23"/>
          <p:cNvSpPr>
            <a:spLocks noEditPoints="1"/>
          </p:cNvSpPr>
          <p:nvPr userDrawn="1"/>
        </p:nvSpPr>
        <p:spPr bwMode="auto">
          <a:xfrm>
            <a:off x="11461255" y="4983465"/>
            <a:ext cx="267691" cy="317727"/>
          </a:xfrm>
          <a:custGeom>
            <a:avLst/>
            <a:gdLst>
              <a:gd name="T0" fmla="*/ 76 w 80"/>
              <a:gd name="T1" fmla="*/ 96 h 96"/>
              <a:gd name="T2" fmla="*/ 40 w 80"/>
              <a:gd name="T3" fmla="*/ 96 h 96"/>
              <a:gd name="T4" fmla="*/ 36 w 80"/>
              <a:gd name="T5" fmla="*/ 92 h 96"/>
              <a:gd name="T6" fmla="*/ 36 w 80"/>
              <a:gd name="T7" fmla="*/ 76 h 96"/>
              <a:gd name="T8" fmla="*/ 40 w 80"/>
              <a:gd name="T9" fmla="*/ 72 h 96"/>
              <a:gd name="T10" fmla="*/ 76 w 80"/>
              <a:gd name="T11" fmla="*/ 72 h 96"/>
              <a:gd name="T12" fmla="*/ 80 w 80"/>
              <a:gd name="T13" fmla="*/ 76 h 96"/>
              <a:gd name="T14" fmla="*/ 80 w 80"/>
              <a:gd name="T15" fmla="*/ 92 h 96"/>
              <a:gd name="T16" fmla="*/ 76 w 80"/>
              <a:gd name="T17" fmla="*/ 96 h 96"/>
              <a:gd name="T18" fmla="*/ 44 w 80"/>
              <a:gd name="T19" fmla="*/ 88 h 96"/>
              <a:gd name="T20" fmla="*/ 72 w 80"/>
              <a:gd name="T21" fmla="*/ 88 h 96"/>
              <a:gd name="T22" fmla="*/ 72 w 80"/>
              <a:gd name="T23" fmla="*/ 80 h 96"/>
              <a:gd name="T24" fmla="*/ 44 w 80"/>
              <a:gd name="T25" fmla="*/ 80 h 96"/>
              <a:gd name="T26" fmla="*/ 44 w 80"/>
              <a:gd name="T27" fmla="*/ 88 h 96"/>
              <a:gd name="T28" fmla="*/ 76 w 80"/>
              <a:gd name="T29" fmla="*/ 64 h 96"/>
              <a:gd name="T30" fmla="*/ 4 w 80"/>
              <a:gd name="T31" fmla="*/ 64 h 96"/>
              <a:gd name="T32" fmla="*/ 0 w 80"/>
              <a:gd name="T33" fmla="*/ 60 h 96"/>
              <a:gd name="T34" fmla="*/ 0 w 80"/>
              <a:gd name="T35" fmla="*/ 4 h 96"/>
              <a:gd name="T36" fmla="*/ 4 w 80"/>
              <a:gd name="T37" fmla="*/ 0 h 96"/>
              <a:gd name="T38" fmla="*/ 76 w 80"/>
              <a:gd name="T39" fmla="*/ 0 h 96"/>
              <a:gd name="T40" fmla="*/ 80 w 80"/>
              <a:gd name="T41" fmla="*/ 4 h 96"/>
              <a:gd name="T42" fmla="*/ 80 w 80"/>
              <a:gd name="T43" fmla="*/ 60 h 96"/>
              <a:gd name="T44" fmla="*/ 76 w 80"/>
              <a:gd name="T45" fmla="*/ 64 h 96"/>
              <a:gd name="T46" fmla="*/ 8 w 80"/>
              <a:gd name="T47" fmla="*/ 56 h 96"/>
              <a:gd name="T48" fmla="*/ 72 w 80"/>
              <a:gd name="T49" fmla="*/ 56 h 96"/>
              <a:gd name="T50" fmla="*/ 72 w 80"/>
              <a:gd name="T51" fmla="*/ 24 h 96"/>
              <a:gd name="T52" fmla="*/ 8 w 80"/>
              <a:gd name="T53" fmla="*/ 24 h 96"/>
              <a:gd name="T54" fmla="*/ 8 w 80"/>
              <a:gd name="T55" fmla="*/ 56 h 96"/>
              <a:gd name="T56" fmla="*/ 8 w 80"/>
              <a:gd name="T57" fmla="*/ 16 h 96"/>
              <a:gd name="T58" fmla="*/ 72 w 80"/>
              <a:gd name="T59" fmla="*/ 16 h 96"/>
              <a:gd name="T60" fmla="*/ 72 w 80"/>
              <a:gd name="T61" fmla="*/ 8 h 96"/>
              <a:gd name="T62" fmla="*/ 8 w 80"/>
              <a:gd name="T63" fmla="*/ 8 h 96"/>
              <a:gd name="T64" fmla="*/ 8 w 80"/>
              <a:gd name="T65"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96">
                <a:moveTo>
                  <a:pt x="76" y="96"/>
                </a:moveTo>
                <a:cubicBezTo>
                  <a:pt x="40" y="96"/>
                  <a:pt x="40" y="96"/>
                  <a:pt x="40" y="96"/>
                </a:cubicBezTo>
                <a:cubicBezTo>
                  <a:pt x="38" y="96"/>
                  <a:pt x="36" y="94"/>
                  <a:pt x="36" y="92"/>
                </a:cubicBezTo>
                <a:cubicBezTo>
                  <a:pt x="36" y="76"/>
                  <a:pt x="36" y="76"/>
                  <a:pt x="36" y="76"/>
                </a:cubicBezTo>
                <a:cubicBezTo>
                  <a:pt x="36" y="74"/>
                  <a:pt x="38" y="72"/>
                  <a:pt x="40" y="72"/>
                </a:cubicBezTo>
                <a:cubicBezTo>
                  <a:pt x="76" y="72"/>
                  <a:pt x="76" y="72"/>
                  <a:pt x="76" y="72"/>
                </a:cubicBezTo>
                <a:cubicBezTo>
                  <a:pt x="78" y="72"/>
                  <a:pt x="80" y="74"/>
                  <a:pt x="80" y="76"/>
                </a:cubicBezTo>
                <a:cubicBezTo>
                  <a:pt x="80" y="92"/>
                  <a:pt x="80" y="92"/>
                  <a:pt x="80" y="92"/>
                </a:cubicBezTo>
                <a:cubicBezTo>
                  <a:pt x="80" y="94"/>
                  <a:pt x="78" y="96"/>
                  <a:pt x="76" y="96"/>
                </a:cubicBezTo>
                <a:close/>
                <a:moveTo>
                  <a:pt x="44" y="88"/>
                </a:moveTo>
                <a:cubicBezTo>
                  <a:pt x="72" y="88"/>
                  <a:pt x="72" y="88"/>
                  <a:pt x="72" y="88"/>
                </a:cubicBezTo>
                <a:cubicBezTo>
                  <a:pt x="72" y="80"/>
                  <a:pt x="72" y="80"/>
                  <a:pt x="72" y="80"/>
                </a:cubicBezTo>
                <a:cubicBezTo>
                  <a:pt x="44" y="80"/>
                  <a:pt x="44" y="80"/>
                  <a:pt x="44" y="80"/>
                </a:cubicBezTo>
                <a:lnTo>
                  <a:pt x="44" y="88"/>
                </a:lnTo>
                <a:close/>
                <a:moveTo>
                  <a:pt x="76" y="64"/>
                </a:moveTo>
                <a:cubicBezTo>
                  <a:pt x="4" y="64"/>
                  <a:pt x="4" y="64"/>
                  <a:pt x="4" y="64"/>
                </a:cubicBezTo>
                <a:cubicBezTo>
                  <a:pt x="2" y="64"/>
                  <a:pt x="0" y="62"/>
                  <a:pt x="0" y="60"/>
                </a:cubicBezTo>
                <a:cubicBezTo>
                  <a:pt x="0" y="4"/>
                  <a:pt x="0" y="4"/>
                  <a:pt x="0" y="4"/>
                </a:cubicBezTo>
                <a:cubicBezTo>
                  <a:pt x="0" y="2"/>
                  <a:pt x="2" y="0"/>
                  <a:pt x="4" y="0"/>
                </a:cubicBezTo>
                <a:cubicBezTo>
                  <a:pt x="76" y="0"/>
                  <a:pt x="76" y="0"/>
                  <a:pt x="76" y="0"/>
                </a:cubicBezTo>
                <a:cubicBezTo>
                  <a:pt x="78" y="0"/>
                  <a:pt x="80" y="2"/>
                  <a:pt x="80" y="4"/>
                </a:cubicBezTo>
                <a:cubicBezTo>
                  <a:pt x="80" y="60"/>
                  <a:pt x="80" y="60"/>
                  <a:pt x="80" y="60"/>
                </a:cubicBezTo>
                <a:cubicBezTo>
                  <a:pt x="80" y="62"/>
                  <a:pt x="78" y="64"/>
                  <a:pt x="76" y="64"/>
                </a:cubicBezTo>
                <a:close/>
                <a:moveTo>
                  <a:pt x="8" y="56"/>
                </a:moveTo>
                <a:cubicBezTo>
                  <a:pt x="72" y="56"/>
                  <a:pt x="72" y="56"/>
                  <a:pt x="72" y="56"/>
                </a:cubicBezTo>
                <a:cubicBezTo>
                  <a:pt x="72" y="24"/>
                  <a:pt x="72" y="24"/>
                  <a:pt x="72" y="24"/>
                </a:cubicBezTo>
                <a:cubicBezTo>
                  <a:pt x="8" y="24"/>
                  <a:pt x="8" y="24"/>
                  <a:pt x="8" y="24"/>
                </a:cubicBezTo>
                <a:lnTo>
                  <a:pt x="8" y="56"/>
                </a:lnTo>
                <a:close/>
                <a:moveTo>
                  <a:pt x="8" y="16"/>
                </a:moveTo>
                <a:cubicBezTo>
                  <a:pt x="72" y="16"/>
                  <a:pt x="72" y="16"/>
                  <a:pt x="72" y="16"/>
                </a:cubicBezTo>
                <a:cubicBezTo>
                  <a:pt x="72" y="8"/>
                  <a:pt x="72" y="8"/>
                  <a:pt x="72" y="8"/>
                </a:cubicBezTo>
                <a:cubicBezTo>
                  <a:pt x="8" y="8"/>
                  <a:pt x="8" y="8"/>
                  <a:pt x="8" y="8"/>
                </a:cubicBezTo>
                <a:lnTo>
                  <a:pt x="8"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0" name="Group 13"/>
          <p:cNvGrpSpPr>
            <a:grpSpLocks noChangeAspect="1"/>
          </p:cNvGrpSpPr>
          <p:nvPr userDrawn="1"/>
        </p:nvGrpSpPr>
        <p:grpSpPr bwMode="auto">
          <a:xfrm>
            <a:off x="11460629" y="2698368"/>
            <a:ext cx="268942" cy="323982"/>
            <a:chOff x="292" y="2131"/>
            <a:chExt cx="215" cy="259"/>
          </a:xfrm>
          <a:solidFill>
            <a:schemeClr val="bg1"/>
          </a:solidFill>
        </p:grpSpPr>
        <p:sp>
          <p:nvSpPr>
            <p:cNvPr id="21"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 name="Group 26"/>
          <p:cNvGrpSpPr>
            <a:grpSpLocks noChangeAspect="1"/>
          </p:cNvGrpSpPr>
          <p:nvPr userDrawn="1"/>
        </p:nvGrpSpPr>
        <p:grpSpPr bwMode="auto">
          <a:xfrm>
            <a:off x="11461254" y="6127640"/>
            <a:ext cx="267692" cy="317727"/>
            <a:chOff x="3091" y="1784"/>
            <a:chExt cx="214" cy="254"/>
          </a:xfrm>
          <a:solidFill>
            <a:schemeClr val="bg1"/>
          </a:solidFill>
        </p:grpSpPr>
        <p:sp>
          <p:nvSpPr>
            <p:cNvPr id="24" name="Freeform 27"/>
            <p:cNvSpPr>
              <a:spLocks noEditPoints="1"/>
            </p:cNvSpPr>
            <p:nvPr/>
          </p:nvSpPr>
          <p:spPr bwMode="auto">
            <a:xfrm>
              <a:off x="3091" y="1784"/>
              <a:ext cx="214" cy="254"/>
            </a:xfrm>
            <a:custGeom>
              <a:avLst/>
              <a:gdLst>
                <a:gd name="T0" fmla="*/ 76 w 80"/>
                <a:gd name="T1" fmla="*/ 96 h 96"/>
                <a:gd name="T2" fmla="*/ 4 w 80"/>
                <a:gd name="T3" fmla="*/ 96 h 96"/>
                <a:gd name="T4" fmla="*/ 0 w 80"/>
                <a:gd name="T5" fmla="*/ 92 h 96"/>
                <a:gd name="T6" fmla="*/ 0 w 80"/>
                <a:gd name="T7" fmla="*/ 4 h 96"/>
                <a:gd name="T8" fmla="*/ 4 w 80"/>
                <a:gd name="T9" fmla="*/ 0 h 96"/>
                <a:gd name="T10" fmla="*/ 76 w 80"/>
                <a:gd name="T11" fmla="*/ 0 h 96"/>
                <a:gd name="T12" fmla="*/ 80 w 80"/>
                <a:gd name="T13" fmla="*/ 4 h 96"/>
                <a:gd name="T14" fmla="*/ 80 w 80"/>
                <a:gd name="T15" fmla="*/ 92 h 96"/>
                <a:gd name="T16" fmla="*/ 76 w 80"/>
                <a:gd name="T17" fmla="*/ 96 h 96"/>
                <a:gd name="T18" fmla="*/ 8 w 80"/>
                <a:gd name="T19" fmla="*/ 88 h 96"/>
                <a:gd name="T20" fmla="*/ 72 w 80"/>
                <a:gd name="T21" fmla="*/ 88 h 96"/>
                <a:gd name="T22" fmla="*/ 72 w 80"/>
                <a:gd name="T23" fmla="*/ 8 h 96"/>
                <a:gd name="T24" fmla="*/ 8 w 80"/>
                <a:gd name="T25" fmla="*/ 8 h 96"/>
                <a:gd name="T26" fmla="*/ 8 w 80"/>
                <a:gd name="T27" fmla="*/ 88 h 96"/>
                <a:gd name="T28" fmla="*/ 40 w 80"/>
                <a:gd name="T29" fmla="*/ 80 h 96"/>
                <a:gd name="T30" fmla="*/ 36 w 80"/>
                <a:gd name="T31" fmla="*/ 76 h 96"/>
                <a:gd name="T32" fmla="*/ 36 w 80"/>
                <a:gd name="T33" fmla="*/ 20 h 96"/>
                <a:gd name="T34" fmla="*/ 40 w 80"/>
                <a:gd name="T35" fmla="*/ 16 h 96"/>
                <a:gd name="T36" fmla="*/ 44 w 80"/>
                <a:gd name="T37" fmla="*/ 20 h 96"/>
                <a:gd name="T38" fmla="*/ 44 w 80"/>
                <a:gd name="T39" fmla="*/ 76 h 96"/>
                <a:gd name="T40" fmla="*/ 40 w 80"/>
                <a:gd name="T41" fmla="*/ 8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96">
                  <a:moveTo>
                    <a:pt x="76" y="96"/>
                  </a:moveTo>
                  <a:cubicBezTo>
                    <a:pt x="4" y="96"/>
                    <a:pt x="4" y="96"/>
                    <a:pt x="4" y="96"/>
                  </a:cubicBezTo>
                  <a:cubicBezTo>
                    <a:pt x="2" y="96"/>
                    <a:pt x="0" y="94"/>
                    <a:pt x="0" y="92"/>
                  </a:cubicBezTo>
                  <a:cubicBezTo>
                    <a:pt x="0" y="4"/>
                    <a:pt x="0" y="4"/>
                    <a:pt x="0" y="4"/>
                  </a:cubicBezTo>
                  <a:cubicBezTo>
                    <a:pt x="0" y="2"/>
                    <a:pt x="2" y="0"/>
                    <a:pt x="4" y="0"/>
                  </a:cubicBezTo>
                  <a:cubicBezTo>
                    <a:pt x="76" y="0"/>
                    <a:pt x="76" y="0"/>
                    <a:pt x="76" y="0"/>
                  </a:cubicBezTo>
                  <a:cubicBezTo>
                    <a:pt x="78" y="0"/>
                    <a:pt x="80" y="2"/>
                    <a:pt x="80" y="4"/>
                  </a:cubicBezTo>
                  <a:cubicBezTo>
                    <a:pt x="80" y="92"/>
                    <a:pt x="80" y="92"/>
                    <a:pt x="80" y="92"/>
                  </a:cubicBezTo>
                  <a:cubicBezTo>
                    <a:pt x="80" y="94"/>
                    <a:pt x="78" y="96"/>
                    <a:pt x="76" y="96"/>
                  </a:cubicBezTo>
                  <a:close/>
                  <a:moveTo>
                    <a:pt x="8" y="88"/>
                  </a:moveTo>
                  <a:cubicBezTo>
                    <a:pt x="72" y="88"/>
                    <a:pt x="72" y="88"/>
                    <a:pt x="72" y="88"/>
                  </a:cubicBezTo>
                  <a:cubicBezTo>
                    <a:pt x="72" y="8"/>
                    <a:pt x="72" y="8"/>
                    <a:pt x="72" y="8"/>
                  </a:cubicBezTo>
                  <a:cubicBezTo>
                    <a:pt x="8" y="8"/>
                    <a:pt x="8" y="8"/>
                    <a:pt x="8" y="8"/>
                  </a:cubicBezTo>
                  <a:lnTo>
                    <a:pt x="8" y="88"/>
                  </a:lnTo>
                  <a:close/>
                  <a:moveTo>
                    <a:pt x="40" y="80"/>
                  </a:moveTo>
                  <a:cubicBezTo>
                    <a:pt x="38" y="80"/>
                    <a:pt x="36" y="78"/>
                    <a:pt x="36" y="76"/>
                  </a:cubicBezTo>
                  <a:cubicBezTo>
                    <a:pt x="36" y="20"/>
                    <a:pt x="36" y="20"/>
                    <a:pt x="36" y="20"/>
                  </a:cubicBezTo>
                  <a:cubicBezTo>
                    <a:pt x="36" y="18"/>
                    <a:pt x="38" y="16"/>
                    <a:pt x="40" y="16"/>
                  </a:cubicBezTo>
                  <a:cubicBezTo>
                    <a:pt x="42" y="16"/>
                    <a:pt x="44" y="18"/>
                    <a:pt x="44" y="20"/>
                  </a:cubicBezTo>
                  <a:cubicBezTo>
                    <a:pt x="44" y="76"/>
                    <a:pt x="44" y="76"/>
                    <a:pt x="44" y="76"/>
                  </a:cubicBezTo>
                  <a:cubicBezTo>
                    <a:pt x="44" y="78"/>
                    <a:pt x="42"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8"/>
            <p:cNvSpPr>
              <a:spLocks/>
            </p:cNvSpPr>
            <p:nvPr/>
          </p:nvSpPr>
          <p:spPr bwMode="auto">
            <a:xfrm>
              <a:off x="3145" y="1837"/>
              <a:ext cx="101" cy="138"/>
            </a:xfrm>
            <a:custGeom>
              <a:avLst/>
              <a:gdLst>
                <a:gd name="T0" fmla="*/ 19 w 38"/>
                <a:gd name="T1" fmla="*/ 52 h 52"/>
                <a:gd name="T2" fmla="*/ 3 w 38"/>
                <a:gd name="T3" fmla="*/ 49 h 52"/>
                <a:gd name="T4" fmla="*/ 1 w 38"/>
                <a:gd name="T5" fmla="*/ 43 h 52"/>
                <a:gd name="T6" fmla="*/ 6 w 38"/>
                <a:gd name="T7" fmla="*/ 41 h 52"/>
                <a:gd name="T8" fmla="*/ 27 w 38"/>
                <a:gd name="T9" fmla="*/ 42 h 52"/>
                <a:gd name="T10" fmla="*/ 29 w 38"/>
                <a:gd name="T11" fmla="*/ 37 h 52"/>
                <a:gd name="T12" fmla="*/ 19 w 38"/>
                <a:gd name="T13" fmla="*/ 31 h 52"/>
                <a:gd name="T14" fmla="*/ 3 w 38"/>
                <a:gd name="T15" fmla="*/ 15 h 52"/>
                <a:gd name="T16" fmla="*/ 9 w 38"/>
                <a:gd name="T17" fmla="*/ 4 h 52"/>
                <a:gd name="T18" fmla="*/ 36 w 38"/>
                <a:gd name="T19" fmla="*/ 5 h 52"/>
                <a:gd name="T20" fmla="*/ 37 w 38"/>
                <a:gd name="T21" fmla="*/ 11 h 52"/>
                <a:gd name="T22" fmla="*/ 32 w 38"/>
                <a:gd name="T23" fmla="*/ 12 h 52"/>
                <a:gd name="T24" fmla="*/ 13 w 38"/>
                <a:gd name="T25" fmla="*/ 11 h 52"/>
                <a:gd name="T26" fmla="*/ 11 w 38"/>
                <a:gd name="T27" fmla="*/ 15 h 52"/>
                <a:gd name="T28" fmla="*/ 22 w 38"/>
                <a:gd name="T29" fmla="*/ 23 h 52"/>
                <a:gd name="T30" fmla="*/ 37 w 38"/>
                <a:gd name="T31" fmla="*/ 37 h 52"/>
                <a:gd name="T32" fmla="*/ 31 w 38"/>
                <a:gd name="T33" fmla="*/ 49 h 52"/>
                <a:gd name="T34" fmla="*/ 19 w 38"/>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2">
                  <a:moveTo>
                    <a:pt x="19" y="52"/>
                  </a:moveTo>
                  <a:cubicBezTo>
                    <a:pt x="14" y="52"/>
                    <a:pt x="8" y="50"/>
                    <a:pt x="3" y="49"/>
                  </a:cubicBezTo>
                  <a:cubicBezTo>
                    <a:pt x="1" y="48"/>
                    <a:pt x="0" y="45"/>
                    <a:pt x="1" y="43"/>
                  </a:cubicBezTo>
                  <a:cubicBezTo>
                    <a:pt x="1" y="41"/>
                    <a:pt x="4" y="40"/>
                    <a:pt x="6" y="41"/>
                  </a:cubicBezTo>
                  <a:cubicBezTo>
                    <a:pt x="14" y="44"/>
                    <a:pt x="23" y="45"/>
                    <a:pt x="27" y="42"/>
                  </a:cubicBezTo>
                  <a:cubicBezTo>
                    <a:pt x="28" y="41"/>
                    <a:pt x="29" y="40"/>
                    <a:pt x="29" y="37"/>
                  </a:cubicBezTo>
                  <a:cubicBezTo>
                    <a:pt x="29" y="34"/>
                    <a:pt x="26" y="33"/>
                    <a:pt x="19" y="31"/>
                  </a:cubicBezTo>
                  <a:cubicBezTo>
                    <a:pt x="12" y="28"/>
                    <a:pt x="3" y="25"/>
                    <a:pt x="3" y="15"/>
                  </a:cubicBezTo>
                  <a:cubicBezTo>
                    <a:pt x="3" y="10"/>
                    <a:pt x="5" y="6"/>
                    <a:pt x="9" y="4"/>
                  </a:cubicBezTo>
                  <a:cubicBezTo>
                    <a:pt x="17" y="0"/>
                    <a:pt x="30" y="2"/>
                    <a:pt x="36" y="5"/>
                  </a:cubicBezTo>
                  <a:cubicBezTo>
                    <a:pt x="37" y="6"/>
                    <a:pt x="38" y="9"/>
                    <a:pt x="37" y="11"/>
                  </a:cubicBezTo>
                  <a:cubicBezTo>
                    <a:pt x="36" y="13"/>
                    <a:pt x="34" y="13"/>
                    <a:pt x="32" y="12"/>
                  </a:cubicBezTo>
                  <a:cubicBezTo>
                    <a:pt x="28" y="10"/>
                    <a:pt x="18" y="8"/>
                    <a:pt x="13" y="11"/>
                  </a:cubicBezTo>
                  <a:cubicBezTo>
                    <a:pt x="11" y="12"/>
                    <a:pt x="11" y="13"/>
                    <a:pt x="11" y="15"/>
                  </a:cubicBezTo>
                  <a:cubicBezTo>
                    <a:pt x="11" y="19"/>
                    <a:pt x="14" y="21"/>
                    <a:pt x="22" y="23"/>
                  </a:cubicBezTo>
                  <a:cubicBezTo>
                    <a:pt x="28" y="25"/>
                    <a:pt x="37" y="28"/>
                    <a:pt x="37" y="37"/>
                  </a:cubicBezTo>
                  <a:cubicBezTo>
                    <a:pt x="37" y="43"/>
                    <a:pt x="34" y="47"/>
                    <a:pt x="31" y="49"/>
                  </a:cubicBezTo>
                  <a:cubicBezTo>
                    <a:pt x="28" y="51"/>
                    <a:pt x="24" y="52"/>
                    <a:pt x="1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4"/>
          <p:cNvGrpSpPr>
            <a:grpSpLocks noChangeAspect="1"/>
          </p:cNvGrpSpPr>
          <p:nvPr userDrawn="1"/>
        </p:nvGrpSpPr>
        <p:grpSpPr bwMode="auto">
          <a:xfrm>
            <a:off x="11434986" y="424646"/>
            <a:ext cx="320229" cy="292709"/>
            <a:chOff x="293" y="695"/>
            <a:chExt cx="256" cy="234"/>
          </a:xfrm>
          <a:solidFill>
            <a:schemeClr val="bg1"/>
          </a:solidFill>
        </p:grpSpPr>
        <p:sp>
          <p:nvSpPr>
            <p:cNvPr id="27"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9" name="Freeform 19"/>
          <p:cNvSpPr>
            <a:spLocks noEditPoints="1"/>
          </p:cNvSpPr>
          <p:nvPr userDrawn="1"/>
        </p:nvSpPr>
        <p:spPr bwMode="auto">
          <a:xfrm>
            <a:off x="11443117" y="3852981"/>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13" name="Straight Connector 12"/>
          <p:cNvCxnSpPr/>
          <p:nvPr userDrawn="1"/>
        </p:nvCxnSpPr>
        <p:spPr>
          <a:xfrm>
            <a:off x="11239500" y="1145870"/>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11239500" y="2297642"/>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11239500" y="3433551"/>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11239500" y="4559336"/>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11239500" y="5713825"/>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34" name="TextBox 33"/>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a:solidFill>
                  <a:srgbClr val="FF0000"/>
                </a:solidFill>
              </a:rPr>
              <a:t>These slides provide</a:t>
            </a:r>
            <a:r>
              <a:rPr lang="en-US" sz="1050" baseline="0" dirty="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a:solidFill>
                <a:srgbClr val="FF0000"/>
              </a:solidFill>
            </a:endParaRPr>
          </a:p>
          <a:p>
            <a:pPr algn="l"/>
            <a:r>
              <a:rPr lang="en-US" sz="1050" baseline="0" dirty="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2812489928"/>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p:cSld name="BACK PAG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52E706-1FE4-5448-BF88-BDD1A5847DF0}"/>
              </a:ext>
            </a:extLst>
          </p:cNvPr>
          <p:cNvSpPr txBox="1"/>
          <p:nvPr/>
        </p:nvSpPr>
        <p:spPr>
          <a:xfrm>
            <a:off x="374977" y="2505671"/>
            <a:ext cx="8553624" cy="184665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Back pages</a:t>
            </a:r>
          </a:p>
        </p:txBody>
      </p:sp>
    </p:spTree>
    <p:extLst>
      <p:ext uri="{BB962C8B-B14F-4D97-AF65-F5344CB8AC3E}">
        <p14:creationId xmlns:p14="http://schemas.microsoft.com/office/powerpoint/2010/main" val="1247447058"/>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41171F7F-6D9E-5F49-9AA3-DEF9F2C59F0F}"/>
              </a:ext>
            </a:extLst>
          </p:cNvPr>
          <p:cNvPicPr>
            <a:picLocks noChangeAspect="1"/>
          </p:cNvPicPr>
          <p:nvPr/>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6802" y="2984402"/>
            <a:ext cx="2615184" cy="544830"/>
          </a:xfrm>
          <a:prstGeom prst="rect">
            <a:avLst/>
          </a:prstGeom>
        </p:spPr>
      </p:pic>
      <p:sp>
        <p:nvSpPr>
          <p:cNvPr id="8" name="Rectangle 7">
            <a:extLst>
              <a:ext uri="{FF2B5EF4-FFF2-40B4-BE49-F238E27FC236}">
                <a16:creationId xmlns:a16="http://schemas.microsoft.com/office/drawing/2014/main" id="{0E3EC6FD-E652-9349-AE1C-8BD4ACBE5962}"/>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tx2"/>
                </a:solidFill>
                <a:effectLst/>
                <a:latin typeface="Arial" panose="020B0604020202020204" pitchFamily="34" charset="0"/>
              </a:rPr>
              <a:t>A business of Marsh McLennan</a:t>
            </a:r>
            <a:endParaRPr lang="en-US" sz="1400" dirty="0">
              <a:solidFill>
                <a:schemeClr val="tx2"/>
              </a:solidFill>
            </a:endParaRPr>
          </a:p>
        </p:txBody>
      </p:sp>
    </p:spTree>
    <p:extLst>
      <p:ext uri="{BB962C8B-B14F-4D97-AF65-F5344CB8AC3E}">
        <p14:creationId xmlns:p14="http://schemas.microsoft.com/office/powerpoint/2010/main" val="213047957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x">
  <p:cSld name="BIOS + PRESENTERS">
    <p:spTree>
      <p:nvGrpSpPr>
        <p:cNvPr id="1" name=""/>
        <p:cNvGrpSpPr/>
        <p:nvPr/>
      </p:nvGrpSpPr>
      <p:grpSpPr>
        <a:xfrm>
          <a:off x="0" y="0"/>
          <a:ext cx="0" cy="0"/>
          <a:chOff x="0" y="0"/>
          <a:chExt cx="0" cy="0"/>
        </a:xfrm>
      </p:grpSpPr>
      <p:sp>
        <p:nvSpPr>
          <p:cNvPr id="467" name="Shape 467"/>
          <p:cNvSpPr/>
          <p:nvPr/>
        </p:nvSpPr>
        <p:spPr>
          <a:xfrm>
            <a:off x="374976" y="1701329"/>
            <a:ext cx="7806086" cy="3455343"/>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p>
            <a:pPr>
              <a:defRPr sz="12000" b="1">
                <a:solidFill>
                  <a:srgbClr val="FFFFFF"/>
                </a:solidFill>
              </a:defRPr>
            </a:pPr>
            <a:r>
              <a:t>Bios + </a:t>
            </a:r>
          </a:p>
          <a:p>
            <a:pPr>
              <a:defRPr sz="12000" b="1">
                <a:solidFill>
                  <a:srgbClr val="FFFFFF"/>
                </a:solidFill>
              </a:defRPr>
            </a:pPr>
            <a:r>
              <a:t>presenters</a:t>
            </a:r>
          </a:p>
        </p:txBody>
      </p:sp>
      <p:sp>
        <p:nvSpPr>
          <p:cNvPr id="468" name="Shape 468"/>
          <p:cNvSpPr>
            <a:spLocks noGrp="1"/>
          </p:cNvSpPr>
          <p:nvPr>
            <p:ph type="sldNum" sz="quarter" idx="2"/>
          </p:nvPr>
        </p:nvSpPr>
        <p:spPr>
          <a:prstGeom prst="rect">
            <a:avLst/>
          </a:prstGeom>
        </p:spPr>
        <p:txBody>
          <a:bodyPr/>
          <a:lstStyle/>
          <a:p>
            <a:fld id="{86CB4B4D-7CA3-9044-876B-883B54F8677D}" type="slidenum">
              <a:t>‹Nº›</a:t>
            </a:fld>
            <a:endParaRPr/>
          </a:p>
        </p:txBody>
      </p:sp>
    </p:spTree>
  </p:cSld>
  <p:clrMapOvr>
    <a:masterClrMapping/>
  </p:clrMapOvr>
  <p:transition spd="med"/>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preserve="1">
  <p:cSld name="Back page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1C5E338E-16D3-0A44-9BC7-F9FCD3106CF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6802" y="2984402"/>
            <a:ext cx="2615184" cy="544830"/>
          </a:xfrm>
          <a:prstGeom prst="rect">
            <a:avLst/>
          </a:prstGeom>
        </p:spPr>
      </p:pic>
      <p:sp>
        <p:nvSpPr>
          <p:cNvPr id="5" name="Rectangle 4">
            <a:extLst>
              <a:ext uri="{FF2B5EF4-FFF2-40B4-BE49-F238E27FC236}">
                <a16:creationId xmlns:a16="http://schemas.microsoft.com/office/drawing/2014/main" id="{9EBBD039-CADC-3842-8CB7-3BA3EBE03DB2}"/>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bg1"/>
                </a:solidFill>
                <a:effectLst/>
                <a:latin typeface="Arial" panose="020B0604020202020204" pitchFamily="34" charset="0"/>
              </a:rPr>
              <a:t>A business of Marsh McLennan</a:t>
            </a:r>
            <a:endParaRPr lang="en-US" sz="1400" dirty="0">
              <a:solidFill>
                <a:schemeClr val="bg1"/>
              </a:solidFill>
            </a:endParaRPr>
          </a:p>
        </p:txBody>
      </p:sp>
    </p:spTree>
    <p:extLst>
      <p:ext uri="{BB962C8B-B14F-4D97-AF65-F5344CB8AC3E}">
        <p14:creationId xmlns:p14="http://schemas.microsoft.com/office/powerpoint/2010/main" val="3905302032"/>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p:cSld name="1_Back page blue">
    <p:bg>
      <p:bgPr>
        <a:solidFill>
          <a:srgbClr val="002C77"/>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1C5E338E-16D3-0A44-9BC7-F9FCD3106CF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6802" y="2984402"/>
            <a:ext cx="2615184" cy="544830"/>
          </a:xfrm>
          <a:prstGeom prst="rect">
            <a:avLst/>
          </a:prstGeom>
        </p:spPr>
      </p:pic>
      <p:sp>
        <p:nvSpPr>
          <p:cNvPr id="5" name="Rectangle 4">
            <a:extLst>
              <a:ext uri="{FF2B5EF4-FFF2-40B4-BE49-F238E27FC236}">
                <a16:creationId xmlns:a16="http://schemas.microsoft.com/office/drawing/2014/main" id="{9EBBD039-CADC-3842-8CB7-3BA3EBE03DB2}"/>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bg1"/>
                </a:solidFill>
                <a:effectLst/>
                <a:latin typeface="Arial" panose="020B0604020202020204" pitchFamily="34" charset="0"/>
              </a:rPr>
              <a:t>A business of Marsh McLennan</a:t>
            </a:r>
            <a:endParaRPr lang="en-US" sz="1400" dirty="0">
              <a:solidFill>
                <a:schemeClr val="bg1"/>
              </a:solidFill>
            </a:endParaRPr>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57901" y="2814205"/>
            <a:ext cx="7212197" cy="852920"/>
          </a:xfrm>
          <a:prstGeom prst="rect">
            <a:avLst/>
          </a:prstGeom>
          <a:effectLst>
            <a:outerShdw blurRad="50800" dist="50800" dir="5400000" algn="ctr" rotWithShape="0">
              <a:srgbClr val="002C77"/>
            </a:outerShdw>
          </a:effectLst>
        </p:spPr>
      </p:pic>
    </p:spTree>
    <p:extLst>
      <p:ext uri="{BB962C8B-B14F-4D97-AF65-F5344CB8AC3E}">
        <p14:creationId xmlns:p14="http://schemas.microsoft.com/office/powerpoint/2010/main" val="2334314392"/>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p:cSld name="Back page + disclaim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B97647A-7060-6441-95B5-4F3CABC16890}"/>
              </a:ext>
            </a:extLst>
          </p:cNvPr>
          <p:cNvSpPr>
            <a:spLocks noGrp="1"/>
          </p:cNvSpPr>
          <p:nvPr>
            <p:ph type="body" sz="quarter" idx="10" hasCustomPrompt="1"/>
          </p:nvPr>
        </p:nvSpPr>
        <p:spPr>
          <a:xfrm>
            <a:off x="485775" y="1609725"/>
            <a:ext cx="11223625" cy="3703320"/>
          </a:xfrm>
        </p:spPr>
        <p:txBody>
          <a:bodyPr anchor="t" anchorCtr="0">
            <a:normAutofit/>
          </a:bodyPr>
          <a:lstStyle>
            <a:lvl1pPr>
              <a:spcBef>
                <a:spcPts val="0"/>
              </a:spcBef>
              <a:defRPr sz="800">
                <a:solidFill>
                  <a:schemeClr val="tx2"/>
                </a:solidFill>
              </a:defRPr>
            </a:lvl1pPr>
          </a:lstStyle>
          <a:p>
            <a:pPr lvl="0"/>
            <a:r>
              <a:rPr lang="en-US" dirty="0"/>
              <a:t>Click to add disclaimer</a:t>
            </a:r>
          </a:p>
        </p:txBody>
      </p:sp>
      <p:pic>
        <p:nvPicPr>
          <p:cNvPr id="11" name="Graphic 10">
            <a:extLst>
              <a:ext uri="{FF2B5EF4-FFF2-40B4-BE49-F238E27FC236}">
                <a16:creationId xmlns:a16="http://schemas.microsoft.com/office/drawing/2014/main" id="{7A1D7202-DC3D-C64A-8448-4612A72608D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6802" y="554729"/>
            <a:ext cx="1857071" cy="386890"/>
          </a:xfrm>
          <a:prstGeom prst="rect">
            <a:avLst/>
          </a:prstGeom>
        </p:spPr>
      </p:pic>
      <p:sp>
        <p:nvSpPr>
          <p:cNvPr id="7" name="Rectangle 6">
            <a:extLst>
              <a:ext uri="{FF2B5EF4-FFF2-40B4-BE49-F238E27FC236}">
                <a16:creationId xmlns:a16="http://schemas.microsoft.com/office/drawing/2014/main" id="{42F49B1B-455D-374F-B8F9-2EFFBC395C19}"/>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tx2"/>
                </a:solidFill>
                <a:effectLst/>
                <a:latin typeface="Arial" panose="020B0604020202020204" pitchFamily="34" charset="0"/>
              </a:rPr>
              <a:t>A business of Marsh McLennan</a:t>
            </a:r>
            <a:endParaRPr lang="en-US" sz="1400" dirty="0">
              <a:solidFill>
                <a:schemeClr val="tx2"/>
              </a:solidFill>
            </a:endParaRPr>
          </a:p>
        </p:txBody>
      </p:sp>
    </p:spTree>
    <p:extLst>
      <p:ext uri="{BB962C8B-B14F-4D97-AF65-F5344CB8AC3E}">
        <p14:creationId xmlns:p14="http://schemas.microsoft.com/office/powerpoint/2010/main" val="1055484282"/>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p:cSld name="Back page blue + disclaimer">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4" name="Text Placeholder 11">
            <a:extLst>
              <a:ext uri="{FF2B5EF4-FFF2-40B4-BE49-F238E27FC236}">
                <a16:creationId xmlns:a16="http://schemas.microsoft.com/office/drawing/2014/main" id="{50A11EE6-855A-9049-A228-49ED1E9FCB28}"/>
              </a:ext>
            </a:extLst>
          </p:cNvPr>
          <p:cNvSpPr>
            <a:spLocks noGrp="1"/>
          </p:cNvSpPr>
          <p:nvPr>
            <p:ph type="body" sz="quarter" idx="10" hasCustomPrompt="1"/>
          </p:nvPr>
        </p:nvSpPr>
        <p:spPr>
          <a:xfrm>
            <a:off x="485775" y="1609725"/>
            <a:ext cx="11223625" cy="3703804"/>
          </a:xfrm>
        </p:spPr>
        <p:txBody>
          <a:bodyPr anchor="t" anchorCtr="0">
            <a:normAutofit/>
          </a:bodyPr>
          <a:lstStyle>
            <a:lvl1pPr>
              <a:spcBef>
                <a:spcPts val="0"/>
              </a:spcBef>
              <a:defRPr sz="800">
                <a:solidFill>
                  <a:schemeClr val="bg1"/>
                </a:solidFill>
              </a:defRPr>
            </a:lvl1pPr>
          </a:lstStyle>
          <a:p>
            <a:pPr lvl="0"/>
            <a:r>
              <a:rPr lang="en-US" dirty="0"/>
              <a:t>Click to add disclaimer</a:t>
            </a:r>
          </a:p>
        </p:txBody>
      </p:sp>
      <p:sp>
        <p:nvSpPr>
          <p:cNvPr id="8" name="TextBox 7">
            <a:extLst>
              <a:ext uri="{FF2B5EF4-FFF2-40B4-BE49-F238E27FC236}">
                <a16:creationId xmlns:a16="http://schemas.microsoft.com/office/drawing/2014/main" id="{0774C7E3-C8BD-E848-AACB-125BC2BDCD58}"/>
              </a:ext>
            </a:extLst>
          </p:cNvPr>
          <p:cNvSpPr txBox="1"/>
          <p:nvPr/>
        </p:nvSpPr>
        <p:spPr>
          <a:xfrm>
            <a:off x="474202" y="5585606"/>
            <a:ext cx="5874840" cy="535794"/>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2"/>
                </a:solidFill>
                <a:effectLst/>
                <a:latin typeface="+mn-lt"/>
                <a:ea typeface="+mn-ea"/>
                <a:cs typeface="+mn-cs"/>
              </a:rPr>
              <a:t>We are leaders in risk, strategy and people. One company, with four global businesses, united by a shared purpose to make a difference in the moments that matter.</a:t>
            </a:r>
          </a:p>
        </p:txBody>
      </p:sp>
      <p:pic>
        <p:nvPicPr>
          <p:cNvPr id="9" name="Graphic 8">
            <a:extLst>
              <a:ext uri="{FF2B5EF4-FFF2-40B4-BE49-F238E27FC236}">
                <a16:creationId xmlns:a16="http://schemas.microsoft.com/office/drawing/2014/main" id="{1C0978F2-580C-D846-BB1D-2538154CE247}"/>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6802" y="554729"/>
            <a:ext cx="1857071" cy="386890"/>
          </a:xfrm>
          <a:prstGeom prst="rect">
            <a:avLst/>
          </a:prstGeom>
        </p:spPr>
      </p:pic>
      <p:sp>
        <p:nvSpPr>
          <p:cNvPr id="7" name="Rectangle 6">
            <a:extLst>
              <a:ext uri="{FF2B5EF4-FFF2-40B4-BE49-F238E27FC236}">
                <a16:creationId xmlns:a16="http://schemas.microsoft.com/office/drawing/2014/main" id="{2BB901D0-3F63-BF40-93C9-68ACEA3BFCE7}"/>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bg1"/>
                </a:solidFill>
                <a:effectLst/>
                <a:latin typeface="Arial" panose="020B0604020202020204" pitchFamily="34" charset="0"/>
              </a:rPr>
              <a:t>A business of Marsh McLennan</a:t>
            </a:r>
            <a:endParaRPr lang="en-US" sz="1400" dirty="0">
              <a:solidFill>
                <a:schemeClr val="bg1"/>
              </a:solidFill>
            </a:endParaRPr>
          </a:p>
        </p:txBody>
      </p:sp>
    </p:spTree>
    <p:extLst>
      <p:ext uri="{BB962C8B-B14F-4D97-AF65-F5344CB8AC3E}">
        <p14:creationId xmlns:p14="http://schemas.microsoft.com/office/powerpoint/2010/main" val="2666185577"/>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58802" y="382589"/>
            <a:ext cx="11048693" cy="690563"/>
          </a:xfrm>
        </p:spPr>
        <p:txBody>
          <a:bodyPr/>
          <a:lstStyle/>
          <a:p>
            <a:r>
              <a:rPr lang="en-US"/>
              <a:t>Click to edit Master title style</a:t>
            </a:r>
          </a:p>
        </p:txBody>
      </p:sp>
      <p:sp>
        <p:nvSpPr>
          <p:cNvPr id="3" name="Content Placeholder 2"/>
          <p:cNvSpPr>
            <a:spLocks noGrp="1"/>
          </p:cNvSpPr>
          <p:nvPr>
            <p:ph idx="1"/>
          </p:nvPr>
        </p:nvSpPr>
        <p:spPr>
          <a:xfrm>
            <a:off x="558802" y="1277940"/>
            <a:ext cx="11048693" cy="49879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3"/>
          <p:cNvSpPr>
            <a:spLocks noGrp="1"/>
          </p:cNvSpPr>
          <p:nvPr>
            <p:ph type="sldNum" sz="quarter" idx="10"/>
          </p:nvPr>
        </p:nvSpPr>
        <p:spPr/>
        <p:txBody>
          <a:bodyPr/>
          <a:lstStyle>
            <a:lvl1pPr>
              <a:defRPr/>
            </a:lvl1pPr>
          </a:lstStyle>
          <a:p>
            <a:fld id="{4A0C0F96-B644-449E-AAAF-20DAA76362A5}" type="slidenum">
              <a:rPr lang="en-US"/>
              <a:pPr/>
              <a:t>‹Nº›</a:t>
            </a:fld>
            <a:endParaRPr lang="en-US" dirty="0"/>
          </a:p>
        </p:txBody>
      </p:sp>
    </p:spTree>
    <p:extLst>
      <p:ext uri="{BB962C8B-B14F-4D97-AF65-F5344CB8AC3E}">
        <p14:creationId xmlns:p14="http://schemas.microsoft.com/office/powerpoint/2010/main" val="41044543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x">
  <p:cSld name="Title + content left">
    <p:bg>
      <p:bgPr>
        <a:solidFill>
          <a:srgbClr val="FFFFFF"/>
        </a:solidFill>
        <a:effectLst/>
      </p:bgPr>
    </p:bg>
    <p:spTree>
      <p:nvGrpSpPr>
        <p:cNvPr id="1" name=""/>
        <p:cNvGrpSpPr/>
        <p:nvPr/>
      </p:nvGrpSpPr>
      <p:grpSpPr>
        <a:xfrm>
          <a:off x="0" y="0"/>
          <a:ext cx="0" cy="0"/>
          <a:chOff x="0" y="0"/>
          <a:chExt cx="0" cy="0"/>
        </a:xfrm>
      </p:grpSpPr>
      <p:pic>
        <p:nvPicPr>
          <p:cNvPr id="41"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42" name="Shape 42"/>
          <p:cNvSpPr>
            <a:spLocks noGrp="1"/>
          </p:cNvSpPr>
          <p:nvPr>
            <p:ph type="body" sz="quarter" idx="13"/>
          </p:nvPr>
        </p:nvSpPr>
        <p:spPr>
          <a:xfrm>
            <a:off x="6210301" y="6388100"/>
            <a:ext cx="4546601" cy="247650"/>
          </a:xfrm>
          <a:prstGeom prst="rect">
            <a:avLst/>
          </a:prstGeom>
        </p:spPr>
        <p:txBody>
          <a:bodyPr anchor="b"/>
          <a:lstStyle>
            <a:lvl1pPr algn="r">
              <a:spcBef>
                <a:spcPts val="0"/>
              </a:spcBef>
              <a:defRPr sz="800"/>
            </a:lvl1pPr>
          </a:lstStyle>
          <a:p>
            <a:r>
              <a:t> </a:t>
            </a:r>
          </a:p>
        </p:txBody>
      </p:sp>
      <p:sp>
        <p:nvSpPr>
          <p:cNvPr id="43" name="Shape 43"/>
          <p:cNvSpPr>
            <a:spLocks noGrp="1"/>
          </p:cNvSpPr>
          <p:nvPr>
            <p:ph type="title"/>
          </p:nvPr>
        </p:nvSpPr>
        <p:spPr>
          <a:xfrm>
            <a:off x="458720" y="356540"/>
            <a:ext cx="3605281" cy="839214"/>
          </a:xfrm>
          <a:prstGeom prst="rect">
            <a:avLst/>
          </a:prstGeom>
        </p:spPr>
        <p:txBody>
          <a:bodyPr>
            <a:normAutofit/>
          </a:bodyPr>
          <a:lstStyle/>
          <a:p>
            <a:r>
              <a:t>Texto del título</a:t>
            </a:r>
          </a:p>
        </p:txBody>
      </p:sp>
      <p:sp>
        <p:nvSpPr>
          <p:cNvPr id="44" name="Shape 44"/>
          <p:cNvSpPr>
            <a:spLocks noGrp="1"/>
          </p:cNvSpPr>
          <p:nvPr>
            <p:ph type="body" sz="quarter" idx="1"/>
          </p:nvPr>
        </p:nvSpPr>
        <p:spPr>
          <a:xfrm>
            <a:off x="485776" y="1616075"/>
            <a:ext cx="3578224" cy="4502150"/>
          </a:xfrm>
          <a:prstGeom prst="rect">
            <a:avLst/>
          </a:prstGeom>
        </p:spPr>
        <p:txBody>
          <a:bodyPr>
            <a:normAutofit/>
          </a:bodyPr>
          <a:lstStyle/>
          <a:p>
            <a:r>
              <a:t>Nivel de texto 1</a:t>
            </a:r>
          </a:p>
          <a:p>
            <a:pPr lvl="1"/>
            <a:r>
              <a:t>Nivel de texto 2</a:t>
            </a:r>
          </a:p>
          <a:p>
            <a:pPr lvl="2"/>
            <a:r>
              <a:t>Nivel de texto 3</a:t>
            </a:r>
          </a:p>
          <a:p>
            <a:pPr lvl="3"/>
            <a:r>
              <a:t>Nivel de texto 4</a:t>
            </a:r>
          </a:p>
          <a:p>
            <a:pPr lvl="4"/>
            <a:r>
              <a:t>Nivel de texto 5</a:t>
            </a:r>
          </a:p>
        </p:txBody>
      </p:sp>
      <p:sp>
        <p:nvSpPr>
          <p:cNvPr id="45" name="Shape 45"/>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x">
  <p:cSld name="1 Square">
    <p:bg>
      <p:bgPr>
        <a:solidFill>
          <a:srgbClr val="FFFFFF"/>
        </a:solidFill>
        <a:effectLst/>
      </p:bgPr>
    </p:bg>
    <p:spTree>
      <p:nvGrpSpPr>
        <p:cNvPr id="1" name=""/>
        <p:cNvGrpSpPr/>
        <p:nvPr/>
      </p:nvGrpSpPr>
      <p:grpSpPr>
        <a:xfrm>
          <a:off x="0" y="0"/>
          <a:ext cx="0" cy="0"/>
          <a:chOff x="0" y="0"/>
          <a:chExt cx="0" cy="0"/>
        </a:xfrm>
      </p:grpSpPr>
      <p:pic>
        <p:nvPicPr>
          <p:cNvPr id="475"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476" name="Shape 476"/>
          <p:cNvSpPr>
            <a:spLocks noGrp="1"/>
          </p:cNvSpPr>
          <p:nvPr>
            <p:ph type="pic" sz="quarter" idx="13"/>
          </p:nvPr>
        </p:nvSpPr>
        <p:spPr>
          <a:xfrm>
            <a:off x="485776" y="1620837"/>
            <a:ext cx="3578224" cy="3578225"/>
          </a:xfrm>
          <a:prstGeom prst="rect">
            <a:avLst/>
          </a:prstGeom>
        </p:spPr>
        <p:txBody>
          <a:bodyPr lIns="91439" tIns="45719" rIns="91439" bIns="45719"/>
          <a:lstStyle/>
          <a:p>
            <a:endParaRPr/>
          </a:p>
        </p:txBody>
      </p:sp>
      <p:sp>
        <p:nvSpPr>
          <p:cNvPr id="477" name="Shape 477"/>
          <p:cNvSpPr>
            <a:spLocks noGrp="1"/>
          </p:cNvSpPr>
          <p:nvPr>
            <p:ph type="body" sz="half" idx="14"/>
          </p:nvPr>
        </p:nvSpPr>
        <p:spPr>
          <a:xfrm>
            <a:off x="4312994" y="2308118"/>
            <a:ext cx="7396406" cy="3813282"/>
          </a:xfrm>
          <a:prstGeom prst="rect">
            <a:avLst/>
          </a:prstGeom>
        </p:spPr>
        <p:txBody>
          <a:bodyPr/>
          <a:lstStyle>
            <a:lvl1pPr>
              <a:defRPr sz="1500"/>
            </a:lvl1pPr>
          </a:lstStyle>
          <a:p>
            <a:r>
              <a:t> </a:t>
            </a:r>
          </a:p>
        </p:txBody>
      </p:sp>
      <p:sp>
        <p:nvSpPr>
          <p:cNvPr id="478" name="Shape 478"/>
          <p:cNvSpPr>
            <a:spLocks noGrp="1"/>
          </p:cNvSpPr>
          <p:nvPr>
            <p:ph type="body" sz="quarter" idx="15"/>
          </p:nvPr>
        </p:nvSpPr>
        <p:spPr>
          <a:xfrm>
            <a:off x="4312994" y="1875117"/>
            <a:ext cx="7396407" cy="318477"/>
          </a:xfrm>
          <a:prstGeom prst="rect">
            <a:avLst/>
          </a:prstGeom>
        </p:spPr>
        <p:txBody>
          <a:bodyPr/>
          <a:lstStyle>
            <a:lvl1pPr>
              <a:spcBef>
                <a:spcPts val="0"/>
              </a:spcBef>
            </a:lvl1pPr>
          </a:lstStyle>
          <a:p>
            <a:r>
              <a:t> </a:t>
            </a:r>
          </a:p>
        </p:txBody>
      </p:sp>
      <p:sp>
        <p:nvSpPr>
          <p:cNvPr id="479" name="Shape 479"/>
          <p:cNvSpPr>
            <a:spLocks noGrp="1"/>
          </p:cNvSpPr>
          <p:nvPr>
            <p:ph type="body" sz="quarter" idx="16"/>
          </p:nvPr>
        </p:nvSpPr>
        <p:spPr>
          <a:xfrm>
            <a:off x="485775" y="806807"/>
            <a:ext cx="11223626" cy="318477"/>
          </a:xfrm>
          <a:prstGeom prst="rect">
            <a:avLst/>
          </a:prstGeom>
        </p:spPr>
        <p:txBody>
          <a:bodyPr/>
          <a:lstStyle>
            <a:lvl1pPr>
              <a:defRPr b="1">
                <a:solidFill>
                  <a:srgbClr val="002C77"/>
                </a:solidFill>
              </a:defRPr>
            </a:lvl1pPr>
          </a:lstStyle>
          <a:p>
            <a:r>
              <a:t> </a:t>
            </a:r>
          </a:p>
        </p:txBody>
      </p:sp>
      <p:sp>
        <p:nvSpPr>
          <p:cNvPr id="480" name="Shape 480"/>
          <p:cNvSpPr>
            <a:spLocks noGrp="1"/>
          </p:cNvSpPr>
          <p:nvPr>
            <p:ph type="title"/>
          </p:nvPr>
        </p:nvSpPr>
        <p:spPr>
          <a:xfrm>
            <a:off x="457200" y="355600"/>
            <a:ext cx="11252200" cy="495300"/>
          </a:xfrm>
          <a:prstGeom prst="rect">
            <a:avLst/>
          </a:prstGeom>
        </p:spPr>
        <p:txBody>
          <a:bodyPr>
            <a:normAutofit/>
          </a:bodyPr>
          <a:lstStyle/>
          <a:p>
            <a:r>
              <a:t>Texto del título</a:t>
            </a:r>
          </a:p>
        </p:txBody>
      </p:sp>
      <p:sp>
        <p:nvSpPr>
          <p:cNvPr id="481" name="Shape 481"/>
          <p:cNvSpPr>
            <a:spLocks noGrp="1"/>
          </p:cNvSpPr>
          <p:nvPr>
            <p:ph type="body" sz="quarter" idx="1"/>
          </p:nvPr>
        </p:nvSpPr>
        <p:spPr>
          <a:xfrm>
            <a:off x="4312994" y="1557462"/>
            <a:ext cx="7396407" cy="318477"/>
          </a:xfrm>
          <a:prstGeom prst="rect">
            <a:avLst/>
          </a:prstGeom>
        </p:spPr>
        <p:txBody>
          <a:bodyPr>
            <a:normAutofit/>
          </a:bodyPr>
          <a:lstStyle>
            <a:lvl1pPr>
              <a:spcBef>
                <a:spcPts val="0"/>
              </a:spcBef>
              <a:defRPr b="1"/>
            </a:lvl1pPr>
            <a:lvl2pPr marL="0" indent="457200">
              <a:spcBef>
                <a:spcPts val="0"/>
              </a:spcBef>
              <a:buSzTx/>
              <a:buNone/>
              <a:defRPr b="1"/>
            </a:lvl2pPr>
            <a:lvl3pPr marL="0" indent="914400">
              <a:spcBef>
                <a:spcPts val="0"/>
              </a:spcBef>
              <a:buSzTx/>
              <a:buNone/>
              <a:defRPr b="1"/>
            </a:lvl3pPr>
            <a:lvl4pPr marL="0" indent="1371600">
              <a:spcBef>
                <a:spcPts val="0"/>
              </a:spcBef>
              <a:buSzTx/>
              <a:buNone/>
              <a:defRPr b="1"/>
            </a:lvl4pPr>
            <a:lvl5pPr marL="0" indent="1828800">
              <a:spcBef>
                <a:spcPts val="0"/>
              </a:spcBef>
              <a:buSzTx/>
              <a:buNone/>
              <a:defRPr b="1"/>
            </a:lvl5pPr>
          </a:lstStyle>
          <a:p>
            <a:r>
              <a:t>Nivel de texto 1</a:t>
            </a:r>
          </a:p>
          <a:p>
            <a:pPr lvl="1"/>
            <a:r>
              <a:t>Nivel de texto 2</a:t>
            </a:r>
          </a:p>
          <a:p>
            <a:pPr lvl="2"/>
            <a:r>
              <a:t>Nivel de texto 3</a:t>
            </a:r>
          </a:p>
          <a:p>
            <a:pPr lvl="3"/>
            <a:r>
              <a:t>Nivel de texto 4</a:t>
            </a:r>
          </a:p>
          <a:p>
            <a:pPr lvl="4"/>
            <a:r>
              <a:t>Nivel de texto 5</a:t>
            </a:r>
          </a:p>
        </p:txBody>
      </p:sp>
      <p:sp>
        <p:nvSpPr>
          <p:cNvPr id="482" name="Shape 482"/>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x">
  <p:cSld name="2 Squares">
    <p:bg>
      <p:bgPr>
        <a:solidFill>
          <a:srgbClr val="FFFFFF"/>
        </a:solidFill>
        <a:effectLst/>
      </p:bgPr>
    </p:bg>
    <p:spTree>
      <p:nvGrpSpPr>
        <p:cNvPr id="1" name=""/>
        <p:cNvGrpSpPr/>
        <p:nvPr/>
      </p:nvGrpSpPr>
      <p:grpSpPr>
        <a:xfrm>
          <a:off x="0" y="0"/>
          <a:ext cx="0" cy="0"/>
          <a:chOff x="0" y="0"/>
          <a:chExt cx="0" cy="0"/>
        </a:xfrm>
      </p:grpSpPr>
      <p:pic>
        <p:nvPicPr>
          <p:cNvPr id="489"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490" name="Shape 490"/>
          <p:cNvSpPr>
            <a:spLocks noGrp="1"/>
          </p:cNvSpPr>
          <p:nvPr>
            <p:ph type="pic" sz="quarter" idx="13"/>
          </p:nvPr>
        </p:nvSpPr>
        <p:spPr>
          <a:xfrm>
            <a:off x="485776" y="1620837"/>
            <a:ext cx="1673225" cy="1704976"/>
          </a:xfrm>
          <a:prstGeom prst="rect">
            <a:avLst/>
          </a:prstGeom>
        </p:spPr>
        <p:txBody>
          <a:bodyPr lIns="91439" tIns="45719" rIns="91439" bIns="45719"/>
          <a:lstStyle/>
          <a:p>
            <a:endParaRPr/>
          </a:p>
        </p:txBody>
      </p:sp>
      <p:sp>
        <p:nvSpPr>
          <p:cNvPr id="491" name="Shape 491"/>
          <p:cNvSpPr>
            <a:spLocks noGrp="1"/>
          </p:cNvSpPr>
          <p:nvPr>
            <p:ph type="pic" sz="quarter" idx="14"/>
          </p:nvPr>
        </p:nvSpPr>
        <p:spPr>
          <a:xfrm>
            <a:off x="6217380" y="1620837"/>
            <a:ext cx="1669320" cy="1704976"/>
          </a:xfrm>
          <a:prstGeom prst="rect">
            <a:avLst/>
          </a:prstGeom>
        </p:spPr>
        <p:txBody>
          <a:bodyPr lIns="91439" tIns="45719" rIns="91439" bIns="45719"/>
          <a:lstStyle/>
          <a:p>
            <a:endParaRPr/>
          </a:p>
        </p:txBody>
      </p:sp>
      <p:sp>
        <p:nvSpPr>
          <p:cNvPr id="492" name="Shape 492"/>
          <p:cNvSpPr>
            <a:spLocks noGrp="1"/>
          </p:cNvSpPr>
          <p:nvPr>
            <p:ph type="body" sz="quarter" idx="15"/>
          </p:nvPr>
        </p:nvSpPr>
        <p:spPr>
          <a:xfrm>
            <a:off x="6226173" y="3548674"/>
            <a:ext cx="5495926" cy="318477"/>
          </a:xfrm>
          <a:prstGeom prst="rect">
            <a:avLst/>
          </a:prstGeom>
        </p:spPr>
        <p:txBody>
          <a:bodyPr/>
          <a:lstStyle>
            <a:lvl1pPr>
              <a:spcBef>
                <a:spcPts val="0"/>
              </a:spcBef>
              <a:defRPr b="1"/>
            </a:lvl1pPr>
          </a:lstStyle>
          <a:p>
            <a:r>
              <a:t> </a:t>
            </a:r>
          </a:p>
        </p:txBody>
      </p:sp>
      <p:sp>
        <p:nvSpPr>
          <p:cNvPr id="493" name="Shape 493"/>
          <p:cNvSpPr>
            <a:spLocks noGrp="1"/>
          </p:cNvSpPr>
          <p:nvPr>
            <p:ph type="body" sz="quarter" idx="16"/>
          </p:nvPr>
        </p:nvSpPr>
        <p:spPr>
          <a:xfrm>
            <a:off x="485776" y="3548674"/>
            <a:ext cx="5495926" cy="318477"/>
          </a:xfrm>
          <a:prstGeom prst="rect">
            <a:avLst/>
          </a:prstGeom>
        </p:spPr>
        <p:txBody>
          <a:bodyPr/>
          <a:lstStyle>
            <a:lvl1pPr>
              <a:spcBef>
                <a:spcPts val="0"/>
              </a:spcBef>
              <a:defRPr b="1"/>
            </a:lvl1pPr>
          </a:lstStyle>
          <a:p>
            <a:r>
              <a:t> </a:t>
            </a:r>
          </a:p>
        </p:txBody>
      </p:sp>
      <p:sp>
        <p:nvSpPr>
          <p:cNvPr id="494" name="Shape 494"/>
          <p:cNvSpPr>
            <a:spLocks noGrp="1"/>
          </p:cNvSpPr>
          <p:nvPr>
            <p:ph type="body" sz="quarter" idx="17"/>
          </p:nvPr>
        </p:nvSpPr>
        <p:spPr>
          <a:xfrm>
            <a:off x="6226176" y="4319151"/>
            <a:ext cx="5495923" cy="1802249"/>
          </a:xfrm>
          <a:prstGeom prst="rect">
            <a:avLst/>
          </a:prstGeom>
        </p:spPr>
        <p:txBody>
          <a:bodyPr/>
          <a:lstStyle>
            <a:lvl1pPr>
              <a:defRPr sz="1500"/>
            </a:lvl1pPr>
          </a:lstStyle>
          <a:p>
            <a:r>
              <a:t> </a:t>
            </a:r>
          </a:p>
        </p:txBody>
      </p:sp>
      <p:sp>
        <p:nvSpPr>
          <p:cNvPr id="495" name="Shape 495"/>
          <p:cNvSpPr>
            <a:spLocks noGrp="1"/>
          </p:cNvSpPr>
          <p:nvPr>
            <p:ph type="body" sz="quarter" idx="18"/>
          </p:nvPr>
        </p:nvSpPr>
        <p:spPr>
          <a:xfrm>
            <a:off x="6226173" y="3866329"/>
            <a:ext cx="5495926" cy="318477"/>
          </a:xfrm>
          <a:prstGeom prst="rect">
            <a:avLst/>
          </a:prstGeom>
        </p:spPr>
        <p:txBody>
          <a:bodyPr/>
          <a:lstStyle>
            <a:lvl1pPr>
              <a:spcBef>
                <a:spcPts val="0"/>
              </a:spcBef>
            </a:lvl1pPr>
          </a:lstStyle>
          <a:p>
            <a:r>
              <a:t> </a:t>
            </a:r>
          </a:p>
        </p:txBody>
      </p:sp>
      <p:sp>
        <p:nvSpPr>
          <p:cNvPr id="496" name="Shape 496"/>
          <p:cNvSpPr>
            <a:spLocks noGrp="1"/>
          </p:cNvSpPr>
          <p:nvPr>
            <p:ph type="body" sz="quarter" idx="19"/>
          </p:nvPr>
        </p:nvSpPr>
        <p:spPr>
          <a:xfrm>
            <a:off x="485779" y="4319151"/>
            <a:ext cx="5495922" cy="1802249"/>
          </a:xfrm>
          <a:prstGeom prst="rect">
            <a:avLst/>
          </a:prstGeom>
        </p:spPr>
        <p:txBody>
          <a:bodyPr/>
          <a:lstStyle>
            <a:lvl1pPr>
              <a:defRPr sz="1500"/>
            </a:lvl1pPr>
          </a:lstStyle>
          <a:p>
            <a:r>
              <a:t> </a:t>
            </a:r>
          </a:p>
        </p:txBody>
      </p:sp>
      <p:sp>
        <p:nvSpPr>
          <p:cNvPr id="497" name="Shape 497"/>
          <p:cNvSpPr>
            <a:spLocks noGrp="1"/>
          </p:cNvSpPr>
          <p:nvPr>
            <p:ph type="body" sz="quarter" idx="20"/>
          </p:nvPr>
        </p:nvSpPr>
        <p:spPr>
          <a:xfrm>
            <a:off x="485776" y="3866329"/>
            <a:ext cx="5495926" cy="318477"/>
          </a:xfrm>
          <a:prstGeom prst="rect">
            <a:avLst/>
          </a:prstGeom>
        </p:spPr>
        <p:txBody>
          <a:bodyPr/>
          <a:lstStyle>
            <a:lvl1pPr>
              <a:spcBef>
                <a:spcPts val="0"/>
              </a:spcBef>
            </a:lvl1pPr>
          </a:lstStyle>
          <a:p>
            <a:r>
              <a:t> </a:t>
            </a:r>
          </a:p>
        </p:txBody>
      </p:sp>
      <p:sp>
        <p:nvSpPr>
          <p:cNvPr id="498" name="Shape 498"/>
          <p:cNvSpPr>
            <a:spLocks noGrp="1"/>
          </p:cNvSpPr>
          <p:nvPr>
            <p:ph type="title"/>
          </p:nvPr>
        </p:nvSpPr>
        <p:spPr>
          <a:xfrm>
            <a:off x="457200" y="355600"/>
            <a:ext cx="11252200" cy="495300"/>
          </a:xfrm>
          <a:prstGeom prst="rect">
            <a:avLst/>
          </a:prstGeom>
        </p:spPr>
        <p:txBody>
          <a:bodyPr>
            <a:normAutofit/>
          </a:bodyPr>
          <a:lstStyle/>
          <a:p>
            <a:r>
              <a:t>Texto del título</a:t>
            </a:r>
          </a:p>
        </p:txBody>
      </p:sp>
      <p:sp>
        <p:nvSpPr>
          <p:cNvPr id="499" name="Shape 499"/>
          <p:cNvSpPr>
            <a:spLocks noGrp="1"/>
          </p:cNvSpPr>
          <p:nvPr>
            <p:ph type="body" sz="quarter" idx="1"/>
          </p:nvPr>
        </p:nvSpPr>
        <p:spPr>
          <a:xfrm>
            <a:off x="485776" y="806807"/>
            <a:ext cx="11223625" cy="318477"/>
          </a:xfrm>
          <a:prstGeom prst="rect">
            <a:avLst/>
          </a:prstGeom>
        </p:spPr>
        <p:txBody>
          <a:bodyPr>
            <a:normAutofit/>
          </a:bodyPr>
          <a:lstStyle>
            <a:lvl1pPr>
              <a:defRPr b="1">
                <a:solidFill>
                  <a:srgbClr val="002C77"/>
                </a:solidFill>
              </a:defRPr>
            </a:lvl1pPr>
            <a:lvl2pPr marL="0" indent="457200">
              <a:buSzTx/>
              <a:buNone/>
              <a:defRPr b="1">
                <a:solidFill>
                  <a:srgbClr val="002C77"/>
                </a:solidFill>
              </a:defRPr>
            </a:lvl2pPr>
            <a:lvl3pPr marL="0" indent="914400">
              <a:buSzTx/>
              <a:buNone/>
              <a:defRPr b="1">
                <a:solidFill>
                  <a:srgbClr val="002C77"/>
                </a:solidFill>
              </a:defRPr>
            </a:lvl3pPr>
            <a:lvl4pPr marL="0" indent="1371600">
              <a:buSzTx/>
              <a:buNone/>
              <a:defRPr b="1">
                <a:solidFill>
                  <a:srgbClr val="002C77"/>
                </a:solidFill>
              </a:defRPr>
            </a:lvl4pPr>
            <a:lvl5pPr marL="0" indent="1828800">
              <a:buSzTx/>
              <a:buNone/>
              <a:defRPr b="1">
                <a:solidFill>
                  <a:srgbClr val="002C77"/>
                </a:solidFill>
              </a:defRPr>
            </a:lvl5pPr>
          </a:lstStyle>
          <a:p>
            <a:r>
              <a:t>Nivel de texto 1</a:t>
            </a:r>
          </a:p>
          <a:p>
            <a:pPr lvl="1"/>
            <a:r>
              <a:t>Nivel de texto 2</a:t>
            </a:r>
          </a:p>
          <a:p>
            <a:pPr lvl="2"/>
            <a:r>
              <a:t>Nivel de texto 3</a:t>
            </a:r>
          </a:p>
          <a:p>
            <a:pPr lvl="3"/>
            <a:r>
              <a:t>Nivel de texto 4</a:t>
            </a:r>
          </a:p>
          <a:p>
            <a:pPr lvl="4"/>
            <a:r>
              <a:t>Nivel de texto 5</a:t>
            </a:r>
          </a:p>
        </p:txBody>
      </p:sp>
      <p:sp>
        <p:nvSpPr>
          <p:cNvPr id="500" name="Shape 500"/>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x">
  <p:cSld name="3 Squares">
    <p:bg>
      <p:bgPr>
        <a:solidFill>
          <a:srgbClr val="FFFFFF"/>
        </a:solidFill>
        <a:effectLst/>
      </p:bgPr>
    </p:bg>
    <p:spTree>
      <p:nvGrpSpPr>
        <p:cNvPr id="1" name=""/>
        <p:cNvGrpSpPr/>
        <p:nvPr/>
      </p:nvGrpSpPr>
      <p:grpSpPr>
        <a:xfrm>
          <a:off x="0" y="0"/>
          <a:ext cx="0" cy="0"/>
          <a:chOff x="0" y="0"/>
          <a:chExt cx="0" cy="0"/>
        </a:xfrm>
      </p:grpSpPr>
      <p:pic>
        <p:nvPicPr>
          <p:cNvPr id="507"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508" name="Shape 508"/>
          <p:cNvSpPr>
            <a:spLocks noGrp="1"/>
          </p:cNvSpPr>
          <p:nvPr>
            <p:ph type="pic" sz="quarter" idx="13"/>
          </p:nvPr>
        </p:nvSpPr>
        <p:spPr>
          <a:xfrm>
            <a:off x="485776" y="1620837"/>
            <a:ext cx="1673225" cy="1704976"/>
          </a:xfrm>
          <a:prstGeom prst="rect">
            <a:avLst/>
          </a:prstGeom>
        </p:spPr>
        <p:txBody>
          <a:bodyPr lIns="91439" tIns="45719" rIns="91439" bIns="45719"/>
          <a:lstStyle/>
          <a:p>
            <a:endParaRPr/>
          </a:p>
        </p:txBody>
      </p:sp>
      <p:sp>
        <p:nvSpPr>
          <p:cNvPr id="509" name="Shape 509"/>
          <p:cNvSpPr>
            <a:spLocks noGrp="1"/>
          </p:cNvSpPr>
          <p:nvPr>
            <p:ph type="pic" sz="quarter" idx="14"/>
          </p:nvPr>
        </p:nvSpPr>
        <p:spPr>
          <a:xfrm>
            <a:off x="4308478" y="1620837"/>
            <a:ext cx="1673223" cy="1704976"/>
          </a:xfrm>
          <a:prstGeom prst="rect">
            <a:avLst/>
          </a:prstGeom>
        </p:spPr>
        <p:txBody>
          <a:bodyPr lIns="91439" tIns="45719" rIns="91439" bIns="45719"/>
          <a:lstStyle/>
          <a:p>
            <a:endParaRPr/>
          </a:p>
        </p:txBody>
      </p:sp>
      <p:sp>
        <p:nvSpPr>
          <p:cNvPr id="510" name="Shape 510"/>
          <p:cNvSpPr>
            <a:spLocks noGrp="1"/>
          </p:cNvSpPr>
          <p:nvPr>
            <p:ph type="body" sz="quarter" idx="15"/>
          </p:nvPr>
        </p:nvSpPr>
        <p:spPr>
          <a:xfrm>
            <a:off x="485776" y="3548674"/>
            <a:ext cx="3578224" cy="318477"/>
          </a:xfrm>
          <a:prstGeom prst="rect">
            <a:avLst/>
          </a:prstGeom>
        </p:spPr>
        <p:txBody>
          <a:bodyPr/>
          <a:lstStyle>
            <a:lvl1pPr>
              <a:spcBef>
                <a:spcPts val="0"/>
              </a:spcBef>
              <a:defRPr b="1"/>
            </a:lvl1pPr>
          </a:lstStyle>
          <a:p>
            <a:r>
              <a:t> </a:t>
            </a:r>
          </a:p>
        </p:txBody>
      </p:sp>
      <p:sp>
        <p:nvSpPr>
          <p:cNvPr id="511" name="Shape 511"/>
          <p:cNvSpPr>
            <a:spLocks noGrp="1"/>
          </p:cNvSpPr>
          <p:nvPr>
            <p:ph type="body" sz="quarter" idx="16"/>
          </p:nvPr>
        </p:nvSpPr>
        <p:spPr>
          <a:xfrm>
            <a:off x="4305303" y="4319151"/>
            <a:ext cx="3581399" cy="1802249"/>
          </a:xfrm>
          <a:prstGeom prst="rect">
            <a:avLst/>
          </a:prstGeom>
        </p:spPr>
        <p:txBody>
          <a:bodyPr/>
          <a:lstStyle>
            <a:lvl1pPr>
              <a:defRPr sz="1500"/>
            </a:lvl1pPr>
          </a:lstStyle>
          <a:p>
            <a:r>
              <a:t> </a:t>
            </a:r>
          </a:p>
        </p:txBody>
      </p:sp>
      <p:sp>
        <p:nvSpPr>
          <p:cNvPr id="512" name="Shape 512"/>
          <p:cNvSpPr>
            <a:spLocks noGrp="1"/>
          </p:cNvSpPr>
          <p:nvPr>
            <p:ph type="body" sz="quarter" idx="17"/>
          </p:nvPr>
        </p:nvSpPr>
        <p:spPr>
          <a:xfrm>
            <a:off x="4305301" y="3866329"/>
            <a:ext cx="3581401" cy="318477"/>
          </a:xfrm>
          <a:prstGeom prst="rect">
            <a:avLst/>
          </a:prstGeom>
        </p:spPr>
        <p:txBody>
          <a:bodyPr/>
          <a:lstStyle>
            <a:lvl1pPr>
              <a:spcBef>
                <a:spcPts val="0"/>
              </a:spcBef>
              <a:defRPr sz="2000"/>
            </a:lvl1pPr>
          </a:lstStyle>
          <a:p>
            <a:r>
              <a:t> </a:t>
            </a:r>
          </a:p>
        </p:txBody>
      </p:sp>
      <p:sp>
        <p:nvSpPr>
          <p:cNvPr id="513" name="Shape 513"/>
          <p:cNvSpPr>
            <a:spLocks noGrp="1"/>
          </p:cNvSpPr>
          <p:nvPr>
            <p:ph type="body" sz="quarter" idx="18"/>
          </p:nvPr>
        </p:nvSpPr>
        <p:spPr>
          <a:xfrm>
            <a:off x="485779" y="4319151"/>
            <a:ext cx="3578222" cy="1802249"/>
          </a:xfrm>
          <a:prstGeom prst="rect">
            <a:avLst/>
          </a:prstGeom>
        </p:spPr>
        <p:txBody>
          <a:bodyPr/>
          <a:lstStyle>
            <a:lvl1pPr>
              <a:defRPr sz="1500"/>
            </a:lvl1pPr>
          </a:lstStyle>
          <a:p>
            <a:r>
              <a:t> </a:t>
            </a:r>
          </a:p>
        </p:txBody>
      </p:sp>
      <p:sp>
        <p:nvSpPr>
          <p:cNvPr id="514" name="Shape 514"/>
          <p:cNvSpPr>
            <a:spLocks noGrp="1"/>
          </p:cNvSpPr>
          <p:nvPr>
            <p:ph type="body" sz="quarter" idx="19"/>
          </p:nvPr>
        </p:nvSpPr>
        <p:spPr>
          <a:xfrm>
            <a:off x="485776" y="3866329"/>
            <a:ext cx="3578224" cy="318477"/>
          </a:xfrm>
          <a:prstGeom prst="rect">
            <a:avLst/>
          </a:prstGeom>
        </p:spPr>
        <p:txBody>
          <a:bodyPr/>
          <a:lstStyle>
            <a:lvl1pPr>
              <a:spcBef>
                <a:spcPts val="0"/>
              </a:spcBef>
            </a:lvl1pPr>
          </a:lstStyle>
          <a:p>
            <a:r>
              <a:t> </a:t>
            </a:r>
          </a:p>
        </p:txBody>
      </p:sp>
      <p:sp>
        <p:nvSpPr>
          <p:cNvPr id="515" name="Shape 515"/>
          <p:cNvSpPr>
            <a:spLocks noGrp="1"/>
          </p:cNvSpPr>
          <p:nvPr>
            <p:ph type="body" sz="quarter" idx="20"/>
          </p:nvPr>
        </p:nvSpPr>
        <p:spPr>
          <a:xfrm>
            <a:off x="8130667" y="3548674"/>
            <a:ext cx="3578734" cy="318477"/>
          </a:xfrm>
          <a:prstGeom prst="rect">
            <a:avLst/>
          </a:prstGeom>
        </p:spPr>
        <p:txBody>
          <a:bodyPr/>
          <a:lstStyle>
            <a:lvl1pPr>
              <a:spcBef>
                <a:spcPts val="0"/>
              </a:spcBef>
              <a:defRPr b="1"/>
            </a:lvl1pPr>
          </a:lstStyle>
          <a:p>
            <a:r>
              <a:t> </a:t>
            </a:r>
          </a:p>
        </p:txBody>
      </p:sp>
      <p:sp>
        <p:nvSpPr>
          <p:cNvPr id="516" name="Shape 516"/>
          <p:cNvSpPr>
            <a:spLocks noGrp="1"/>
          </p:cNvSpPr>
          <p:nvPr>
            <p:ph type="body" sz="quarter" idx="21"/>
          </p:nvPr>
        </p:nvSpPr>
        <p:spPr>
          <a:xfrm>
            <a:off x="8130670" y="4319151"/>
            <a:ext cx="3578733" cy="1802249"/>
          </a:xfrm>
          <a:prstGeom prst="rect">
            <a:avLst/>
          </a:prstGeom>
        </p:spPr>
        <p:txBody>
          <a:bodyPr/>
          <a:lstStyle>
            <a:lvl1pPr>
              <a:defRPr sz="1500"/>
            </a:lvl1pPr>
          </a:lstStyle>
          <a:p>
            <a:r>
              <a:t> </a:t>
            </a:r>
          </a:p>
        </p:txBody>
      </p:sp>
      <p:sp>
        <p:nvSpPr>
          <p:cNvPr id="517" name="Shape 517"/>
          <p:cNvSpPr>
            <a:spLocks noGrp="1"/>
          </p:cNvSpPr>
          <p:nvPr>
            <p:ph type="body" sz="quarter" idx="22"/>
          </p:nvPr>
        </p:nvSpPr>
        <p:spPr>
          <a:xfrm>
            <a:off x="8130667" y="3866329"/>
            <a:ext cx="3578734" cy="318477"/>
          </a:xfrm>
          <a:prstGeom prst="rect">
            <a:avLst/>
          </a:prstGeom>
        </p:spPr>
        <p:txBody>
          <a:bodyPr/>
          <a:lstStyle>
            <a:lvl1pPr>
              <a:spcBef>
                <a:spcPts val="0"/>
              </a:spcBef>
            </a:lvl1pPr>
          </a:lstStyle>
          <a:p>
            <a:r>
              <a:t> </a:t>
            </a:r>
          </a:p>
        </p:txBody>
      </p:sp>
      <p:sp>
        <p:nvSpPr>
          <p:cNvPr id="518" name="Shape 518"/>
          <p:cNvSpPr>
            <a:spLocks noGrp="1"/>
          </p:cNvSpPr>
          <p:nvPr>
            <p:ph type="pic" sz="quarter" idx="23"/>
          </p:nvPr>
        </p:nvSpPr>
        <p:spPr>
          <a:xfrm>
            <a:off x="8128000" y="1620837"/>
            <a:ext cx="1676400" cy="1704976"/>
          </a:xfrm>
          <a:prstGeom prst="rect">
            <a:avLst/>
          </a:prstGeom>
        </p:spPr>
        <p:txBody>
          <a:bodyPr lIns="91439" tIns="45719" rIns="91439" bIns="45719"/>
          <a:lstStyle/>
          <a:p>
            <a:endParaRPr/>
          </a:p>
        </p:txBody>
      </p:sp>
      <p:sp>
        <p:nvSpPr>
          <p:cNvPr id="519" name="Shape 519"/>
          <p:cNvSpPr>
            <a:spLocks noGrp="1"/>
          </p:cNvSpPr>
          <p:nvPr>
            <p:ph type="body" sz="quarter" idx="24"/>
          </p:nvPr>
        </p:nvSpPr>
        <p:spPr>
          <a:xfrm>
            <a:off x="485775" y="806807"/>
            <a:ext cx="11223626" cy="318477"/>
          </a:xfrm>
          <a:prstGeom prst="rect">
            <a:avLst/>
          </a:prstGeom>
        </p:spPr>
        <p:txBody>
          <a:bodyPr/>
          <a:lstStyle>
            <a:lvl1pPr>
              <a:defRPr b="1">
                <a:solidFill>
                  <a:srgbClr val="002C77"/>
                </a:solidFill>
              </a:defRPr>
            </a:lvl1pPr>
          </a:lstStyle>
          <a:p>
            <a:r>
              <a:t> </a:t>
            </a:r>
          </a:p>
        </p:txBody>
      </p:sp>
      <p:sp>
        <p:nvSpPr>
          <p:cNvPr id="520" name="Shape 520"/>
          <p:cNvSpPr>
            <a:spLocks noGrp="1"/>
          </p:cNvSpPr>
          <p:nvPr>
            <p:ph type="title"/>
          </p:nvPr>
        </p:nvSpPr>
        <p:spPr>
          <a:xfrm>
            <a:off x="457200" y="355600"/>
            <a:ext cx="11252200" cy="495300"/>
          </a:xfrm>
          <a:prstGeom prst="rect">
            <a:avLst/>
          </a:prstGeom>
        </p:spPr>
        <p:txBody>
          <a:bodyPr>
            <a:normAutofit/>
          </a:bodyPr>
          <a:lstStyle/>
          <a:p>
            <a:r>
              <a:t>Texto del título</a:t>
            </a:r>
          </a:p>
        </p:txBody>
      </p:sp>
      <p:sp>
        <p:nvSpPr>
          <p:cNvPr id="521" name="Shape 521"/>
          <p:cNvSpPr>
            <a:spLocks noGrp="1"/>
          </p:cNvSpPr>
          <p:nvPr>
            <p:ph type="body" sz="quarter" idx="1"/>
          </p:nvPr>
        </p:nvSpPr>
        <p:spPr>
          <a:xfrm>
            <a:off x="4305301" y="3548674"/>
            <a:ext cx="3581401" cy="318477"/>
          </a:xfrm>
          <a:prstGeom prst="rect">
            <a:avLst/>
          </a:prstGeom>
        </p:spPr>
        <p:txBody>
          <a:bodyPr>
            <a:normAutofit/>
          </a:bodyPr>
          <a:lstStyle>
            <a:lvl1pPr>
              <a:spcBef>
                <a:spcPts val="0"/>
              </a:spcBef>
              <a:defRPr b="1"/>
            </a:lvl1pPr>
            <a:lvl2pPr marL="0" indent="457200">
              <a:spcBef>
                <a:spcPts val="0"/>
              </a:spcBef>
              <a:buSzTx/>
              <a:buNone/>
              <a:defRPr b="1"/>
            </a:lvl2pPr>
            <a:lvl3pPr marL="0" indent="914400">
              <a:spcBef>
                <a:spcPts val="0"/>
              </a:spcBef>
              <a:buSzTx/>
              <a:buNone/>
              <a:defRPr b="1"/>
            </a:lvl3pPr>
            <a:lvl4pPr marL="0" indent="1371600">
              <a:spcBef>
                <a:spcPts val="0"/>
              </a:spcBef>
              <a:buSzTx/>
              <a:buNone/>
              <a:defRPr b="1"/>
            </a:lvl4pPr>
            <a:lvl5pPr marL="0" indent="1828800">
              <a:spcBef>
                <a:spcPts val="0"/>
              </a:spcBef>
              <a:buSzTx/>
              <a:buNone/>
              <a:defRPr b="1"/>
            </a:lvl5pPr>
          </a:lstStyle>
          <a:p>
            <a:r>
              <a:t>Nivel de texto 1</a:t>
            </a:r>
          </a:p>
          <a:p>
            <a:pPr lvl="1"/>
            <a:r>
              <a:t>Nivel de texto 2</a:t>
            </a:r>
          </a:p>
          <a:p>
            <a:pPr lvl="2"/>
            <a:r>
              <a:t>Nivel de texto 3</a:t>
            </a:r>
          </a:p>
          <a:p>
            <a:pPr lvl="3"/>
            <a:r>
              <a:t>Nivel de texto 4</a:t>
            </a:r>
          </a:p>
          <a:p>
            <a:pPr lvl="4"/>
            <a:r>
              <a:t>Nivel de texto 5</a:t>
            </a:r>
          </a:p>
        </p:txBody>
      </p:sp>
      <p:sp>
        <p:nvSpPr>
          <p:cNvPr id="522" name="Shape 522"/>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x">
  <p:cSld name="4 Squares">
    <p:bg>
      <p:bgPr>
        <a:solidFill>
          <a:srgbClr val="FFFFFF"/>
        </a:solidFill>
        <a:effectLst/>
      </p:bgPr>
    </p:bg>
    <p:spTree>
      <p:nvGrpSpPr>
        <p:cNvPr id="1" name=""/>
        <p:cNvGrpSpPr/>
        <p:nvPr/>
      </p:nvGrpSpPr>
      <p:grpSpPr>
        <a:xfrm>
          <a:off x="0" y="0"/>
          <a:ext cx="0" cy="0"/>
          <a:chOff x="0" y="0"/>
          <a:chExt cx="0" cy="0"/>
        </a:xfrm>
      </p:grpSpPr>
      <p:pic>
        <p:nvPicPr>
          <p:cNvPr id="529"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530" name="Shape 530"/>
          <p:cNvSpPr>
            <a:spLocks noGrp="1"/>
          </p:cNvSpPr>
          <p:nvPr>
            <p:ph type="pic" sz="quarter" idx="13"/>
          </p:nvPr>
        </p:nvSpPr>
        <p:spPr>
          <a:xfrm>
            <a:off x="485776" y="1620837"/>
            <a:ext cx="1673225" cy="1704976"/>
          </a:xfrm>
          <a:prstGeom prst="rect">
            <a:avLst/>
          </a:prstGeom>
        </p:spPr>
        <p:txBody>
          <a:bodyPr lIns="91439" tIns="45719" rIns="91439" bIns="45719"/>
          <a:lstStyle/>
          <a:p>
            <a:endParaRPr/>
          </a:p>
        </p:txBody>
      </p:sp>
      <p:sp>
        <p:nvSpPr>
          <p:cNvPr id="531" name="Shape 531"/>
          <p:cNvSpPr>
            <a:spLocks noGrp="1"/>
          </p:cNvSpPr>
          <p:nvPr>
            <p:ph type="pic" sz="quarter" idx="14"/>
          </p:nvPr>
        </p:nvSpPr>
        <p:spPr>
          <a:xfrm>
            <a:off x="6226173" y="1620837"/>
            <a:ext cx="1660527" cy="1704976"/>
          </a:xfrm>
          <a:prstGeom prst="rect">
            <a:avLst/>
          </a:prstGeom>
        </p:spPr>
        <p:txBody>
          <a:bodyPr lIns="91439" tIns="45719" rIns="91439" bIns="45719"/>
          <a:lstStyle/>
          <a:p>
            <a:endParaRPr/>
          </a:p>
        </p:txBody>
      </p:sp>
      <p:sp>
        <p:nvSpPr>
          <p:cNvPr id="532" name="Shape 532"/>
          <p:cNvSpPr>
            <a:spLocks noGrp="1"/>
          </p:cNvSpPr>
          <p:nvPr>
            <p:ph type="body" sz="quarter" idx="15"/>
          </p:nvPr>
        </p:nvSpPr>
        <p:spPr>
          <a:xfrm>
            <a:off x="2387599" y="3800319"/>
            <a:ext cx="3594102" cy="318477"/>
          </a:xfrm>
          <a:prstGeom prst="rect">
            <a:avLst/>
          </a:prstGeom>
        </p:spPr>
        <p:txBody>
          <a:bodyPr/>
          <a:lstStyle>
            <a:lvl1pPr>
              <a:spcBef>
                <a:spcPts val="0"/>
              </a:spcBef>
              <a:defRPr b="1"/>
            </a:lvl1pPr>
          </a:lstStyle>
          <a:p>
            <a:r>
              <a:t> </a:t>
            </a:r>
          </a:p>
        </p:txBody>
      </p:sp>
      <p:sp>
        <p:nvSpPr>
          <p:cNvPr id="533" name="Shape 533"/>
          <p:cNvSpPr>
            <a:spLocks noGrp="1"/>
          </p:cNvSpPr>
          <p:nvPr>
            <p:ph type="body" sz="quarter" idx="16"/>
          </p:nvPr>
        </p:nvSpPr>
        <p:spPr>
          <a:xfrm>
            <a:off x="8128000" y="4502460"/>
            <a:ext cx="3581401" cy="1114116"/>
          </a:xfrm>
          <a:prstGeom prst="rect">
            <a:avLst/>
          </a:prstGeom>
        </p:spPr>
        <p:txBody>
          <a:bodyPr/>
          <a:lstStyle>
            <a:lvl1pPr>
              <a:defRPr sz="1500"/>
            </a:lvl1pPr>
          </a:lstStyle>
          <a:p>
            <a:r>
              <a:t> </a:t>
            </a:r>
          </a:p>
        </p:txBody>
      </p:sp>
      <p:sp>
        <p:nvSpPr>
          <p:cNvPr id="534" name="Shape 534"/>
          <p:cNvSpPr>
            <a:spLocks noGrp="1"/>
          </p:cNvSpPr>
          <p:nvPr>
            <p:ph type="body" sz="quarter" idx="17"/>
          </p:nvPr>
        </p:nvSpPr>
        <p:spPr>
          <a:xfrm>
            <a:off x="8127999" y="4117975"/>
            <a:ext cx="3581402" cy="318477"/>
          </a:xfrm>
          <a:prstGeom prst="rect">
            <a:avLst/>
          </a:prstGeom>
        </p:spPr>
        <p:txBody>
          <a:bodyPr/>
          <a:lstStyle>
            <a:lvl1pPr>
              <a:spcBef>
                <a:spcPts val="0"/>
              </a:spcBef>
            </a:lvl1pPr>
          </a:lstStyle>
          <a:p>
            <a:r>
              <a:t> </a:t>
            </a:r>
          </a:p>
        </p:txBody>
      </p:sp>
      <p:sp>
        <p:nvSpPr>
          <p:cNvPr id="535" name="Shape 535"/>
          <p:cNvSpPr>
            <a:spLocks noGrp="1"/>
          </p:cNvSpPr>
          <p:nvPr>
            <p:ph type="body" sz="quarter" idx="18"/>
          </p:nvPr>
        </p:nvSpPr>
        <p:spPr>
          <a:xfrm>
            <a:off x="2387600" y="4502460"/>
            <a:ext cx="3594101" cy="1114116"/>
          </a:xfrm>
          <a:prstGeom prst="rect">
            <a:avLst/>
          </a:prstGeom>
        </p:spPr>
        <p:txBody>
          <a:bodyPr/>
          <a:lstStyle>
            <a:lvl1pPr>
              <a:defRPr sz="1500"/>
            </a:lvl1pPr>
          </a:lstStyle>
          <a:p>
            <a:r>
              <a:t> </a:t>
            </a:r>
          </a:p>
        </p:txBody>
      </p:sp>
      <p:sp>
        <p:nvSpPr>
          <p:cNvPr id="536" name="Shape 536"/>
          <p:cNvSpPr>
            <a:spLocks noGrp="1"/>
          </p:cNvSpPr>
          <p:nvPr>
            <p:ph type="body" sz="quarter" idx="19"/>
          </p:nvPr>
        </p:nvSpPr>
        <p:spPr>
          <a:xfrm>
            <a:off x="2387599" y="4117975"/>
            <a:ext cx="3594102" cy="318477"/>
          </a:xfrm>
          <a:prstGeom prst="rect">
            <a:avLst/>
          </a:prstGeom>
        </p:spPr>
        <p:txBody>
          <a:bodyPr/>
          <a:lstStyle>
            <a:lvl1pPr>
              <a:spcBef>
                <a:spcPts val="0"/>
              </a:spcBef>
            </a:lvl1pPr>
          </a:lstStyle>
          <a:p>
            <a:r>
              <a:t> </a:t>
            </a:r>
          </a:p>
        </p:txBody>
      </p:sp>
      <p:sp>
        <p:nvSpPr>
          <p:cNvPr id="537" name="Shape 537"/>
          <p:cNvSpPr>
            <a:spLocks noGrp="1"/>
          </p:cNvSpPr>
          <p:nvPr>
            <p:ph type="body" sz="quarter" idx="20"/>
          </p:nvPr>
        </p:nvSpPr>
        <p:spPr>
          <a:xfrm>
            <a:off x="8127999" y="1564114"/>
            <a:ext cx="3581402" cy="318477"/>
          </a:xfrm>
          <a:prstGeom prst="rect">
            <a:avLst/>
          </a:prstGeom>
        </p:spPr>
        <p:txBody>
          <a:bodyPr/>
          <a:lstStyle>
            <a:lvl1pPr>
              <a:spcBef>
                <a:spcPts val="0"/>
              </a:spcBef>
              <a:defRPr b="1"/>
            </a:lvl1pPr>
          </a:lstStyle>
          <a:p>
            <a:r>
              <a:t> </a:t>
            </a:r>
          </a:p>
        </p:txBody>
      </p:sp>
      <p:sp>
        <p:nvSpPr>
          <p:cNvPr id="538" name="Shape 538"/>
          <p:cNvSpPr>
            <a:spLocks noGrp="1"/>
          </p:cNvSpPr>
          <p:nvPr>
            <p:ph type="body" sz="quarter" idx="21"/>
          </p:nvPr>
        </p:nvSpPr>
        <p:spPr>
          <a:xfrm>
            <a:off x="2387599" y="1564114"/>
            <a:ext cx="3594102" cy="318477"/>
          </a:xfrm>
          <a:prstGeom prst="rect">
            <a:avLst/>
          </a:prstGeom>
        </p:spPr>
        <p:txBody>
          <a:bodyPr/>
          <a:lstStyle>
            <a:lvl1pPr>
              <a:spcBef>
                <a:spcPts val="0"/>
              </a:spcBef>
              <a:defRPr b="1"/>
            </a:lvl1pPr>
          </a:lstStyle>
          <a:p>
            <a:r>
              <a:t> </a:t>
            </a:r>
          </a:p>
        </p:txBody>
      </p:sp>
      <p:sp>
        <p:nvSpPr>
          <p:cNvPr id="539" name="Shape 539"/>
          <p:cNvSpPr>
            <a:spLocks noGrp="1"/>
          </p:cNvSpPr>
          <p:nvPr>
            <p:ph type="body" sz="quarter" idx="22"/>
          </p:nvPr>
        </p:nvSpPr>
        <p:spPr>
          <a:xfrm>
            <a:off x="8128000" y="2266255"/>
            <a:ext cx="3581401" cy="1114116"/>
          </a:xfrm>
          <a:prstGeom prst="rect">
            <a:avLst/>
          </a:prstGeom>
        </p:spPr>
        <p:txBody>
          <a:bodyPr/>
          <a:lstStyle>
            <a:lvl1pPr>
              <a:defRPr sz="1500"/>
            </a:lvl1pPr>
          </a:lstStyle>
          <a:p>
            <a:r>
              <a:t> </a:t>
            </a:r>
          </a:p>
        </p:txBody>
      </p:sp>
      <p:sp>
        <p:nvSpPr>
          <p:cNvPr id="540" name="Shape 540"/>
          <p:cNvSpPr>
            <a:spLocks noGrp="1"/>
          </p:cNvSpPr>
          <p:nvPr>
            <p:ph type="body" sz="quarter" idx="23"/>
          </p:nvPr>
        </p:nvSpPr>
        <p:spPr>
          <a:xfrm>
            <a:off x="8127999" y="1881770"/>
            <a:ext cx="3581402" cy="318477"/>
          </a:xfrm>
          <a:prstGeom prst="rect">
            <a:avLst/>
          </a:prstGeom>
        </p:spPr>
        <p:txBody>
          <a:bodyPr/>
          <a:lstStyle>
            <a:lvl1pPr>
              <a:spcBef>
                <a:spcPts val="0"/>
              </a:spcBef>
            </a:lvl1pPr>
          </a:lstStyle>
          <a:p>
            <a:r>
              <a:t> </a:t>
            </a:r>
          </a:p>
        </p:txBody>
      </p:sp>
      <p:sp>
        <p:nvSpPr>
          <p:cNvPr id="541" name="Shape 541"/>
          <p:cNvSpPr>
            <a:spLocks noGrp="1"/>
          </p:cNvSpPr>
          <p:nvPr>
            <p:ph type="body" sz="quarter" idx="24"/>
          </p:nvPr>
        </p:nvSpPr>
        <p:spPr>
          <a:xfrm>
            <a:off x="2387600" y="2266255"/>
            <a:ext cx="3594101" cy="1114116"/>
          </a:xfrm>
          <a:prstGeom prst="rect">
            <a:avLst/>
          </a:prstGeom>
        </p:spPr>
        <p:txBody>
          <a:bodyPr/>
          <a:lstStyle>
            <a:lvl1pPr>
              <a:defRPr sz="1500"/>
            </a:lvl1pPr>
          </a:lstStyle>
          <a:p>
            <a:r>
              <a:t> </a:t>
            </a:r>
          </a:p>
        </p:txBody>
      </p:sp>
      <p:sp>
        <p:nvSpPr>
          <p:cNvPr id="542" name="Shape 542"/>
          <p:cNvSpPr>
            <a:spLocks noGrp="1"/>
          </p:cNvSpPr>
          <p:nvPr>
            <p:ph type="body" sz="quarter" idx="25"/>
          </p:nvPr>
        </p:nvSpPr>
        <p:spPr>
          <a:xfrm>
            <a:off x="2387599" y="1881770"/>
            <a:ext cx="3594102" cy="318477"/>
          </a:xfrm>
          <a:prstGeom prst="rect">
            <a:avLst/>
          </a:prstGeom>
        </p:spPr>
        <p:txBody>
          <a:bodyPr/>
          <a:lstStyle>
            <a:lvl1pPr>
              <a:spcBef>
                <a:spcPts val="0"/>
              </a:spcBef>
            </a:lvl1pPr>
          </a:lstStyle>
          <a:p>
            <a:r>
              <a:t> </a:t>
            </a:r>
          </a:p>
        </p:txBody>
      </p:sp>
      <p:sp>
        <p:nvSpPr>
          <p:cNvPr id="543" name="Shape 543"/>
          <p:cNvSpPr>
            <a:spLocks noGrp="1"/>
          </p:cNvSpPr>
          <p:nvPr>
            <p:ph type="pic" sz="quarter" idx="26"/>
          </p:nvPr>
        </p:nvSpPr>
        <p:spPr>
          <a:xfrm>
            <a:off x="485776" y="3879091"/>
            <a:ext cx="1673225" cy="1704975"/>
          </a:xfrm>
          <a:prstGeom prst="rect">
            <a:avLst/>
          </a:prstGeom>
        </p:spPr>
        <p:txBody>
          <a:bodyPr lIns="91439" tIns="45719" rIns="91439" bIns="45719"/>
          <a:lstStyle/>
          <a:p>
            <a:endParaRPr/>
          </a:p>
        </p:txBody>
      </p:sp>
      <p:sp>
        <p:nvSpPr>
          <p:cNvPr id="544" name="Shape 544"/>
          <p:cNvSpPr>
            <a:spLocks noGrp="1"/>
          </p:cNvSpPr>
          <p:nvPr>
            <p:ph type="pic" sz="quarter" idx="27"/>
          </p:nvPr>
        </p:nvSpPr>
        <p:spPr>
          <a:xfrm>
            <a:off x="6226173" y="3879091"/>
            <a:ext cx="1660527" cy="1704975"/>
          </a:xfrm>
          <a:prstGeom prst="rect">
            <a:avLst/>
          </a:prstGeom>
        </p:spPr>
        <p:txBody>
          <a:bodyPr lIns="91439" tIns="45719" rIns="91439" bIns="45719"/>
          <a:lstStyle/>
          <a:p>
            <a:endParaRPr/>
          </a:p>
        </p:txBody>
      </p:sp>
      <p:sp>
        <p:nvSpPr>
          <p:cNvPr id="545" name="Shape 545"/>
          <p:cNvSpPr>
            <a:spLocks noGrp="1"/>
          </p:cNvSpPr>
          <p:nvPr>
            <p:ph type="body" sz="quarter" idx="28"/>
          </p:nvPr>
        </p:nvSpPr>
        <p:spPr>
          <a:xfrm>
            <a:off x="485775" y="806807"/>
            <a:ext cx="11223626" cy="318477"/>
          </a:xfrm>
          <a:prstGeom prst="rect">
            <a:avLst/>
          </a:prstGeom>
        </p:spPr>
        <p:txBody>
          <a:bodyPr/>
          <a:lstStyle>
            <a:lvl1pPr>
              <a:defRPr b="1">
                <a:solidFill>
                  <a:srgbClr val="002C77"/>
                </a:solidFill>
              </a:defRPr>
            </a:lvl1pPr>
          </a:lstStyle>
          <a:p>
            <a:r>
              <a:t> </a:t>
            </a:r>
          </a:p>
        </p:txBody>
      </p:sp>
      <p:sp>
        <p:nvSpPr>
          <p:cNvPr id="546" name="Shape 546"/>
          <p:cNvSpPr>
            <a:spLocks noGrp="1"/>
          </p:cNvSpPr>
          <p:nvPr>
            <p:ph type="title"/>
          </p:nvPr>
        </p:nvSpPr>
        <p:spPr>
          <a:xfrm>
            <a:off x="457200" y="355600"/>
            <a:ext cx="11252200" cy="495300"/>
          </a:xfrm>
          <a:prstGeom prst="rect">
            <a:avLst/>
          </a:prstGeom>
        </p:spPr>
        <p:txBody>
          <a:bodyPr>
            <a:normAutofit/>
          </a:bodyPr>
          <a:lstStyle/>
          <a:p>
            <a:r>
              <a:t>Texto del título</a:t>
            </a:r>
          </a:p>
        </p:txBody>
      </p:sp>
      <p:sp>
        <p:nvSpPr>
          <p:cNvPr id="547" name="Shape 547"/>
          <p:cNvSpPr>
            <a:spLocks noGrp="1"/>
          </p:cNvSpPr>
          <p:nvPr>
            <p:ph type="body" sz="quarter" idx="1"/>
          </p:nvPr>
        </p:nvSpPr>
        <p:spPr>
          <a:xfrm>
            <a:off x="8127999" y="3800319"/>
            <a:ext cx="3581402" cy="318477"/>
          </a:xfrm>
          <a:prstGeom prst="rect">
            <a:avLst/>
          </a:prstGeom>
        </p:spPr>
        <p:txBody>
          <a:bodyPr>
            <a:normAutofit/>
          </a:bodyPr>
          <a:lstStyle>
            <a:lvl1pPr>
              <a:spcBef>
                <a:spcPts val="0"/>
              </a:spcBef>
              <a:defRPr b="1"/>
            </a:lvl1pPr>
            <a:lvl2pPr marL="0" indent="457200">
              <a:spcBef>
                <a:spcPts val="0"/>
              </a:spcBef>
              <a:buSzTx/>
              <a:buNone/>
              <a:defRPr b="1"/>
            </a:lvl2pPr>
            <a:lvl3pPr marL="0" indent="914400">
              <a:spcBef>
                <a:spcPts val="0"/>
              </a:spcBef>
              <a:buSzTx/>
              <a:buNone/>
              <a:defRPr b="1"/>
            </a:lvl3pPr>
            <a:lvl4pPr marL="0" indent="1371600">
              <a:spcBef>
                <a:spcPts val="0"/>
              </a:spcBef>
              <a:buSzTx/>
              <a:buNone/>
              <a:defRPr b="1"/>
            </a:lvl4pPr>
            <a:lvl5pPr marL="0" indent="1828800">
              <a:spcBef>
                <a:spcPts val="0"/>
              </a:spcBef>
              <a:buSzTx/>
              <a:buNone/>
              <a:defRPr b="1"/>
            </a:lvl5pPr>
          </a:lstStyle>
          <a:p>
            <a:r>
              <a:t>Nivel de texto 1</a:t>
            </a:r>
          </a:p>
          <a:p>
            <a:pPr lvl="1"/>
            <a:r>
              <a:t>Nivel de texto 2</a:t>
            </a:r>
          </a:p>
          <a:p>
            <a:pPr lvl="2"/>
            <a:r>
              <a:t>Nivel de texto 3</a:t>
            </a:r>
          </a:p>
          <a:p>
            <a:pPr lvl="3"/>
            <a:r>
              <a:t>Nivel de texto 4</a:t>
            </a:r>
          </a:p>
          <a:p>
            <a:pPr lvl="4"/>
            <a:r>
              <a:t>Nivel de texto 5</a:t>
            </a:r>
          </a:p>
        </p:txBody>
      </p:sp>
      <p:sp>
        <p:nvSpPr>
          <p:cNvPr id="548" name="Shape 548"/>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x">
  <p:cSld name="8 Squares">
    <p:bg>
      <p:bgPr>
        <a:solidFill>
          <a:srgbClr val="FFFFFF"/>
        </a:solidFill>
        <a:effectLst/>
      </p:bgPr>
    </p:bg>
    <p:spTree>
      <p:nvGrpSpPr>
        <p:cNvPr id="1" name=""/>
        <p:cNvGrpSpPr/>
        <p:nvPr/>
      </p:nvGrpSpPr>
      <p:grpSpPr>
        <a:xfrm>
          <a:off x="0" y="0"/>
          <a:ext cx="0" cy="0"/>
          <a:chOff x="0" y="0"/>
          <a:chExt cx="0" cy="0"/>
        </a:xfrm>
      </p:grpSpPr>
      <p:pic>
        <p:nvPicPr>
          <p:cNvPr id="555"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556" name="Shape 556"/>
          <p:cNvSpPr>
            <a:spLocks noGrp="1"/>
          </p:cNvSpPr>
          <p:nvPr>
            <p:ph type="pic" sz="quarter" idx="13"/>
          </p:nvPr>
        </p:nvSpPr>
        <p:spPr>
          <a:xfrm>
            <a:off x="485776" y="1620837"/>
            <a:ext cx="1271904" cy="1271905"/>
          </a:xfrm>
          <a:prstGeom prst="rect">
            <a:avLst/>
          </a:prstGeom>
        </p:spPr>
        <p:txBody>
          <a:bodyPr lIns="91439" tIns="45719" rIns="91439" bIns="45719"/>
          <a:lstStyle/>
          <a:p>
            <a:endParaRPr/>
          </a:p>
        </p:txBody>
      </p:sp>
      <p:sp>
        <p:nvSpPr>
          <p:cNvPr id="557" name="Shape 557"/>
          <p:cNvSpPr>
            <a:spLocks noGrp="1"/>
          </p:cNvSpPr>
          <p:nvPr>
            <p:ph type="body" sz="quarter" idx="14"/>
          </p:nvPr>
        </p:nvSpPr>
        <p:spPr>
          <a:xfrm>
            <a:off x="485776" y="3310128"/>
            <a:ext cx="2625726" cy="317656"/>
          </a:xfrm>
          <a:prstGeom prst="rect">
            <a:avLst/>
          </a:prstGeom>
        </p:spPr>
        <p:txBody>
          <a:bodyPr/>
          <a:lstStyle>
            <a:lvl1pPr>
              <a:spcBef>
                <a:spcPts val="0"/>
              </a:spcBef>
              <a:defRPr sz="1600"/>
            </a:lvl1pPr>
          </a:lstStyle>
          <a:p>
            <a:r>
              <a:t> </a:t>
            </a:r>
          </a:p>
        </p:txBody>
      </p:sp>
      <p:sp>
        <p:nvSpPr>
          <p:cNvPr id="558" name="Shape 558"/>
          <p:cNvSpPr>
            <a:spLocks noGrp="1"/>
          </p:cNvSpPr>
          <p:nvPr>
            <p:ph type="body" sz="quarter" idx="15"/>
          </p:nvPr>
        </p:nvSpPr>
        <p:spPr>
          <a:xfrm>
            <a:off x="485775" y="806807"/>
            <a:ext cx="11223626" cy="318477"/>
          </a:xfrm>
          <a:prstGeom prst="rect">
            <a:avLst/>
          </a:prstGeom>
        </p:spPr>
        <p:txBody>
          <a:bodyPr/>
          <a:lstStyle>
            <a:lvl1pPr>
              <a:defRPr b="1">
                <a:solidFill>
                  <a:srgbClr val="002C77"/>
                </a:solidFill>
              </a:defRPr>
            </a:lvl1pPr>
          </a:lstStyle>
          <a:p>
            <a:r>
              <a:t> </a:t>
            </a:r>
          </a:p>
        </p:txBody>
      </p:sp>
      <p:sp>
        <p:nvSpPr>
          <p:cNvPr id="559" name="Shape 559"/>
          <p:cNvSpPr>
            <a:spLocks noGrp="1"/>
          </p:cNvSpPr>
          <p:nvPr>
            <p:ph type="pic" sz="quarter" idx="16"/>
          </p:nvPr>
        </p:nvSpPr>
        <p:spPr>
          <a:xfrm>
            <a:off x="3361056" y="1620837"/>
            <a:ext cx="1271905" cy="1271905"/>
          </a:xfrm>
          <a:prstGeom prst="rect">
            <a:avLst/>
          </a:prstGeom>
        </p:spPr>
        <p:txBody>
          <a:bodyPr lIns="91439" tIns="45719" rIns="91439" bIns="45719"/>
          <a:lstStyle/>
          <a:p>
            <a:endParaRPr/>
          </a:p>
        </p:txBody>
      </p:sp>
      <p:sp>
        <p:nvSpPr>
          <p:cNvPr id="560" name="Shape 560"/>
          <p:cNvSpPr>
            <a:spLocks noGrp="1"/>
          </p:cNvSpPr>
          <p:nvPr>
            <p:ph type="pic" sz="quarter" idx="17"/>
          </p:nvPr>
        </p:nvSpPr>
        <p:spPr>
          <a:xfrm>
            <a:off x="6210300" y="1620837"/>
            <a:ext cx="1271904" cy="1271905"/>
          </a:xfrm>
          <a:prstGeom prst="rect">
            <a:avLst/>
          </a:prstGeom>
        </p:spPr>
        <p:txBody>
          <a:bodyPr lIns="91439" tIns="45719" rIns="91439" bIns="45719"/>
          <a:lstStyle/>
          <a:p>
            <a:endParaRPr/>
          </a:p>
        </p:txBody>
      </p:sp>
      <p:sp>
        <p:nvSpPr>
          <p:cNvPr id="561" name="Shape 561"/>
          <p:cNvSpPr>
            <a:spLocks noGrp="1"/>
          </p:cNvSpPr>
          <p:nvPr>
            <p:ph type="pic" sz="quarter" idx="18"/>
          </p:nvPr>
        </p:nvSpPr>
        <p:spPr>
          <a:xfrm>
            <a:off x="9080500" y="1620837"/>
            <a:ext cx="1271904" cy="1271905"/>
          </a:xfrm>
          <a:prstGeom prst="rect">
            <a:avLst/>
          </a:prstGeom>
        </p:spPr>
        <p:txBody>
          <a:bodyPr lIns="91439" tIns="45719" rIns="91439" bIns="45719"/>
          <a:lstStyle/>
          <a:p>
            <a:endParaRPr/>
          </a:p>
        </p:txBody>
      </p:sp>
      <p:sp>
        <p:nvSpPr>
          <p:cNvPr id="562" name="Shape 562"/>
          <p:cNvSpPr>
            <a:spLocks noGrp="1"/>
          </p:cNvSpPr>
          <p:nvPr>
            <p:ph type="body" sz="quarter" idx="19"/>
          </p:nvPr>
        </p:nvSpPr>
        <p:spPr>
          <a:xfrm>
            <a:off x="3361056" y="2992473"/>
            <a:ext cx="2625725" cy="317656"/>
          </a:xfrm>
          <a:prstGeom prst="rect">
            <a:avLst/>
          </a:prstGeom>
        </p:spPr>
        <p:txBody>
          <a:bodyPr/>
          <a:lstStyle>
            <a:lvl1pPr>
              <a:spcBef>
                <a:spcPts val="0"/>
              </a:spcBef>
              <a:defRPr sz="1600" b="1"/>
            </a:lvl1pPr>
          </a:lstStyle>
          <a:p>
            <a:r>
              <a:t> </a:t>
            </a:r>
          </a:p>
        </p:txBody>
      </p:sp>
      <p:sp>
        <p:nvSpPr>
          <p:cNvPr id="563" name="Shape 563"/>
          <p:cNvSpPr>
            <a:spLocks noGrp="1"/>
          </p:cNvSpPr>
          <p:nvPr>
            <p:ph type="body" sz="quarter" idx="20"/>
          </p:nvPr>
        </p:nvSpPr>
        <p:spPr>
          <a:xfrm>
            <a:off x="3361056" y="3310128"/>
            <a:ext cx="2625725" cy="317656"/>
          </a:xfrm>
          <a:prstGeom prst="rect">
            <a:avLst/>
          </a:prstGeom>
        </p:spPr>
        <p:txBody>
          <a:bodyPr/>
          <a:lstStyle>
            <a:lvl1pPr>
              <a:spcBef>
                <a:spcPts val="0"/>
              </a:spcBef>
              <a:defRPr sz="1600"/>
            </a:lvl1pPr>
          </a:lstStyle>
          <a:p>
            <a:r>
              <a:t> </a:t>
            </a:r>
          </a:p>
        </p:txBody>
      </p:sp>
      <p:sp>
        <p:nvSpPr>
          <p:cNvPr id="564" name="Shape 564"/>
          <p:cNvSpPr>
            <a:spLocks noGrp="1"/>
          </p:cNvSpPr>
          <p:nvPr>
            <p:ph type="body" sz="quarter" idx="21"/>
          </p:nvPr>
        </p:nvSpPr>
        <p:spPr>
          <a:xfrm>
            <a:off x="6205856" y="2992473"/>
            <a:ext cx="2625725" cy="317656"/>
          </a:xfrm>
          <a:prstGeom prst="rect">
            <a:avLst/>
          </a:prstGeom>
        </p:spPr>
        <p:txBody>
          <a:bodyPr/>
          <a:lstStyle>
            <a:lvl1pPr>
              <a:spcBef>
                <a:spcPts val="0"/>
              </a:spcBef>
              <a:defRPr sz="1600" b="1"/>
            </a:lvl1pPr>
          </a:lstStyle>
          <a:p>
            <a:r>
              <a:t> </a:t>
            </a:r>
          </a:p>
        </p:txBody>
      </p:sp>
      <p:sp>
        <p:nvSpPr>
          <p:cNvPr id="565" name="Shape 565"/>
          <p:cNvSpPr>
            <a:spLocks noGrp="1"/>
          </p:cNvSpPr>
          <p:nvPr>
            <p:ph type="body" sz="quarter" idx="22"/>
          </p:nvPr>
        </p:nvSpPr>
        <p:spPr>
          <a:xfrm>
            <a:off x="6205856" y="3310128"/>
            <a:ext cx="2625725" cy="317656"/>
          </a:xfrm>
          <a:prstGeom prst="rect">
            <a:avLst/>
          </a:prstGeom>
        </p:spPr>
        <p:txBody>
          <a:bodyPr/>
          <a:lstStyle>
            <a:lvl1pPr>
              <a:spcBef>
                <a:spcPts val="0"/>
              </a:spcBef>
              <a:defRPr sz="1600"/>
            </a:lvl1pPr>
          </a:lstStyle>
          <a:p>
            <a:r>
              <a:t> </a:t>
            </a:r>
          </a:p>
        </p:txBody>
      </p:sp>
      <p:sp>
        <p:nvSpPr>
          <p:cNvPr id="566" name="Shape 566"/>
          <p:cNvSpPr>
            <a:spLocks noGrp="1"/>
          </p:cNvSpPr>
          <p:nvPr>
            <p:ph type="body" sz="quarter" idx="23"/>
          </p:nvPr>
        </p:nvSpPr>
        <p:spPr>
          <a:xfrm>
            <a:off x="9081137" y="2992473"/>
            <a:ext cx="2625725" cy="317656"/>
          </a:xfrm>
          <a:prstGeom prst="rect">
            <a:avLst/>
          </a:prstGeom>
        </p:spPr>
        <p:txBody>
          <a:bodyPr/>
          <a:lstStyle>
            <a:lvl1pPr>
              <a:spcBef>
                <a:spcPts val="0"/>
              </a:spcBef>
              <a:defRPr sz="1600" b="1"/>
            </a:lvl1pPr>
          </a:lstStyle>
          <a:p>
            <a:r>
              <a:t> </a:t>
            </a:r>
          </a:p>
        </p:txBody>
      </p:sp>
      <p:sp>
        <p:nvSpPr>
          <p:cNvPr id="567" name="Shape 567"/>
          <p:cNvSpPr>
            <a:spLocks noGrp="1"/>
          </p:cNvSpPr>
          <p:nvPr>
            <p:ph type="body" sz="quarter" idx="24"/>
          </p:nvPr>
        </p:nvSpPr>
        <p:spPr>
          <a:xfrm>
            <a:off x="9081137" y="3310128"/>
            <a:ext cx="2625725" cy="317656"/>
          </a:xfrm>
          <a:prstGeom prst="rect">
            <a:avLst/>
          </a:prstGeom>
        </p:spPr>
        <p:txBody>
          <a:bodyPr/>
          <a:lstStyle>
            <a:lvl1pPr>
              <a:spcBef>
                <a:spcPts val="0"/>
              </a:spcBef>
              <a:defRPr sz="1600"/>
            </a:lvl1pPr>
          </a:lstStyle>
          <a:p>
            <a:r>
              <a:t> </a:t>
            </a:r>
          </a:p>
        </p:txBody>
      </p:sp>
      <p:sp>
        <p:nvSpPr>
          <p:cNvPr id="568" name="Shape 568"/>
          <p:cNvSpPr>
            <a:spLocks noGrp="1"/>
          </p:cNvSpPr>
          <p:nvPr>
            <p:ph type="pic" sz="quarter" idx="25"/>
          </p:nvPr>
        </p:nvSpPr>
        <p:spPr>
          <a:xfrm>
            <a:off x="485776" y="3916998"/>
            <a:ext cx="1271904" cy="1271905"/>
          </a:xfrm>
          <a:prstGeom prst="rect">
            <a:avLst/>
          </a:prstGeom>
        </p:spPr>
        <p:txBody>
          <a:bodyPr lIns="91439" tIns="45719" rIns="91439" bIns="45719"/>
          <a:lstStyle/>
          <a:p>
            <a:endParaRPr/>
          </a:p>
        </p:txBody>
      </p:sp>
      <p:sp>
        <p:nvSpPr>
          <p:cNvPr id="569" name="Shape 569"/>
          <p:cNvSpPr>
            <a:spLocks noGrp="1"/>
          </p:cNvSpPr>
          <p:nvPr>
            <p:ph type="body" sz="quarter" idx="26"/>
          </p:nvPr>
        </p:nvSpPr>
        <p:spPr>
          <a:xfrm>
            <a:off x="485776" y="5288634"/>
            <a:ext cx="2625726" cy="317656"/>
          </a:xfrm>
          <a:prstGeom prst="rect">
            <a:avLst/>
          </a:prstGeom>
        </p:spPr>
        <p:txBody>
          <a:bodyPr/>
          <a:lstStyle>
            <a:lvl1pPr>
              <a:spcBef>
                <a:spcPts val="0"/>
              </a:spcBef>
              <a:defRPr sz="1600" b="1"/>
            </a:lvl1pPr>
          </a:lstStyle>
          <a:p>
            <a:r>
              <a:t> </a:t>
            </a:r>
          </a:p>
        </p:txBody>
      </p:sp>
      <p:sp>
        <p:nvSpPr>
          <p:cNvPr id="570" name="Shape 570"/>
          <p:cNvSpPr>
            <a:spLocks noGrp="1"/>
          </p:cNvSpPr>
          <p:nvPr>
            <p:ph type="body" sz="quarter" idx="27"/>
          </p:nvPr>
        </p:nvSpPr>
        <p:spPr>
          <a:xfrm>
            <a:off x="485776" y="5606289"/>
            <a:ext cx="2625726" cy="317656"/>
          </a:xfrm>
          <a:prstGeom prst="rect">
            <a:avLst/>
          </a:prstGeom>
        </p:spPr>
        <p:txBody>
          <a:bodyPr/>
          <a:lstStyle>
            <a:lvl1pPr>
              <a:spcBef>
                <a:spcPts val="0"/>
              </a:spcBef>
              <a:defRPr sz="1600"/>
            </a:lvl1pPr>
          </a:lstStyle>
          <a:p>
            <a:r>
              <a:t> </a:t>
            </a:r>
          </a:p>
        </p:txBody>
      </p:sp>
      <p:sp>
        <p:nvSpPr>
          <p:cNvPr id="571" name="Shape 571"/>
          <p:cNvSpPr>
            <a:spLocks noGrp="1"/>
          </p:cNvSpPr>
          <p:nvPr>
            <p:ph type="pic" sz="quarter" idx="28"/>
          </p:nvPr>
        </p:nvSpPr>
        <p:spPr>
          <a:xfrm>
            <a:off x="3361056" y="3916998"/>
            <a:ext cx="1271905" cy="1271905"/>
          </a:xfrm>
          <a:prstGeom prst="rect">
            <a:avLst/>
          </a:prstGeom>
        </p:spPr>
        <p:txBody>
          <a:bodyPr lIns="91439" tIns="45719" rIns="91439" bIns="45719"/>
          <a:lstStyle/>
          <a:p>
            <a:endParaRPr/>
          </a:p>
        </p:txBody>
      </p:sp>
      <p:sp>
        <p:nvSpPr>
          <p:cNvPr id="572" name="Shape 572"/>
          <p:cNvSpPr>
            <a:spLocks noGrp="1"/>
          </p:cNvSpPr>
          <p:nvPr>
            <p:ph type="pic" sz="quarter" idx="29"/>
          </p:nvPr>
        </p:nvSpPr>
        <p:spPr>
          <a:xfrm>
            <a:off x="6210300" y="3916998"/>
            <a:ext cx="1271904" cy="1271905"/>
          </a:xfrm>
          <a:prstGeom prst="rect">
            <a:avLst/>
          </a:prstGeom>
        </p:spPr>
        <p:txBody>
          <a:bodyPr lIns="91439" tIns="45719" rIns="91439" bIns="45719"/>
          <a:lstStyle/>
          <a:p>
            <a:endParaRPr/>
          </a:p>
        </p:txBody>
      </p:sp>
      <p:sp>
        <p:nvSpPr>
          <p:cNvPr id="573" name="Shape 573"/>
          <p:cNvSpPr>
            <a:spLocks noGrp="1"/>
          </p:cNvSpPr>
          <p:nvPr>
            <p:ph type="pic" sz="quarter" idx="30"/>
          </p:nvPr>
        </p:nvSpPr>
        <p:spPr>
          <a:xfrm>
            <a:off x="9080500" y="3916998"/>
            <a:ext cx="1271904" cy="1271905"/>
          </a:xfrm>
          <a:prstGeom prst="rect">
            <a:avLst/>
          </a:prstGeom>
        </p:spPr>
        <p:txBody>
          <a:bodyPr lIns="91439" tIns="45719" rIns="91439" bIns="45719"/>
          <a:lstStyle/>
          <a:p>
            <a:endParaRPr/>
          </a:p>
        </p:txBody>
      </p:sp>
      <p:sp>
        <p:nvSpPr>
          <p:cNvPr id="574" name="Shape 574"/>
          <p:cNvSpPr>
            <a:spLocks noGrp="1"/>
          </p:cNvSpPr>
          <p:nvPr>
            <p:ph type="body" sz="quarter" idx="31"/>
          </p:nvPr>
        </p:nvSpPr>
        <p:spPr>
          <a:xfrm>
            <a:off x="3361056" y="5288634"/>
            <a:ext cx="2625725" cy="317656"/>
          </a:xfrm>
          <a:prstGeom prst="rect">
            <a:avLst/>
          </a:prstGeom>
        </p:spPr>
        <p:txBody>
          <a:bodyPr/>
          <a:lstStyle>
            <a:lvl1pPr>
              <a:spcBef>
                <a:spcPts val="0"/>
              </a:spcBef>
              <a:defRPr sz="1600" b="1"/>
            </a:lvl1pPr>
          </a:lstStyle>
          <a:p>
            <a:r>
              <a:t> </a:t>
            </a:r>
          </a:p>
        </p:txBody>
      </p:sp>
      <p:sp>
        <p:nvSpPr>
          <p:cNvPr id="575" name="Shape 575"/>
          <p:cNvSpPr>
            <a:spLocks noGrp="1"/>
          </p:cNvSpPr>
          <p:nvPr>
            <p:ph type="body" sz="quarter" idx="32"/>
          </p:nvPr>
        </p:nvSpPr>
        <p:spPr>
          <a:xfrm>
            <a:off x="3361056" y="5606289"/>
            <a:ext cx="2625725" cy="317656"/>
          </a:xfrm>
          <a:prstGeom prst="rect">
            <a:avLst/>
          </a:prstGeom>
        </p:spPr>
        <p:txBody>
          <a:bodyPr/>
          <a:lstStyle>
            <a:lvl1pPr>
              <a:spcBef>
                <a:spcPts val="0"/>
              </a:spcBef>
              <a:defRPr sz="1600"/>
            </a:lvl1pPr>
          </a:lstStyle>
          <a:p>
            <a:r>
              <a:t> </a:t>
            </a:r>
          </a:p>
        </p:txBody>
      </p:sp>
      <p:sp>
        <p:nvSpPr>
          <p:cNvPr id="576" name="Shape 576"/>
          <p:cNvSpPr>
            <a:spLocks noGrp="1"/>
          </p:cNvSpPr>
          <p:nvPr>
            <p:ph type="body" sz="quarter" idx="33"/>
          </p:nvPr>
        </p:nvSpPr>
        <p:spPr>
          <a:xfrm>
            <a:off x="6205856" y="5288634"/>
            <a:ext cx="2625725" cy="317656"/>
          </a:xfrm>
          <a:prstGeom prst="rect">
            <a:avLst/>
          </a:prstGeom>
        </p:spPr>
        <p:txBody>
          <a:bodyPr/>
          <a:lstStyle>
            <a:lvl1pPr>
              <a:spcBef>
                <a:spcPts val="0"/>
              </a:spcBef>
              <a:defRPr sz="1600" b="1"/>
            </a:lvl1pPr>
          </a:lstStyle>
          <a:p>
            <a:r>
              <a:t> </a:t>
            </a:r>
          </a:p>
        </p:txBody>
      </p:sp>
      <p:sp>
        <p:nvSpPr>
          <p:cNvPr id="577" name="Shape 577"/>
          <p:cNvSpPr>
            <a:spLocks noGrp="1"/>
          </p:cNvSpPr>
          <p:nvPr>
            <p:ph type="body" sz="quarter" idx="34"/>
          </p:nvPr>
        </p:nvSpPr>
        <p:spPr>
          <a:xfrm>
            <a:off x="6205856" y="5606289"/>
            <a:ext cx="2625725" cy="317656"/>
          </a:xfrm>
          <a:prstGeom prst="rect">
            <a:avLst/>
          </a:prstGeom>
        </p:spPr>
        <p:txBody>
          <a:bodyPr/>
          <a:lstStyle>
            <a:lvl1pPr>
              <a:spcBef>
                <a:spcPts val="0"/>
              </a:spcBef>
              <a:defRPr sz="1600"/>
            </a:lvl1pPr>
          </a:lstStyle>
          <a:p>
            <a:r>
              <a:t> </a:t>
            </a:r>
          </a:p>
        </p:txBody>
      </p:sp>
      <p:sp>
        <p:nvSpPr>
          <p:cNvPr id="578" name="Shape 578"/>
          <p:cNvSpPr>
            <a:spLocks noGrp="1"/>
          </p:cNvSpPr>
          <p:nvPr>
            <p:ph type="body" sz="quarter" idx="35"/>
          </p:nvPr>
        </p:nvSpPr>
        <p:spPr>
          <a:xfrm>
            <a:off x="9081137" y="5288634"/>
            <a:ext cx="2625725" cy="317656"/>
          </a:xfrm>
          <a:prstGeom prst="rect">
            <a:avLst/>
          </a:prstGeom>
        </p:spPr>
        <p:txBody>
          <a:bodyPr/>
          <a:lstStyle>
            <a:lvl1pPr>
              <a:spcBef>
                <a:spcPts val="0"/>
              </a:spcBef>
              <a:defRPr sz="1600" b="1"/>
            </a:lvl1pPr>
          </a:lstStyle>
          <a:p>
            <a:r>
              <a:t> </a:t>
            </a:r>
          </a:p>
        </p:txBody>
      </p:sp>
      <p:sp>
        <p:nvSpPr>
          <p:cNvPr id="579" name="Shape 579"/>
          <p:cNvSpPr>
            <a:spLocks noGrp="1"/>
          </p:cNvSpPr>
          <p:nvPr>
            <p:ph type="body" sz="quarter" idx="36"/>
          </p:nvPr>
        </p:nvSpPr>
        <p:spPr>
          <a:xfrm>
            <a:off x="9081137" y="5606289"/>
            <a:ext cx="2625725" cy="317656"/>
          </a:xfrm>
          <a:prstGeom prst="rect">
            <a:avLst/>
          </a:prstGeom>
        </p:spPr>
        <p:txBody>
          <a:bodyPr/>
          <a:lstStyle>
            <a:lvl1pPr>
              <a:spcBef>
                <a:spcPts val="0"/>
              </a:spcBef>
              <a:defRPr sz="1600"/>
            </a:lvl1pPr>
          </a:lstStyle>
          <a:p>
            <a:r>
              <a:t> </a:t>
            </a:r>
          </a:p>
        </p:txBody>
      </p:sp>
      <p:sp>
        <p:nvSpPr>
          <p:cNvPr id="580" name="Shape 580"/>
          <p:cNvSpPr>
            <a:spLocks noGrp="1"/>
          </p:cNvSpPr>
          <p:nvPr>
            <p:ph type="title"/>
          </p:nvPr>
        </p:nvSpPr>
        <p:spPr>
          <a:xfrm>
            <a:off x="457200" y="355600"/>
            <a:ext cx="11252200" cy="495300"/>
          </a:xfrm>
          <a:prstGeom prst="rect">
            <a:avLst/>
          </a:prstGeom>
        </p:spPr>
        <p:txBody>
          <a:bodyPr>
            <a:normAutofit/>
          </a:bodyPr>
          <a:lstStyle/>
          <a:p>
            <a:r>
              <a:t>Texto del título</a:t>
            </a:r>
          </a:p>
        </p:txBody>
      </p:sp>
      <p:sp>
        <p:nvSpPr>
          <p:cNvPr id="581" name="Shape 581"/>
          <p:cNvSpPr>
            <a:spLocks noGrp="1"/>
          </p:cNvSpPr>
          <p:nvPr>
            <p:ph type="body" sz="quarter" idx="1"/>
          </p:nvPr>
        </p:nvSpPr>
        <p:spPr>
          <a:xfrm>
            <a:off x="485776" y="2992473"/>
            <a:ext cx="2625726" cy="317656"/>
          </a:xfrm>
          <a:prstGeom prst="rect">
            <a:avLst/>
          </a:prstGeom>
        </p:spPr>
        <p:txBody>
          <a:bodyPr>
            <a:normAutofit/>
          </a:bodyPr>
          <a:lstStyle>
            <a:lvl1pPr>
              <a:spcBef>
                <a:spcPts val="0"/>
              </a:spcBef>
              <a:defRPr sz="1600" b="1"/>
            </a:lvl1pPr>
            <a:lvl2pPr marL="0" indent="457200">
              <a:spcBef>
                <a:spcPts val="0"/>
              </a:spcBef>
              <a:buSzTx/>
              <a:buNone/>
              <a:defRPr sz="1600" b="1"/>
            </a:lvl2pPr>
            <a:lvl3pPr marL="0" indent="914400">
              <a:spcBef>
                <a:spcPts val="0"/>
              </a:spcBef>
              <a:buSzTx/>
              <a:buNone/>
              <a:defRPr sz="1600" b="1"/>
            </a:lvl3pPr>
            <a:lvl4pPr marL="0" indent="1371600">
              <a:spcBef>
                <a:spcPts val="0"/>
              </a:spcBef>
              <a:buSzTx/>
              <a:buNone/>
              <a:defRPr sz="1600" b="1"/>
            </a:lvl4pPr>
            <a:lvl5pPr marL="0" indent="1828800">
              <a:spcBef>
                <a:spcPts val="0"/>
              </a:spcBef>
              <a:buSzTx/>
              <a:buNone/>
              <a:defRPr sz="1600" b="1"/>
            </a:lvl5pPr>
          </a:lstStyle>
          <a:p>
            <a:r>
              <a:t>Nivel de texto 1</a:t>
            </a:r>
          </a:p>
          <a:p>
            <a:pPr lvl="1"/>
            <a:r>
              <a:t>Nivel de texto 2</a:t>
            </a:r>
          </a:p>
          <a:p>
            <a:pPr lvl="2"/>
            <a:r>
              <a:t>Nivel de texto 3</a:t>
            </a:r>
          </a:p>
          <a:p>
            <a:pPr lvl="3"/>
            <a:r>
              <a:t>Nivel de texto 4</a:t>
            </a:r>
          </a:p>
          <a:p>
            <a:pPr lvl="4"/>
            <a:r>
              <a:t>Nivel de texto 5</a:t>
            </a:r>
          </a:p>
        </p:txBody>
      </p:sp>
      <p:sp>
        <p:nvSpPr>
          <p:cNvPr id="582" name="Shape 582"/>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x">
  <p:cSld name="QUOTES">
    <p:spTree>
      <p:nvGrpSpPr>
        <p:cNvPr id="1" name=""/>
        <p:cNvGrpSpPr/>
        <p:nvPr/>
      </p:nvGrpSpPr>
      <p:grpSpPr>
        <a:xfrm>
          <a:off x="0" y="0"/>
          <a:ext cx="0" cy="0"/>
          <a:chOff x="0" y="0"/>
          <a:chExt cx="0" cy="0"/>
        </a:xfrm>
      </p:grpSpPr>
      <p:sp>
        <p:nvSpPr>
          <p:cNvPr id="589" name="Shape 589"/>
          <p:cNvSpPr/>
          <p:nvPr/>
        </p:nvSpPr>
        <p:spPr>
          <a:xfrm>
            <a:off x="374976" y="2577629"/>
            <a:ext cx="5262614" cy="1702744"/>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lvl1pPr>
              <a:defRPr sz="12000" b="1">
                <a:solidFill>
                  <a:srgbClr val="FFFFFF"/>
                </a:solidFill>
              </a:defRPr>
            </a:lvl1pPr>
          </a:lstStyle>
          <a:p>
            <a:r>
              <a:t>Quotes</a:t>
            </a:r>
          </a:p>
        </p:txBody>
      </p:sp>
      <p:sp>
        <p:nvSpPr>
          <p:cNvPr id="590" name="Shape 590"/>
          <p:cNvSpPr>
            <a:spLocks noGrp="1"/>
          </p:cNvSpPr>
          <p:nvPr>
            <p:ph type="sldNum" sz="quarter" idx="2"/>
          </p:nvPr>
        </p:nvSpPr>
        <p:spPr>
          <a:prstGeom prst="rect">
            <a:avLst/>
          </a:prstGeom>
        </p:spPr>
        <p:txBody>
          <a:bodyPr/>
          <a:lstStyle/>
          <a:p>
            <a:fld id="{86CB4B4D-7CA3-9044-876B-883B54F8677D}" type="slidenum">
              <a:t>‹Nº›</a:t>
            </a:fld>
            <a:endParaRPr/>
          </a:p>
        </p:txBody>
      </p:sp>
    </p:spTree>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x">
  <p:cSld name="Quote Blue">
    <p:bg>
      <p:bgPr>
        <a:solidFill>
          <a:srgbClr val="002C77"/>
        </a:solidFill>
        <a:effectLst/>
      </p:bgPr>
    </p:bg>
    <p:spTree>
      <p:nvGrpSpPr>
        <p:cNvPr id="1" name=""/>
        <p:cNvGrpSpPr/>
        <p:nvPr/>
      </p:nvGrpSpPr>
      <p:grpSpPr>
        <a:xfrm>
          <a:off x="0" y="0"/>
          <a:ext cx="0" cy="0"/>
          <a:chOff x="0" y="0"/>
          <a:chExt cx="0" cy="0"/>
        </a:xfrm>
      </p:grpSpPr>
      <p:sp>
        <p:nvSpPr>
          <p:cNvPr id="607" name="Shape 607"/>
          <p:cNvSpPr>
            <a:spLocks noGrp="1"/>
          </p:cNvSpPr>
          <p:nvPr>
            <p:ph type="title"/>
          </p:nvPr>
        </p:nvSpPr>
        <p:spPr>
          <a:xfrm>
            <a:off x="482600" y="1807778"/>
            <a:ext cx="7404101" cy="3061086"/>
          </a:xfrm>
          <a:prstGeom prst="rect">
            <a:avLst/>
          </a:prstGeom>
        </p:spPr>
        <p:txBody>
          <a:bodyPr>
            <a:normAutofit/>
          </a:bodyPr>
          <a:lstStyle>
            <a:lvl1pPr>
              <a:defRPr sz="5400">
                <a:solidFill>
                  <a:srgbClr val="FFFFFF"/>
                </a:solidFill>
              </a:defRPr>
            </a:lvl1pPr>
          </a:lstStyle>
          <a:p>
            <a:r>
              <a:t>Texto del título</a:t>
            </a:r>
          </a:p>
        </p:txBody>
      </p:sp>
      <p:sp>
        <p:nvSpPr>
          <p:cNvPr id="608" name="Shape 608"/>
          <p:cNvSpPr>
            <a:spLocks noGrp="1"/>
          </p:cNvSpPr>
          <p:nvPr>
            <p:ph type="body" sz="quarter" idx="1"/>
          </p:nvPr>
        </p:nvSpPr>
        <p:spPr>
          <a:xfrm>
            <a:off x="485776" y="4979815"/>
            <a:ext cx="3578224" cy="803620"/>
          </a:xfrm>
          <a:prstGeom prst="rect">
            <a:avLst/>
          </a:prstGeom>
        </p:spPr>
        <p:txBody>
          <a:bodyPr>
            <a:normAutofit/>
          </a:bodyPr>
          <a:lstStyle>
            <a:lvl1pPr marL="179388" indent="-179388">
              <a:spcBef>
                <a:spcPts val="0"/>
              </a:spcBef>
              <a:buSzPct val="100000"/>
              <a:buFont typeface="Helvetica"/>
              <a:buChar char="–"/>
              <a:defRPr sz="1600">
                <a:solidFill>
                  <a:srgbClr val="FFFFFF"/>
                </a:solidFill>
              </a:defRPr>
            </a:lvl1pPr>
            <a:lvl2pPr marL="0" indent="457200">
              <a:spcBef>
                <a:spcPts val="0"/>
              </a:spcBef>
              <a:buSzTx/>
              <a:buFont typeface="Helvetica"/>
              <a:buNone/>
              <a:defRPr sz="1600">
                <a:solidFill>
                  <a:srgbClr val="FFFFFF"/>
                </a:solidFill>
              </a:defRPr>
            </a:lvl2pPr>
            <a:lvl3pPr marL="0" indent="914400">
              <a:spcBef>
                <a:spcPts val="0"/>
              </a:spcBef>
              <a:buSzTx/>
              <a:buFont typeface="Helvetica"/>
              <a:buNone/>
              <a:defRPr sz="1600">
                <a:solidFill>
                  <a:srgbClr val="FFFFFF"/>
                </a:solidFill>
              </a:defRPr>
            </a:lvl3pPr>
            <a:lvl4pPr marL="0" indent="1371600">
              <a:spcBef>
                <a:spcPts val="0"/>
              </a:spcBef>
              <a:buSzTx/>
              <a:buFont typeface="Helvetica"/>
              <a:buNone/>
              <a:defRPr sz="1600">
                <a:solidFill>
                  <a:srgbClr val="FFFFFF"/>
                </a:solidFill>
              </a:defRPr>
            </a:lvl4pPr>
            <a:lvl5pPr marL="0" indent="1828800">
              <a:spcBef>
                <a:spcPts val="0"/>
              </a:spcBef>
              <a:buSzTx/>
              <a:buFont typeface="Helvetica"/>
              <a:buNone/>
              <a:defRPr sz="1600">
                <a:solidFill>
                  <a:srgbClr val="FFFFFF"/>
                </a:solidFill>
              </a:defRPr>
            </a:lvl5pPr>
          </a:lstStyle>
          <a:p>
            <a:r>
              <a:t>Nivel de texto 1</a:t>
            </a:r>
          </a:p>
          <a:p>
            <a:pPr lvl="1"/>
            <a:r>
              <a:t>Nivel de texto 2</a:t>
            </a:r>
          </a:p>
          <a:p>
            <a:pPr lvl="2"/>
            <a:r>
              <a:t>Nivel de texto 3</a:t>
            </a:r>
          </a:p>
          <a:p>
            <a:pPr lvl="3"/>
            <a:r>
              <a:t>Nivel de texto 4</a:t>
            </a:r>
          </a:p>
          <a:p>
            <a:pPr lvl="4"/>
            <a:r>
              <a:t>Nivel de texto 5</a:t>
            </a:r>
          </a:p>
        </p:txBody>
      </p:sp>
      <p:sp>
        <p:nvSpPr>
          <p:cNvPr id="609" name="Shape 609"/>
          <p:cNvSpPr>
            <a:spLocks noGrp="1"/>
          </p:cNvSpPr>
          <p:nvPr>
            <p:ph type="sldNum" sz="quarter" idx="2"/>
          </p:nvPr>
        </p:nvSpPr>
        <p:spPr>
          <a:xfrm>
            <a:off x="10439400" y="6516006"/>
            <a:ext cx="1270000" cy="1270001"/>
          </a:xfrm>
          <a:prstGeom prst="rect">
            <a:avLst/>
          </a:prstGeom>
        </p:spPr>
        <p:txBody>
          <a:bodyPr lIns="0" tIns="0" rIns="0" bIns="0" anchor="t"/>
          <a:lstStyle>
            <a:lvl1pPr>
              <a:defRPr sz="800">
                <a:solidFill>
                  <a:srgbClr val="FFFFFF"/>
                </a:solidFill>
              </a:defRPr>
            </a:lvl1pPr>
          </a:lstStyle>
          <a:p>
            <a:fld id="{86CB4B4D-7CA3-9044-876B-883B54F8677D}" type="slidenum">
              <a:t>‹Nº›</a:t>
            </a:fld>
            <a:endParaRPr/>
          </a:p>
        </p:txBody>
      </p:sp>
    </p:spTree>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x">
  <p:cSld name="INTERACTIVE ELEMENTS">
    <p:spTree>
      <p:nvGrpSpPr>
        <p:cNvPr id="1" name=""/>
        <p:cNvGrpSpPr/>
        <p:nvPr/>
      </p:nvGrpSpPr>
      <p:grpSpPr>
        <a:xfrm>
          <a:off x="0" y="0"/>
          <a:ext cx="0" cy="0"/>
          <a:chOff x="0" y="0"/>
          <a:chExt cx="0" cy="0"/>
        </a:xfrm>
      </p:grpSpPr>
      <p:sp>
        <p:nvSpPr>
          <p:cNvPr id="616" name="Shape 616"/>
          <p:cNvSpPr/>
          <p:nvPr/>
        </p:nvSpPr>
        <p:spPr>
          <a:xfrm>
            <a:off x="374976" y="1701329"/>
            <a:ext cx="8059838" cy="3455343"/>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p>
            <a:pPr>
              <a:defRPr sz="12000" b="1">
                <a:solidFill>
                  <a:srgbClr val="FFFFFF"/>
                </a:solidFill>
              </a:defRPr>
            </a:pPr>
            <a:r>
              <a:t>Interactive</a:t>
            </a:r>
          </a:p>
          <a:p>
            <a:pPr>
              <a:defRPr sz="12000" b="1">
                <a:solidFill>
                  <a:srgbClr val="FFFFFF"/>
                </a:solidFill>
              </a:defRPr>
            </a:pPr>
            <a:r>
              <a:t>elements</a:t>
            </a:r>
          </a:p>
        </p:txBody>
      </p:sp>
      <p:sp>
        <p:nvSpPr>
          <p:cNvPr id="617" name="Shape 617"/>
          <p:cNvSpPr>
            <a:spLocks noGrp="1"/>
          </p:cNvSpPr>
          <p:nvPr>
            <p:ph type="sldNum" sz="quarter" idx="2"/>
          </p:nvPr>
        </p:nvSpPr>
        <p:spPr>
          <a:prstGeom prst="rect">
            <a:avLst/>
          </a:prstGeom>
        </p:spPr>
        <p:txBody>
          <a:bodyPr/>
          <a:lstStyle/>
          <a:p>
            <a:fld id="{86CB4B4D-7CA3-9044-876B-883B54F8677D}" type="slidenum">
              <a:t>‹Nº›</a:t>
            </a:fld>
            <a:endParaRPr/>
          </a:p>
        </p:txBody>
      </p:sp>
    </p:spTree>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x">
  <p:cSld name="Interactive top">
    <p:bg>
      <p:bgPr>
        <a:solidFill>
          <a:srgbClr val="FFFFFF"/>
        </a:solidFill>
        <a:effectLst/>
      </p:bgPr>
    </p:bg>
    <p:spTree>
      <p:nvGrpSpPr>
        <p:cNvPr id="1" name=""/>
        <p:cNvGrpSpPr/>
        <p:nvPr/>
      </p:nvGrpSpPr>
      <p:grpSpPr>
        <a:xfrm>
          <a:off x="0" y="0"/>
          <a:ext cx="0" cy="0"/>
          <a:chOff x="0" y="0"/>
          <a:chExt cx="0" cy="0"/>
        </a:xfrm>
      </p:grpSpPr>
      <p:pic>
        <p:nvPicPr>
          <p:cNvPr id="624"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625" name="Shape 625"/>
          <p:cNvSpPr/>
          <p:nvPr/>
        </p:nvSpPr>
        <p:spPr>
          <a:xfrm>
            <a:off x="2814" y="-1"/>
            <a:ext cx="12189187" cy="613702"/>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sp>
        <p:nvSpPr>
          <p:cNvPr id="626" name="Shape 626"/>
          <p:cNvSpPr/>
          <p:nvPr/>
        </p:nvSpPr>
        <p:spPr>
          <a:xfrm>
            <a:off x="485775" y="163049"/>
            <a:ext cx="1704975" cy="29210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algn="ctr">
              <a:defRPr sz="1400">
                <a:solidFill>
                  <a:srgbClr val="FFFFFF"/>
                </a:solidFill>
              </a:defRPr>
            </a:lvl1pPr>
          </a:lstStyle>
          <a:p>
            <a:r>
              <a:t>Section 1</a:t>
            </a:r>
          </a:p>
        </p:txBody>
      </p:sp>
      <p:sp>
        <p:nvSpPr>
          <p:cNvPr id="627" name="Shape 627"/>
          <p:cNvSpPr/>
          <p:nvPr/>
        </p:nvSpPr>
        <p:spPr>
          <a:xfrm>
            <a:off x="2437449" y="163049"/>
            <a:ext cx="1704974" cy="29210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algn="ctr">
              <a:defRPr sz="1400">
                <a:solidFill>
                  <a:srgbClr val="FFFFFF"/>
                </a:solidFill>
              </a:defRPr>
            </a:lvl1pPr>
          </a:lstStyle>
          <a:p>
            <a:r>
              <a:t>Section 2</a:t>
            </a:r>
          </a:p>
        </p:txBody>
      </p:sp>
      <p:sp>
        <p:nvSpPr>
          <p:cNvPr id="628" name="Shape 628"/>
          <p:cNvSpPr/>
          <p:nvPr/>
        </p:nvSpPr>
        <p:spPr>
          <a:xfrm>
            <a:off x="4389122" y="163049"/>
            <a:ext cx="1704974" cy="29210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algn="ctr">
              <a:defRPr sz="1400">
                <a:solidFill>
                  <a:srgbClr val="FFFFFF"/>
                </a:solidFill>
              </a:defRPr>
            </a:lvl1pPr>
          </a:lstStyle>
          <a:p>
            <a:r>
              <a:t>Section 3</a:t>
            </a:r>
          </a:p>
        </p:txBody>
      </p:sp>
      <p:sp>
        <p:nvSpPr>
          <p:cNvPr id="629" name="Shape 629"/>
          <p:cNvSpPr/>
          <p:nvPr/>
        </p:nvSpPr>
        <p:spPr>
          <a:xfrm>
            <a:off x="6340795" y="163049"/>
            <a:ext cx="1704974" cy="29210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algn="ctr">
              <a:defRPr sz="1400">
                <a:solidFill>
                  <a:srgbClr val="FFFFFF"/>
                </a:solidFill>
              </a:defRPr>
            </a:lvl1pPr>
          </a:lstStyle>
          <a:p>
            <a:r>
              <a:t>Section 4</a:t>
            </a:r>
          </a:p>
        </p:txBody>
      </p:sp>
      <p:sp>
        <p:nvSpPr>
          <p:cNvPr id="630" name="Shape 630"/>
          <p:cNvSpPr/>
          <p:nvPr/>
        </p:nvSpPr>
        <p:spPr>
          <a:xfrm>
            <a:off x="8292468" y="163049"/>
            <a:ext cx="1704974" cy="29210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algn="ctr">
              <a:defRPr sz="1400">
                <a:solidFill>
                  <a:srgbClr val="FFFFFF"/>
                </a:solidFill>
              </a:defRPr>
            </a:lvl1pPr>
          </a:lstStyle>
          <a:p>
            <a:r>
              <a:t>Section 5</a:t>
            </a:r>
          </a:p>
        </p:txBody>
      </p:sp>
      <p:sp>
        <p:nvSpPr>
          <p:cNvPr id="631" name="Shape 631"/>
          <p:cNvSpPr/>
          <p:nvPr/>
        </p:nvSpPr>
        <p:spPr>
          <a:xfrm>
            <a:off x="10244138" y="163049"/>
            <a:ext cx="1704974" cy="29210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algn="ctr">
              <a:defRPr sz="1400">
                <a:solidFill>
                  <a:srgbClr val="FFFFFF"/>
                </a:solidFill>
              </a:defRPr>
            </a:lvl1pPr>
          </a:lstStyle>
          <a:p>
            <a:r>
              <a:t>Section 6</a:t>
            </a:r>
          </a:p>
        </p:txBody>
      </p:sp>
      <p:sp>
        <p:nvSpPr>
          <p:cNvPr id="632" name="Shape 632"/>
          <p:cNvSpPr/>
          <p:nvPr/>
        </p:nvSpPr>
        <p:spPr>
          <a:xfrm>
            <a:off x="2314099" y="114647"/>
            <a:ext cx="1" cy="381036"/>
          </a:xfrm>
          <a:prstGeom prst="line">
            <a:avLst/>
          </a:prstGeom>
          <a:ln w="6350">
            <a:solidFill>
              <a:srgbClr val="565656"/>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633" name="Shape 633"/>
          <p:cNvSpPr/>
          <p:nvPr/>
        </p:nvSpPr>
        <p:spPr>
          <a:xfrm>
            <a:off x="4265772" y="114647"/>
            <a:ext cx="1" cy="381036"/>
          </a:xfrm>
          <a:prstGeom prst="line">
            <a:avLst/>
          </a:prstGeom>
          <a:ln w="6350">
            <a:solidFill>
              <a:srgbClr val="565656"/>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634" name="Shape 634"/>
          <p:cNvSpPr/>
          <p:nvPr/>
        </p:nvSpPr>
        <p:spPr>
          <a:xfrm>
            <a:off x="6217444" y="114647"/>
            <a:ext cx="1" cy="381036"/>
          </a:xfrm>
          <a:prstGeom prst="line">
            <a:avLst/>
          </a:prstGeom>
          <a:ln w="6350">
            <a:solidFill>
              <a:srgbClr val="565656"/>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635" name="Shape 635"/>
          <p:cNvSpPr/>
          <p:nvPr/>
        </p:nvSpPr>
        <p:spPr>
          <a:xfrm>
            <a:off x="8169117" y="114647"/>
            <a:ext cx="1" cy="381036"/>
          </a:xfrm>
          <a:prstGeom prst="line">
            <a:avLst/>
          </a:prstGeom>
          <a:ln w="6350">
            <a:solidFill>
              <a:srgbClr val="565656"/>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636" name="Shape 636"/>
          <p:cNvSpPr/>
          <p:nvPr/>
        </p:nvSpPr>
        <p:spPr>
          <a:xfrm>
            <a:off x="10120790" y="114647"/>
            <a:ext cx="1" cy="381036"/>
          </a:xfrm>
          <a:prstGeom prst="line">
            <a:avLst/>
          </a:prstGeom>
          <a:ln w="6350">
            <a:solidFill>
              <a:srgbClr val="565656"/>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637" name="Shape 637"/>
          <p:cNvSpPr/>
          <p:nvPr/>
        </p:nvSpPr>
        <p:spPr>
          <a:xfrm>
            <a:off x="482600" y="3069021"/>
            <a:ext cx="4533900" cy="9779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a:defRPr sz="1000">
                <a:solidFill>
                  <a:srgbClr val="FF2600"/>
                </a:solidFill>
              </a:defRPr>
            </a:pPr>
            <a:r>
              <a:t>These slides provide options to create a clickable navigation elements to jump to different sections of your presentation. To create clickable elements (and to remove this note) choose “Slide Master” from the “View” tab.</a:t>
            </a:r>
          </a:p>
          <a:p>
            <a:pPr>
              <a:defRPr sz="1000">
                <a:solidFill>
                  <a:srgbClr val="FF2600"/>
                </a:solidFill>
              </a:defRPr>
            </a:pPr>
            <a:endParaRPr/>
          </a:p>
          <a:p>
            <a:pPr>
              <a:defRPr sz="1000">
                <a:solidFill>
                  <a:srgbClr val="FF2600"/>
                </a:solidFill>
              </a:defRPr>
            </a:pPr>
            <a:r>
              <a:t>To create hyperlinks on the navigation elements, select the element and choose “Hyperlink” from the “Insert” tab. Then choose “Place in This Document” from the dialog box and select a slide.</a:t>
            </a:r>
          </a:p>
        </p:txBody>
      </p:sp>
      <p:sp>
        <p:nvSpPr>
          <p:cNvPr id="638" name="Shape 638"/>
          <p:cNvSpPr>
            <a:spLocks noGrp="1"/>
          </p:cNvSpPr>
          <p:nvPr>
            <p:ph type="body" sz="quarter" idx="13"/>
          </p:nvPr>
        </p:nvSpPr>
        <p:spPr>
          <a:xfrm>
            <a:off x="485776" y="1311631"/>
            <a:ext cx="11461751" cy="318477"/>
          </a:xfrm>
          <a:prstGeom prst="rect">
            <a:avLst/>
          </a:prstGeom>
        </p:spPr>
        <p:txBody>
          <a:bodyPr/>
          <a:lstStyle>
            <a:lvl1pPr>
              <a:defRPr sz="2000" b="1">
                <a:solidFill>
                  <a:srgbClr val="002C77"/>
                </a:solidFill>
              </a:defRPr>
            </a:lvl1pPr>
          </a:lstStyle>
          <a:p>
            <a:r>
              <a:t> </a:t>
            </a:r>
          </a:p>
        </p:txBody>
      </p:sp>
      <p:sp>
        <p:nvSpPr>
          <p:cNvPr id="639" name="Shape 639"/>
          <p:cNvSpPr>
            <a:spLocks noGrp="1"/>
          </p:cNvSpPr>
          <p:nvPr>
            <p:ph type="title"/>
          </p:nvPr>
        </p:nvSpPr>
        <p:spPr>
          <a:xfrm>
            <a:off x="485776" y="866775"/>
            <a:ext cx="11461751" cy="504825"/>
          </a:xfrm>
          <a:prstGeom prst="rect">
            <a:avLst/>
          </a:prstGeom>
        </p:spPr>
        <p:txBody>
          <a:bodyPr>
            <a:normAutofit/>
          </a:bodyPr>
          <a:lstStyle/>
          <a:p>
            <a:r>
              <a:t>Texto del título</a:t>
            </a:r>
          </a:p>
        </p:txBody>
      </p:sp>
      <p:sp>
        <p:nvSpPr>
          <p:cNvPr id="640" name="Shape 640"/>
          <p:cNvSpPr>
            <a:spLocks noGrp="1"/>
          </p:cNvSpPr>
          <p:nvPr>
            <p:ph type="body" sz="quarter" idx="1"/>
          </p:nvPr>
        </p:nvSpPr>
        <p:spPr>
          <a:xfrm>
            <a:off x="6394451" y="6388100"/>
            <a:ext cx="4603751" cy="247650"/>
          </a:xfrm>
          <a:prstGeom prst="rect">
            <a:avLst/>
          </a:prstGeom>
        </p:spPr>
        <p:txBody>
          <a:bodyPr anchor="b">
            <a:normAutofit/>
          </a:bodyPr>
          <a:lstStyle>
            <a:lvl1pPr algn="r">
              <a:spcBef>
                <a:spcPts val="0"/>
              </a:spcBef>
              <a:defRPr sz="800"/>
            </a:lvl1pPr>
            <a:lvl2pPr marL="0" indent="457200" algn="r">
              <a:spcBef>
                <a:spcPts val="0"/>
              </a:spcBef>
              <a:buSzTx/>
              <a:buNone/>
              <a:defRPr sz="800"/>
            </a:lvl2pPr>
            <a:lvl3pPr marL="0" indent="914400" algn="r">
              <a:spcBef>
                <a:spcPts val="0"/>
              </a:spcBef>
              <a:buSzTx/>
              <a:buNone/>
              <a:defRPr sz="800"/>
            </a:lvl3pPr>
            <a:lvl4pPr marL="0" indent="1371600" algn="r">
              <a:spcBef>
                <a:spcPts val="0"/>
              </a:spcBef>
              <a:buSzTx/>
              <a:buNone/>
              <a:defRPr sz="800"/>
            </a:lvl4pPr>
            <a:lvl5pPr marL="0" indent="1828800" algn="r">
              <a:spcBef>
                <a:spcPts val="0"/>
              </a:spcBef>
              <a:buSzTx/>
              <a:buNone/>
              <a:defRPr sz="800"/>
            </a:lvl5pPr>
          </a:lstStyle>
          <a:p>
            <a:r>
              <a:t>Nivel de texto 1</a:t>
            </a:r>
          </a:p>
          <a:p>
            <a:pPr lvl="1"/>
            <a:r>
              <a:t>Nivel de texto 2</a:t>
            </a:r>
          </a:p>
          <a:p>
            <a:pPr lvl="2"/>
            <a:r>
              <a:t>Nivel de texto 3</a:t>
            </a:r>
          </a:p>
          <a:p>
            <a:pPr lvl="3"/>
            <a:r>
              <a:t>Nivel de texto 4</a:t>
            </a:r>
          </a:p>
          <a:p>
            <a:pPr lvl="4"/>
            <a:r>
              <a:t>Nivel de texto 5</a:t>
            </a:r>
          </a:p>
        </p:txBody>
      </p:sp>
      <p:sp>
        <p:nvSpPr>
          <p:cNvPr id="641" name="Shape 641"/>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x">
  <p:cSld name="Interactive right">
    <p:bg>
      <p:bgPr>
        <a:solidFill>
          <a:srgbClr val="FFFFFF"/>
        </a:solidFill>
        <a:effectLst/>
      </p:bgPr>
    </p:bg>
    <p:spTree>
      <p:nvGrpSpPr>
        <p:cNvPr id="1" name=""/>
        <p:cNvGrpSpPr/>
        <p:nvPr/>
      </p:nvGrpSpPr>
      <p:grpSpPr>
        <a:xfrm>
          <a:off x="0" y="0"/>
          <a:ext cx="0" cy="0"/>
          <a:chOff x="0" y="0"/>
          <a:chExt cx="0" cy="0"/>
        </a:xfrm>
      </p:grpSpPr>
      <p:pic>
        <p:nvPicPr>
          <p:cNvPr id="648"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grpSp>
        <p:nvGrpSpPr>
          <p:cNvPr id="651" name="Group 651"/>
          <p:cNvGrpSpPr/>
          <p:nvPr/>
        </p:nvGrpSpPr>
        <p:grpSpPr>
          <a:xfrm>
            <a:off x="10239375" y="3176"/>
            <a:ext cx="1952625" cy="1139452"/>
            <a:chOff x="0" y="0"/>
            <a:chExt cx="1952625" cy="1139451"/>
          </a:xfrm>
        </p:grpSpPr>
        <p:sp>
          <p:nvSpPr>
            <p:cNvPr id="649" name="Shape 649"/>
            <p:cNvSpPr/>
            <p:nvPr/>
          </p:nvSpPr>
          <p:spPr>
            <a:xfrm>
              <a:off x="0" y="0"/>
              <a:ext cx="1952625" cy="1139452"/>
            </a:xfrm>
            <a:prstGeom prst="rect">
              <a:avLst/>
            </a:prstGeom>
            <a:solidFill>
              <a:srgbClr val="002C77"/>
            </a:solidFill>
            <a:ln w="3175" cap="flat">
              <a:solidFill>
                <a:srgbClr val="146BFF">
                  <a:alpha val="10000"/>
                </a:srgbClr>
              </a:solidFill>
              <a:prstDash val="solid"/>
              <a:round/>
            </a:ln>
            <a:effectLst/>
          </p:spPr>
          <p:txBody>
            <a:bodyPr wrap="square" lIns="0" tIns="0" rIns="0" bIns="0" numCol="1" anchor="b">
              <a:noAutofit/>
            </a:bodyPr>
            <a:lstStyle/>
            <a:p>
              <a:pPr algn="ctr">
                <a:defRPr sz="1400">
                  <a:solidFill>
                    <a:srgbClr val="FFFFFF"/>
                  </a:solidFill>
                </a:defRPr>
              </a:pPr>
              <a:endParaRPr/>
            </a:p>
          </p:txBody>
        </p:sp>
        <p:sp>
          <p:nvSpPr>
            <p:cNvPr id="650" name="Shape 650"/>
            <p:cNvSpPr/>
            <p:nvPr/>
          </p:nvSpPr>
          <p:spPr>
            <a:xfrm>
              <a:off x="0" y="798068"/>
              <a:ext cx="1952625" cy="3413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0" tIns="72000" rIns="72000" bIns="72000" numCol="1" anchor="b">
              <a:spAutoFit/>
            </a:bodyPr>
            <a:lstStyle>
              <a:lvl1pPr algn="ctr">
                <a:defRPr sz="1400">
                  <a:solidFill>
                    <a:srgbClr val="FFFFFF"/>
                  </a:solidFill>
                </a:defRPr>
              </a:lvl1pPr>
            </a:lstStyle>
            <a:p>
              <a:r>
                <a:t>Section 1</a:t>
              </a:r>
            </a:p>
          </p:txBody>
        </p:sp>
      </p:grpSp>
      <p:grpSp>
        <p:nvGrpSpPr>
          <p:cNvPr id="654" name="Group 654"/>
          <p:cNvGrpSpPr/>
          <p:nvPr/>
        </p:nvGrpSpPr>
        <p:grpSpPr>
          <a:xfrm>
            <a:off x="10239375" y="1146251"/>
            <a:ext cx="1952625" cy="1139452"/>
            <a:chOff x="0" y="0"/>
            <a:chExt cx="1952625" cy="1139451"/>
          </a:xfrm>
        </p:grpSpPr>
        <p:sp>
          <p:nvSpPr>
            <p:cNvPr id="652" name="Shape 652"/>
            <p:cNvSpPr/>
            <p:nvPr/>
          </p:nvSpPr>
          <p:spPr>
            <a:xfrm>
              <a:off x="0" y="0"/>
              <a:ext cx="1952625" cy="1139452"/>
            </a:xfrm>
            <a:prstGeom prst="rect">
              <a:avLst/>
            </a:prstGeom>
            <a:solidFill>
              <a:srgbClr val="002C77"/>
            </a:solidFill>
            <a:ln w="3175" cap="flat">
              <a:solidFill>
                <a:srgbClr val="146BFF">
                  <a:alpha val="10000"/>
                </a:srgbClr>
              </a:solidFill>
              <a:prstDash val="solid"/>
              <a:round/>
            </a:ln>
            <a:effectLst/>
          </p:spPr>
          <p:txBody>
            <a:bodyPr wrap="square" lIns="0" tIns="0" rIns="0" bIns="0" numCol="1" anchor="b">
              <a:noAutofit/>
            </a:bodyPr>
            <a:lstStyle/>
            <a:p>
              <a:pPr algn="ctr">
                <a:defRPr sz="1400">
                  <a:solidFill>
                    <a:srgbClr val="FFFFFF"/>
                  </a:solidFill>
                </a:defRPr>
              </a:pPr>
              <a:endParaRPr/>
            </a:p>
          </p:txBody>
        </p:sp>
        <p:sp>
          <p:nvSpPr>
            <p:cNvPr id="653" name="Shape 653"/>
            <p:cNvSpPr/>
            <p:nvPr/>
          </p:nvSpPr>
          <p:spPr>
            <a:xfrm>
              <a:off x="0" y="798068"/>
              <a:ext cx="1952625" cy="3413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0" tIns="72000" rIns="72000" bIns="72000" numCol="1" anchor="b">
              <a:spAutoFit/>
            </a:bodyPr>
            <a:lstStyle>
              <a:lvl1pPr algn="ctr">
                <a:defRPr sz="1400">
                  <a:solidFill>
                    <a:srgbClr val="FFFFFF"/>
                  </a:solidFill>
                </a:defRPr>
              </a:lvl1pPr>
            </a:lstStyle>
            <a:p>
              <a:r>
                <a:t>Section 2</a:t>
              </a:r>
            </a:p>
          </p:txBody>
        </p:sp>
      </p:grpSp>
      <p:grpSp>
        <p:nvGrpSpPr>
          <p:cNvPr id="657" name="Group 657"/>
          <p:cNvGrpSpPr/>
          <p:nvPr/>
        </p:nvGrpSpPr>
        <p:grpSpPr>
          <a:xfrm>
            <a:off x="10239375" y="2289325"/>
            <a:ext cx="1952625" cy="1139452"/>
            <a:chOff x="0" y="0"/>
            <a:chExt cx="1952625" cy="1139451"/>
          </a:xfrm>
        </p:grpSpPr>
        <p:sp>
          <p:nvSpPr>
            <p:cNvPr id="655" name="Shape 655"/>
            <p:cNvSpPr/>
            <p:nvPr/>
          </p:nvSpPr>
          <p:spPr>
            <a:xfrm>
              <a:off x="0" y="0"/>
              <a:ext cx="1952625" cy="1139452"/>
            </a:xfrm>
            <a:prstGeom prst="rect">
              <a:avLst/>
            </a:prstGeom>
            <a:solidFill>
              <a:srgbClr val="002C77"/>
            </a:solidFill>
            <a:ln w="3175" cap="flat">
              <a:solidFill>
                <a:srgbClr val="146BFF">
                  <a:alpha val="10000"/>
                </a:srgbClr>
              </a:solidFill>
              <a:prstDash val="solid"/>
              <a:round/>
            </a:ln>
            <a:effectLst/>
          </p:spPr>
          <p:txBody>
            <a:bodyPr wrap="square" lIns="0" tIns="0" rIns="0" bIns="0" numCol="1" anchor="b">
              <a:noAutofit/>
            </a:bodyPr>
            <a:lstStyle/>
            <a:p>
              <a:pPr algn="ctr">
                <a:defRPr sz="1400">
                  <a:solidFill>
                    <a:srgbClr val="FFFFFF"/>
                  </a:solidFill>
                </a:defRPr>
              </a:pPr>
              <a:endParaRPr/>
            </a:p>
          </p:txBody>
        </p:sp>
        <p:sp>
          <p:nvSpPr>
            <p:cNvPr id="656" name="Shape 656"/>
            <p:cNvSpPr/>
            <p:nvPr/>
          </p:nvSpPr>
          <p:spPr>
            <a:xfrm>
              <a:off x="0" y="798068"/>
              <a:ext cx="1952625" cy="3413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0" tIns="72000" rIns="72000" bIns="72000" numCol="1" anchor="b">
              <a:spAutoFit/>
            </a:bodyPr>
            <a:lstStyle>
              <a:lvl1pPr algn="ctr">
                <a:defRPr sz="1400">
                  <a:solidFill>
                    <a:srgbClr val="FFFFFF"/>
                  </a:solidFill>
                </a:defRPr>
              </a:lvl1pPr>
            </a:lstStyle>
            <a:p>
              <a:r>
                <a:t>Section 3</a:t>
              </a:r>
            </a:p>
          </p:txBody>
        </p:sp>
      </p:grpSp>
      <p:grpSp>
        <p:nvGrpSpPr>
          <p:cNvPr id="660" name="Group 660"/>
          <p:cNvGrpSpPr/>
          <p:nvPr/>
        </p:nvGrpSpPr>
        <p:grpSpPr>
          <a:xfrm>
            <a:off x="10239375" y="3432400"/>
            <a:ext cx="1952625" cy="1139453"/>
            <a:chOff x="0" y="0"/>
            <a:chExt cx="1952625" cy="1139451"/>
          </a:xfrm>
        </p:grpSpPr>
        <p:sp>
          <p:nvSpPr>
            <p:cNvPr id="658" name="Shape 658"/>
            <p:cNvSpPr/>
            <p:nvPr/>
          </p:nvSpPr>
          <p:spPr>
            <a:xfrm>
              <a:off x="0" y="0"/>
              <a:ext cx="1952625" cy="1139452"/>
            </a:xfrm>
            <a:prstGeom prst="rect">
              <a:avLst/>
            </a:prstGeom>
            <a:solidFill>
              <a:srgbClr val="002C77"/>
            </a:solidFill>
            <a:ln w="3175" cap="flat">
              <a:solidFill>
                <a:srgbClr val="146BFF">
                  <a:alpha val="10000"/>
                </a:srgbClr>
              </a:solidFill>
              <a:prstDash val="solid"/>
              <a:round/>
            </a:ln>
            <a:effectLst/>
          </p:spPr>
          <p:txBody>
            <a:bodyPr wrap="square" lIns="0" tIns="0" rIns="0" bIns="0" numCol="1" anchor="b">
              <a:noAutofit/>
            </a:bodyPr>
            <a:lstStyle/>
            <a:p>
              <a:pPr algn="ctr">
                <a:defRPr sz="1400">
                  <a:solidFill>
                    <a:srgbClr val="FFFFFF"/>
                  </a:solidFill>
                </a:defRPr>
              </a:pPr>
              <a:endParaRPr/>
            </a:p>
          </p:txBody>
        </p:sp>
        <p:sp>
          <p:nvSpPr>
            <p:cNvPr id="659" name="Shape 659"/>
            <p:cNvSpPr/>
            <p:nvPr/>
          </p:nvSpPr>
          <p:spPr>
            <a:xfrm>
              <a:off x="0" y="798068"/>
              <a:ext cx="1952625" cy="3413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0" tIns="72000" rIns="72000" bIns="72000" numCol="1" anchor="b">
              <a:spAutoFit/>
            </a:bodyPr>
            <a:lstStyle>
              <a:lvl1pPr algn="ctr">
                <a:defRPr sz="1400">
                  <a:solidFill>
                    <a:srgbClr val="FFFFFF"/>
                  </a:solidFill>
                </a:defRPr>
              </a:lvl1pPr>
            </a:lstStyle>
            <a:p>
              <a:r>
                <a:t>Section 4</a:t>
              </a:r>
            </a:p>
          </p:txBody>
        </p:sp>
      </p:grpSp>
      <p:grpSp>
        <p:nvGrpSpPr>
          <p:cNvPr id="663" name="Group 663"/>
          <p:cNvGrpSpPr/>
          <p:nvPr/>
        </p:nvGrpSpPr>
        <p:grpSpPr>
          <a:xfrm>
            <a:off x="10239375" y="4575475"/>
            <a:ext cx="1952625" cy="1139452"/>
            <a:chOff x="0" y="0"/>
            <a:chExt cx="1952625" cy="1139451"/>
          </a:xfrm>
        </p:grpSpPr>
        <p:sp>
          <p:nvSpPr>
            <p:cNvPr id="661" name="Shape 661"/>
            <p:cNvSpPr/>
            <p:nvPr/>
          </p:nvSpPr>
          <p:spPr>
            <a:xfrm>
              <a:off x="0" y="0"/>
              <a:ext cx="1952625" cy="1139452"/>
            </a:xfrm>
            <a:prstGeom prst="rect">
              <a:avLst/>
            </a:prstGeom>
            <a:solidFill>
              <a:srgbClr val="002C77"/>
            </a:solidFill>
            <a:ln w="3175" cap="flat">
              <a:solidFill>
                <a:srgbClr val="146BFF">
                  <a:alpha val="10000"/>
                </a:srgbClr>
              </a:solidFill>
              <a:prstDash val="solid"/>
              <a:round/>
            </a:ln>
            <a:effectLst/>
          </p:spPr>
          <p:txBody>
            <a:bodyPr wrap="square" lIns="0" tIns="0" rIns="0" bIns="0" numCol="1" anchor="b">
              <a:noAutofit/>
            </a:bodyPr>
            <a:lstStyle/>
            <a:p>
              <a:pPr algn="ctr">
                <a:defRPr sz="1400">
                  <a:solidFill>
                    <a:srgbClr val="FFFFFF"/>
                  </a:solidFill>
                </a:defRPr>
              </a:pPr>
              <a:endParaRPr/>
            </a:p>
          </p:txBody>
        </p:sp>
        <p:sp>
          <p:nvSpPr>
            <p:cNvPr id="662" name="Shape 662"/>
            <p:cNvSpPr/>
            <p:nvPr/>
          </p:nvSpPr>
          <p:spPr>
            <a:xfrm>
              <a:off x="0" y="798068"/>
              <a:ext cx="1952625" cy="3413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0" tIns="72000" rIns="72000" bIns="72000" numCol="1" anchor="b">
              <a:spAutoFit/>
            </a:bodyPr>
            <a:lstStyle>
              <a:lvl1pPr algn="ctr">
                <a:defRPr sz="1400">
                  <a:solidFill>
                    <a:srgbClr val="FFFFFF"/>
                  </a:solidFill>
                </a:defRPr>
              </a:lvl1pPr>
            </a:lstStyle>
            <a:p>
              <a:r>
                <a:t>Section 5</a:t>
              </a:r>
            </a:p>
          </p:txBody>
        </p:sp>
      </p:grpSp>
      <p:grpSp>
        <p:nvGrpSpPr>
          <p:cNvPr id="666" name="Group 666"/>
          <p:cNvGrpSpPr/>
          <p:nvPr/>
        </p:nvGrpSpPr>
        <p:grpSpPr>
          <a:xfrm>
            <a:off x="10239375" y="5718547"/>
            <a:ext cx="1952625" cy="1139453"/>
            <a:chOff x="0" y="0"/>
            <a:chExt cx="1952625" cy="1139451"/>
          </a:xfrm>
        </p:grpSpPr>
        <p:sp>
          <p:nvSpPr>
            <p:cNvPr id="664" name="Shape 664"/>
            <p:cNvSpPr/>
            <p:nvPr/>
          </p:nvSpPr>
          <p:spPr>
            <a:xfrm>
              <a:off x="0" y="0"/>
              <a:ext cx="1952625" cy="1139452"/>
            </a:xfrm>
            <a:prstGeom prst="rect">
              <a:avLst/>
            </a:prstGeom>
            <a:solidFill>
              <a:srgbClr val="002C77"/>
            </a:solidFill>
            <a:ln w="3175" cap="flat">
              <a:solidFill>
                <a:srgbClr val="146BFF">
                  <a:alpha val="10000"/>
                </a:srgbClr>
              </a:solidFill>
              <a:prstDash val="solid"/>
              <a:round/>
            </a:ln>
            <a:effectLst/>
          </p:spPr>
          <p:txBody>
            <a:bodyPr wrap="square" lIns="0" tIns="0" rIns="0" bIns="0" numCol="1" anchor="b">
              <a:noAutofit/>
            </a:bodyPr>
            <a:lstStyle/>
            <a:p>
              <a:pPr algn="ctr">
                <a:defRPr sz="1400">
                  <a:solidFill>
                    <a:srgbClr val="FFFFFF"/>
                  </a:solidFill>
                </a:defRPr>
              </a:pPr>
              <a:endParaRPr/>
            </a:p>
          </p:txBody>
        </p:sp>
        <p:sp>
          <p:nvSpPr>
            <p:cNvPr id="665" name="Shape 665"/>
            <p:cNvSpPr/>
            <p:nvPr/>
          </p:nvSpPr>
          <p:spPr>
            <a:xfrm>
              <a:off x="0" y="798068"/>
              <a:ext cx="1952625" cy="3413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0" tIns="72000" rIns="72000" bIns="72000" numCol="1" anchor="b">
              <a:spAutoFit/>
            </a:bodyPr>
            <a:lstStyle>
              <a:lvl1pPr algn="ctr">
                <a:defRPr sz="1400">
                  <a:solidFill>
                    <a:srgbClr val="FFFFFF"/>
                  </a:solidFill>
                </a:defRPr>
              </a:lvl1pPr>
            </a:lstStyle>
            <a:p>
              <a:r>
                <a:t>Section 6</a:t>
              </a:r>
            </a:p>
          </p:txBody>
        </p:sp>
      </p:grpSp>
      <p:sp>
        <p:nvSpPr>
          <p:cNvPr id="667" name="Shape 667"/>
          <p:cNvSpPr/>
          <p:nvPr/>
        </p:nvSpPr>
        <p:spPr>
          <a:xfrm>
            <a:off x="11070164" y="1425265"/>
            <a:ext cx="283731" cy="268102"/>
          </a:xfrm>
          <a:custGeom>
            <a:avLst/>
            <a:gdLst/>
            <a:ahLst/>
            <a:cxnLst>
              <a:cxn ang="0">
                <a:pos x="wd2" y="hd2"/>
              </a:cxn>
              <a:cxn ang="5400000">
                <a:pos x="wd2" y="hd2"/>
              </a:cxn>
              <a:cxn ang="10800000">
                <a:pos x="wd2" y="hd2"/>
              </a:cxn>
              <a:cxn ang="16200000">
                <a:pos x="wd2" y="hd2"/>
              </a:cxn>
            </a:cxnLst>
            <a:rect l="0" t="0" r="r" b="b"/>
            <a:pathLst>
              <a:path w="20937" h="21532" extrusionOk="0">
                <a:moveTo>
                  <a:pt x="18594" y="21532"/>
                </a:moveTo>
                <a:cubicBezTo>
                  <a:pt x="18348" y="21532"/>
                  <a:pt x="18103" y="21532"/>
                  <a:pt x="17857" y="21262"/>
                </a:cubicBezTo>
                <a:cubicBezTo>
                  <a:pt x="14912" y="18022"/>
                  <a:pt x="14912" y="18022"/>
                  <a:pt x="14912" y="18022"/>
                </a:cubicBezTo>
                <a:cubicBezTo>
                  <a:pt x="14666" y="17482"/>
                  <a:pt x="14666" y="16942"/>
                  <a:pt x="14912" y="16402"/>
                </a:cubicBezTo>
                <a:cubicBezTo>
                  <a:pt x="15403" y="16132"/>
                  <a:pt x="15894" y="16132"/>
                  <a:pt x="16384" y="16402"/>
                </a:cubicBezTo>
                <a:cubicBezTo>
                  <a:pt x="19330" y="19642"/>
                  <a:pt x="19330" y="19642"/>
                  <a:pt x="19330" y="19642"/>
                </a:cubicBezTo>
                <a:cubicBezTo>
                  <a:pt x="19575" y="20182"/>
                  <a:pt x="19575" y="20722"/>
                  <a:pt x="19330" y="21262"/>
                </a:cubicBezTo>
                <a:cubicBezTo>
                  <a:pt x="19084" y="21532"/>
                  <a:pt x="18839" y="21532"/>
                  <a:pt x="18594" y="21532"/>
                </a:cubicBezTo>
                <a:close/>
                <a:moveTo>
                  <a:pt x="2884" y="21532"/>
                </a:moveTo>
                <a:cubicBezTo>
                  <a:pt x="2639" y="21532"/>
                  <a:pt x="2394" y="21532"/>
                  <a:pt x="2148" y="21262"/>
                </a:cubicBezTo>
                <a:cubicBezTo>
                  <a:pt x="1903" y="20722"/>
                  <a:pt x="1903" y="20182"/>
                  <a:pt x="2148" y="19642"/>
                </a:cubicBezTo>
                <a:cubicBezTo>
                  <a:pt x="9266" y="11812"/>
                  <a:pt x="9266" y="11812"/>
                  <a:pt x="9266" y="11812"/>
                </a:cubicBezTo>
                <a:cubicBezTo>
                  <a:pt x="7794" y="10192"/>
                  <a:pt x="7794" y="10192"/>
                  <a:pt x="7794" y="10192"/>
                </a:cubicBezTo>
                <a:cubicBezTo>
                  <a:pt x="6566" y="11542"/>
                  <a:pt x="6566" y="11542"/>
                  <a:pt x="6566" y="11542"/>
                </a:cubicBezTo>
                <a:cubicBezTo>
                  <a:pt x="6075" y="11812"/>
                  <a:pt x="5584" y="11812"/>
                  <a:pt x="5094" y="11542"/>
                </a:cubicBezTo>
                <a:cubicBezTo>
                  <a:pt x="184" y="6142"/>
                  <a:pt x="184" y="6142"/>
                  <a:pt x="184" y="6142"/>
                </a:cubicBezTo>
                <a:cubicBezTo>
                  <a:pt x="-61" y="5602"/>
                  <a:pt x="-61" y="5062"/>
                  <a:pt x="184" y="4522"/>
                </a:cubicBezTo>
                <a:cubicBezTo>
                  <a:pt x="675" y="4252"/>
                  <a:pt x="1166" y="4252"/>
                  <a:pt x="1657" y="4522"/>
                </a:cubicBezTo>
                <a:cubicBezTo>
                  <a:pt x="5830" y="9112"/>
                  <a:pt x="5830" y="9112"/>
                  <a:pt x="5830" y="9112"/>
                </a:cubicBezTo>
                <a:cubicBezTo>
                  <a:pt x="6321" y="8572"/>
                  <a:pt x="6321" y="8572"/>
                  <a:pt x="6321" y="8572"/>
                </a:cubicBezTo>
                <a:cubicBezTo>
                  <a:pt x="2148" y="3982"/>
                  <a:pt x="2148" y="3982"/>
                  <a:pt x="2148" y="3982"/>
                </a:cubicBezTo>
                <a:cubicBezTo>
                  <a:pt x="1903" y="3442"/>
                  <a:pt x="1903" y="2902"/>
                  <a:pt x="2148" y="2362"/>
                </a:cubicBezTo>
                <a:cubicBezTo>
                  <a:pt x="2639" y="2092"/>
                  <a:pt x="3130" y="2092"/>
                  <a:pt x="3621" y="2362"/>
                </a:cubicBezTo>
                <a:cubicBezTo>
                  <a:pt x="7794" y="6952"/>
                  <a:pt x="7794" y="6952"/>
                  <a:pt x="7794" y="6952"/>
                </a:cubicBezTo>
                <a:cubicBezTo>
                  <a:pt x="8284" y="6412"/>
                  <a:pt x="8284" y="6412"/>
                  <a:pt x="8284" y="6412"/>
                </a:cubicBezTo>
                <a:cubicBezTo>
                  <a:pt x="4112" y="1822"/>
                  <a:pt x="4112" y="1822"/>
                  <a:pt x="4112" y="1822"/>
                </a:cubicBezTo>
                <a:cubicBezTo>
                  <a:pt x="3866" y="1282"/>
                  <a:pt x="3866" y="742"/>
                  <a:pt x="4112" y="202"/>
                </a:cubicBezTo>
                <a:cubicBezTo>
                  <a:pt x="4603" y="-68"/>
                  <a:pt x="5094" y="-68"/>
                  <a:pt x="5584" y="202"/>
                </a:cubicBezTo>
                <a:cubicBezTo>
                  <a:pt x="10494" y="5602"/>
                  <a:pt x="10494" y="5602"/>
                  <a:pt x="10494" y="5602"/>
                </a:cubicBezTo>
                <a:cubicBezTo>
                  <a:pt x="10739" y="6142"/>
                  <a:pt x="10739" y="6682"/>
                  <a:pt x="10494" y="7222"/>
                </a:cubicBezTo>
                <a:cubicBezTo>
                  <a:pt x="9266" y="8572"/>
                  <a:pt x="9266" y="8572"/>
                  <a:pt x="9266" y="8572"/>
                </a:cubicBezTo>
                <a:cubicBezTo>
                  <a:pt x="10739" y="10192"/>
                  <a:pt x="10739" y="10192"/>
                  <a:pt x="10739" y="10192"/>
                </a:cubicBezTo>
                <a:cubicBezTo>
                  <a:pt x="18839" y="1282"/>
                  <a:pt x="18839" y="1282"/>
                  <a:pt x="18839" y="1282"/>
                </a:cubicBezTo>
                <a:cubicBezTo>
                  <a:pt x="19084" y="1012"/>
                  <a:pt x="19575" y="1012"/>
                  <a:pt x="19821" y="1012"/>
                </a:cubicBezTo>
                <a:cubicBezTo>
                  <a:pt x="20066" y="1012"/>
                  <a:pt x="20312" y="1552"/>
                  <a:pt x="20557" y="1822"/>
                </a:cubicBezTo>
                <a:cubicBezTo>
                  <a:pt x="21539" y="5332"/>
                  <a:pt x="20557" y="9112"/>
                  <a:pt x="18348" y="11542"/>
                </a:cubicBezTo>
                <a:cubicBezTo>
                  <a:pt x="14666" y="15592"/>
                  <a:pt x="11966" y="16132"/>
                  <a:pt x="11966" y="16132"/>
                </a:cubicBezTo>
                <a:cubicBezTo>
                  <a:pt x="11475" y="16132"/>
                  <a:pt x="10984" y="15862"/>
                  <a:pt x="10739" y="15322"/>
                </a:cubicBezTo>
                <a:cubicBezTo>
                  <a:pt x="10739" y="14782"/>
                  <a:pt x="10984" y="14242"/>
                  <a:pt x="11475" y="13972"/>
                </a:cubicBezTo>
                <a:cubicBezTo>
                  <a:pt x="11475" y="13972"/>
                  <a:pt x="13684" y="13432"/>
                  <a:pt x="16875" y="9922"/>
                </a:cubicBezTo>
                <a:cubicBezTo>
                  <a:pt x="18348" y="8572"/>
                  <a:pt x="19084" y="6412"/>
                  <a:pt x="18839" y="4252"/>
                </a:cubicBezTo>
                <a:cubicBezTo>
                  <a:pt x="3621" y="21262"/>
                  <a:pt x="3621" y="21262"/>
                  <a:pt x="3621" y="21262"/>
                </a:cubicBezTo>
                <a:cubicBezTo>
                  <a:pt x="3375" y="21532"/>
                  <a:pt x="3130" y="21532"/>
                  <a:pt x="2884" y="21532"/>
                </a:cubicBezTo>
                <a:close/>
              </a:path>
            </a:pathLst>
          </a:custGeom>
          <a:solidFill>
            <a:srgbClr val="FFFFFF"/>
          </a:solidFill>
          <a:ln w="12700">
            <a:miter lim="400000"/>
          </a:ln>
        </p:spPr>
        <p:txBody>
          <a:bodyPr lIns="0" tIns="0" rIns="0" bIns="0"/>
          <a:lstStyle/>
          <a:p>
            <a:endParaRPr/>
          </a:p>
        </p:txBody>
      </p:sp>
      <p:sp>
        <p:nvSpPr>
          <p:cNvPr id="668" name="Shape 668"/>
          <p:cNvSpPr/>
          <p:nvPr/>
        </p:nvSpPr>
        <p:spPr>
          <a:xfrm>
            <a:off x="11081842" y="4837714"/>
            <a:ext cx="267692" cy="317728"/>
          </a:xfrm>
          <a:custGeom>
            <a:avLst/>
            <a:gdLst/>
            <a:ahLst/>
            <a:cxnLst>
              <a:cxn ang="0">
                <a:pos x="wd2" y="hd2"/>
              </a:cxn>
              <a:cxn ang="5400000">
                <a:pos x="wd2" y="hd2"/>
              </a:cxn>
              <a:cxn ang="10800000">
                <a:pos x="wd2" y="hd2"/>
              </a:cxn>
              <a:cxn ang="16200000">
                <a:pos x="wd2" y="hd2"/>
              </a:cxn>
            </a:cxnLst>
            <a:rect l="0" t="0" r="r" b="b"/>
            <a:pathLst>
              <a:path w="21600" h="21600" extrusionOk="0">
                <a:moveTo>
                  <a:pt x="20520" y="21600"/>
                </a:moveTo>
                <a:cubicBezTo>
                  <a:pt x="10800" y="21600"/>
                  <a:pt x="10800" y="21600"/>
                  <a:pt x="10800" y="21600"/>
                </a:cubicBezTo>
                <a:cubicBezTo>
                  <a:pt x="10260" y="21600"/>
                  <a:pt x="9720" y="21150"/>
                  <a:pt x="9720" y="20700"/>
                </a:cubicBezTo>
                <a:cubicBezTo>
                  <a:pt x="9720" y="17100"/>
                  <a:pt x="9720" y="17100"/>
                  <a:pt x="9720" y="17100"/>
                </a:cubicBezTo>
                <a:cubicBezTo>
                  <a:pt x="9720" y="16650"/>
                  <a:pt x="10260" y="16200"/>
                  <a:pt x="10800" y="16200"/>
                </a:cubicBezTo>
                <a:cubicBezTo>
                  <a:pt x="20520" y="16200"/>
                  <a:pt x="20520" y="16200"/>
                  <a:pt x="20520" y="16200"/>
                </a:cubicBezTo>
                <a:cubicBezTo>
                  <a:pt x="21060" y="16200"/>
                  <a:pt x="21600" y="16650"/>
                  <a:pt x="21600" y="17100"/>
                </a:cubicBezTo>
                <a:cubicBezTo>
                  <a:pt x="21600" y="20700"/>
                  <a:pt x="21600" y="20700"/>
                  <a:pt x="21600" y="20700"/>
                </a:cubicBezTo>
                <a:cubicBezTo>
                  <a:pt x="21600" y="21150"/>
                  <a:pt x="21060" y="21600"/>
                  <a:pt x="20520" y="21600"/>
                </a:cubicBezTo>
                <a:close/>
                <a:moveTo>
                  <a:pt x="11880" y="19800"/>
                </a:moveTo>
                <a:cubicBezTo>
                  <a:pt x="19440" y="19800"/>
                  <a:pt x="19440" y="19800"/>
                  <a:pt x="19440" y="19800"/>
                </a:cubicBezTo>
                <a:cubicBezTo>
                  <a:pt x="19440" y="18000"/>
                  <a:pt x="19440" y="18000"/>
                  <a:pt x="19440" y="18000"/>
                </a:cubicBezTo>
                <a:cubicBezTo>
                  <a:pt x="11880" y="18000"/>
                  <a:pt x="11880" y="18000"/>
                  <a:pt x="11880" y="18000"/>
                </a:cubicBezTo>
                <a:lnTo>
                  <a:pt x="11880" y="19800"/>
                </a:lnTo>
                <a:close/>
                <a:moveTo>
                  <a:pt x="20520" y="14400"/>
                </a:moveTo>
                <a:cubicBezTo>
                  <a:pt x="1080" y="14400"/>
                  <a:pt x="1080" y="14400"/>
                  <a:pt x="1080" y="14400"/>
                </a:cubicBezTo>
                <a:cubicBezTo>
                  <a:pt x="540" y="14400"/>
                  <a:pt x="0" y="13950"/>
                  <a:pt x="0" y="13500"/>
                </a:cubicBezTo>
                <a:cubicBezTo>
                  <a:pt x="0" y="900"/>
                  <a:pt x="0" y="900"/>
                  <a:pt x="0" y="900"/>
                </a:cubicBezTo>
                <a:cubicBezTo>
                  <a:pt x="0" y="450"/>
                  <a:pt x="540" y="0"/>
                  <a:pt x="1080" y="0"/>
                </a:cubicBezTo>
                <a:cubicBezTo>
                  <a:pt x="20520" y="0"/>
                  <a:pt x="20520" y="0"/>
                  <a:pt x="20520" y="0"/>
                </a:cubicBezTo>
                <a:cubicBezTo>
                  <a:pt x="21060" y="0"/>
                  <a:pt x="21600" y="450"/>
                  <a:pt x="21600" y="900"/>
                </a:cubicBezTo>
                <a:cubicBezTo>
                  <a:pt x="21600" y="13500"/>
                  <a:pt x="21600" y="13500"/>
                  <a:pt x="21600" y="13500"/>
                </a:cubicBezTo>
                <a:cubicBezTo>
                  <a:pt x="21600" y="13950"/>
                  <a:pt x="21060" y="14400"/>
                  <a:pt x="20520" y="14400"/>
                </a:cubicBezTo>
                <a:close/>
                <a:moveTo>
                  <a:pt x="2160" y="12600"/>
                </a:moveTo>
                <a:cubicBezTo>
                  <a:pt x="19440" y="12600"/>
                  <a:pt x="19440" y="12600"/>
                  <a:pt x="19440" y="12600"/>
                </a:cubicBezTo>
                <a:cubicBezTo>
                  <a:pt x="19440" y="5400"/>
                  <a:pt x="19440" y="5400"/>
                  <a:pt x="19440" y="5400"/>
                </a:cubicBezTo>
                <a:cubicBezTo>
                  <a:pt x="2160" y="5400"/>
                  <a:pt x="2160" y="5400"/>
                  <a:pt x="2160" y="5400"/>
                </a:cubicBezTo>
                <a:lnTo>
                  <a:pt x="2160" y="12600"/>
                </a:lnTo>
                <a:close/>
                <a:moveTo>
                  <a:pt x="2160" y="3600"/>
                </a:moveTo>
                <a:cubicBezTo>
                  <a:pt x="19440" y="3600"/>
                  <a:pt x="19440" y="3600"/>
                  <a:pt x="19440" y="3600"/>
                </a:cubicBezTo>
                <a:cubicBezTo>
                  <a:pt x="19440" y="1800"/>
                  <a:pt x="19440" y="1800"/>
                  <a:pt x="19440" y="1800"/>
                </a:cubicBezTo>
                <a:cubicBezTo>
                  <a:pt x="2160" y="1800"/>
                  <a:pt x="2160" y="1800"/>
                  <a:pt x="2160" y="1800"/>
                </a:cubicBezTo>
                <a:lnTo>
                  <a:pt x="2160" y="3600"/>
                </a:lnTo>
                <a:close/>
              </a:path>
            </a:pathLst>
          </a:custGeom>
          <a:solidFill>
            <a:srgbClr val="FFFFFF"/>
          </a:solidFill>
          <a:ln w="12700">
            <a:miter lim="400000"/>
          </a:ln>
        </p:spPr>
        <p:txBody>
          <a:bodyPr lIns="0" tIns="0" rIns="0" bIns="0"/>
          <a:lstStyle/>
          <a:p>
            <a:endParaRPr/>
          </a:p>
        </p:txBody>
      </p:sp>
      <p:grpSp>
        <p:nvGrpSpPr>
          <p:cNvPr id="671" name="Group 671"/>
          <p:cNvGrpSpPr/>
          <p:nvPr/>
        </p:nvGrpSpPr>
        <p:grpSpPr>
          <a:xfrm>
            <a:off x="11082056" y="2554763"/>
            <a:ext cx="267262" cy="317544"/>
            <a:chOff x="0" y="0"/>
            <a:chExt cx="267261" cy="317543"/>
          </a:xfrm>
        </p:grpSpPr>
        <p:sp>
          <p:nvSpPr>
            <p:cNvPr id="669" name="Shape 669"/>
            <p:cNvSpPr/>
            <p:nvPr/>
          </p:nvSpPr>
          <p:spPr>
            <a:xfrm>
              <a:off x="0" y="0"/>
              <a:ext cx="267262" cy="277699"/>
            </a:xfrm>
            <a:custGeom>
              <a:avLst/>
              <a:gdLst/>
              <a:ahLst/>
              <a:cxnLst>
                <a:cxn ang="0">
                  <a:pos x="wd2" y="hd2"/>
                </a:cxn>
                <a:cxn ang="5400000">
                  <a:pos x="wd2" y="hd2"/>
                </a:cxn>
                <a:cxn ang="10800000">
                  <a:pos x="wd2" y="hd2"/>
                </a:cxn>
                <a:cxn ang="16200000">
                  <a:pos x="wd2" y="hd2"/>
                </a:cxn>
              </a:cxnLst>
              <a:rect l="0" t="0" r="r" b="b"/>
              <a:pathLst>
                <a:path w="21465" h="21600" extrusionOk="0">
                  <a:moveTo>
                    <a:pt x="20452" y="21600"/>
                  </a:moveTo>
                  <a:cubicBezTo>
                    <a:pt x="1012" y="21600"/>
                    <a:pt x="1012" y="21600"/>
                    <a:pt x="1012" y="21600"/>
                  </a:cubicBezTo>
                  <a:cubicBezTo>
                    <a:pt x="742" y="21600"/>
                    <a:pt x="202" y="21343"/>
                    <a:pt x="202" y="21086"/>
                  </a:cubicBezTo>
                  <a:cubicBezTo>
                    <a:pt x="-68" y="20829"/>
                    <a:pt x="-68" y="20314"/>
                    <a:pt x="202" y="20057"/>
                  </a:cubicBezTo>
                  <a:cubicBezTo>
                    <a:pt x="1282" y="18000"/>
                    <a:pt x="2092" y="15686"/>
                    <a:pt x="2092" y="13371"/>
                  </a:cubicBezTo>
                  <a:cubicBezTo>
                    <a:pt x="2092" y="8229"/>
                    <a:pt x="2092" y="8229"/>
                    <a:pt x="2092" y="8229"/>
                  </a:cubicBezTo>
                  <a:cubicBezTo>
                    <a:pt x="2092" y="3600"/>
                    <a:pt x="5872" y="0"/>
                    <a:pt x="10732" y="0"/>
                  </a:cubicBezTo>
                  <a:cubicBezTo>
                    <a:pt x="15592" y="0"/>
                    <a:pt x="19372" y="3600"/>
                    <a:pt x="19372" y="8229"/>
                  </a:cubicBezTo>
                  <a:cubicBezTo>
                    <a:pt x="19372" y="13371"/>
                    <a:pt x="19372" y="13371"/>
                    <a:pt x="19372" y="13371"/>
                  </a:cubicBezTo>
                  <a:cubicBezTo>
                    <a:pt x="19372" y="15686"/>
                    <a:pt x="20182" y="18000"/>
                    <a:pt x="21262" y="20057"/>
                  </a:cubicBezTo>
                  <a:cubicBezTo>
                    <a:pt x="21532" y="20314"/>
                    <a:pt x="21532" y="20829"/>
                    <a:pt x="21262" y="21086"/>
                  </a:cubicBezTo>
                  <a:cubicBezTo>
                    <a:pt x="21262" y="21343"/>
                    <a:pt x="20722" y="21600"/>
                    <a:pt x="20452" y="21600"/>
                  </a:cubicBezTo>
                  <a:close/>
                  <a:moveTo>
                    <a:pt x="2902" y="19543"/>
                  </a:moveTo>
                  <a:cubicBezTo>
                    <a:pt x="18562" y="19543"/>
                    <a:pt x="18562" y="19543"/>
                    <a:pt x="18562" y="19543"/>
                  </a:cubicBezTo>
                  <a:cubicBezTo>
                    <a:pt x="17752" y="17486"/>
                    <a:pt x="17212" y="15429"/>
                    <a:pt x="17212" y="13371"/>
                  </a:cubicBezTo>
                  <a:cubicBezTo>
                    <a:pt x="17212" y="8229"/>
                    <a:pt x="17212" y="8229"/>
                    <a:pt x="17212" y="8229"/>
                  </a:cubicBezTo>
                  <a:cubicBezTo>
                    <a:pt x="17212" y="4886"/>
                    <a:pt x="14242" y="2057"/>
                    <a:pt x="10732" y="2057"/>
                  </a:cubicBezTo>
                  <a:cubicBezTo>
                    <a:pt x="7222" y="2057"/>
                    <a:pt x="4252" y="4886"/>
                    <a:pt x="4252" y="8229"/>
                  </a:cubicBezTo>
                  <a:cubicBezTo>
                    <a:pt x="4252" y="13371"/>
                    <a:pt x="4252" y="13371"/>
                    <a:pt x="4252" y="13371"/>
                  </a:cubicBezTo>
                  <a:cubicBezTo>
                    <a:pt x="4252" y="15429"/>
                    <a:pt x="3712" y="17486"/>
                    <a:pt x="2902" y="19543"/>
                  </a:cubicBezTo>
                  <a:close/>
                </a:path>
              </a:pathLst>
            </a:custGeom>
            <a:solidFill>
              <a:srgbClr val="FFFFFF"/>
            </a:solidFill>
            <a:ln w="12700" cap="flat">
              <a:noFill/>
              <a:miter lim="400000"/>
            </a:ln>
            <a:effectLst/>
          </p:spPr>
          <p:txBody>
            <a:bodyPr wrap="square" lIns="0" tIns="0" rIns="0" bIns="0" numCol="1" anchor="t">
              <a:noAutofit/>
            </a:bodyPr>
            <a:lstStyle/>
            <a:p>
              <a:endParaRPr/>
            </a:p>
          </p:txBody>
        </p:sp>
        <p:sp>
          <p:nvSpPr>
            <p:cNvPr id="670" name="Shape 670"/>
            <p:cNvSpPr/>
            <p:nvPr/>
          </p:nvSpPr>
          <p:spPr>
            <a:xfrm>
              <a:off x="96729" y="291458"/>
              <a:ext cx="73803" cy="26086"/>
            </a:xfrm>
            <a:custGeom>
              <a:avLst/>
              <a:gdLst/>
              <a:ahLst/>
              <a:cxnLst>
                <a:cxn ang="0">
                  <a:pos x="wd2" y="hd2"/>
                </a:cxn>
                <a:cxn ang="5400000">
                  <a:pos x="wd2" y="hd2"/>
                </a:cxn>
                <a:cxn ang="10800000">
                  <a:pos x="wd2" y="hd2"/>
                </a:cxn>
                <a:cxn ang="16200000">
                  <a:pos x="wd2" y="hd2"/>
                </a:cxn>
              </a:cxnLst>
              <a:rect l="0" t="0" r="r" b="b"/>
              <a:pathLst>
                <a:path w="21600" h="17324" extrusionOk="0">
                  <a:moveTo>
                    <a:pt x="0" y="0"/>
                  </a:moveTo>
                  <a:cubicBezTo>
                    <a:pt x="1964" y="12960"/>
                    <a:pt x="8836" y="21600"/>
                    <a:pt x="14727" y="15120"/>
                  </a:cubicBezTo>
                  <a:cubicBezTo>
                    <a:pt x="17673" y="12960"/>
                    <a:pt x="20618" y="6480"/>
                    <a:pt x="21600" y="0"/>
                  </a:cubicBezTo>
                  <a:lnTo>
                    <a:pt x="0" y="0"/>
                  </a:lnTo>
                  <a:close/>
                </a:path>
              </a:pathLst>
            </a:custGeom>
            <a:solidFill>
              <a:srgbClr val="FFFFFF"/>
            </a:solidFill>
            <a:ln w="12700" cap="flat">
              <a:noFill/>
              <a:miter lim="400000"/>
            </a:ln>
            <a:effectLst/>
          </p:spPr>
          <p:txBody>
            <a:bodyPr wrap="square" lIns="0" tIns="0" rIns="0" bIns="0" numCol="1" anchor="t">
              <a:noAutofit/>
            </a:bodyPr>
            <a:lstStyle/>
            <a:p>
              <a:endParaRPr/>
            </a:p>
          </p:txBody>
        </p:sp>
      </p:grpSp>
      <p:grpSp>
        <p:nvGrpSpPr>
          <p:cNvPr id="674" name="Group 674"/>
          <p:cNvGrpSpPr/>
          <p:nvPr/>
        </p:nvGrpSpPr>
        <p:grpSpPr>
          <a:xfrm>
            <a:off x="11081840" y="5970546"/>
            <a:ext cx="267693" cy="317728"/>
            <a:chOff x="0" y="0"/>
            <a:chExt cx="267691" cy="317726"/>
          </a:xfrm>
        </p:grpSpPr>
        <p:sp>
          <p:nvSpPr>
            <p:cNvPr id="672" name="Shape 672"/>
            <p:cNvSpPr/>
            <p:nvPr/>
          </p:nvSpPr>
          <p:spPr>
            <a:xfrm>
              <a:off x="-1" y="0"/>
              <a:ext cx="267693" cy="317727"/>
            </a:xfrm>
            <a:custGeom>
              <a:avLst/>
              <a:gdLst/>
              <a:ahLst/>
              <a:cxnLst>
                <a:cxn ang="0">
                  <a:pos x="wd2" y="hd2"/>
                </a:cxn>
                <a:cxn ang="5400000">
                  <a:pos x="wd2" y="hd2"/>
                </a:cxn>
                <a:cxn ang="10800000">
                  <a:pos x="wd2" y="hd2"/>
                </a:cxn>
                <a:cxn ang="16200000">
                  <a:pos x="wd2" y="hd2"/>
                </a:cxn>
              </a:cxnLst>
              <a:rect l="0" t="0" r="r" b="b"/>
              <a:pathLst>
                <a:path w="21600" h="21600" extrusionOk="0">
                  <a:moveTo>
                    <a:pt x="20520" y="21600"/>
                  </a:moveTo>
                  <a:cubicBezTo>
                    <a:pt x="1080" y="21600"/>
                    <a:pt x="1080" y="21600"/>
                    <a:pt x="1080" y="21600"/>
                  </a:cubicBezTo>
                  <a:cubicBezTo>
                    <a:pt x="540" y="21600"/>
                    <a:pt x="0" y="21150"/>
                    <a:pt x="0" y="20700"/>
                  </a:cubicBezTo>
                  <a:cubicBezTo>
                    <a:pt x="0" y="900"/>
                    <a:pt x="0" y="900"/>
                    <a:pt x="0" y="900"/>
                  </a:cubicBezTo>
                  <a:cubicBezTo>
                    <a:pt x="0" y="450"/>
                    <a:pt x="540" y="0"/>
                    <a:pt x="1080" y="0"/>
                  </a:cubicBezTo>
                  <a:cubicBezTo>
                    <a:pt x="20520" y="0"/>
                    <a:pt x="20520" y="0"/>
                    <a:pt x="20520" y="0"/>
                  </a:cubicBezTo>
                  <a:cubicBezTo>
                    <a:pt x="21060" y="0"/>
                    <a:pt x="21600" y="450"/>
                    <a:pt x="21600" y="900"/>
                  </a:cubicBezTo>
                  <a:cubicBezTo>
                    <a:pt x="21600" y="20700"/>
                    <a:pt x="21600" y="20700"/>
                    <a:pt x="21600" y="20700"/>
                  </a:cubicBezTo>
                  <a:cubicBezTo>
                    <a:pt x="21600" y="21150"/>
                    <a:pt x="21060" y="21600"/>
                    <a:pt x="20520" y="21600"/>
                  </a:cubicBezTo>
                  <a:close/>
                  <a:moveTo>
                    <a:pt x="2160" y="19800"/>
                  </a:moveTo>
                  <a:cubicBezTo>
                    <a:pt x="19440" y="19800"/>
                    <a:pt x="19440" y="19800"/>
                    <a:pt x="19440" y="19800"/>
                  </a:cubicBezTo>
                  <a:cubicBezTo>
                    <a:pt x="19440" y="1800"/>
                    <a:pt x="19440" y="1800"/>
                    <a:pt x="19440" y="1800"/>
                  </a:cubicBezTo>
                  <a:cubicBezTo>
                    <a:pt x="2160" y="1800"/>
                    <a:pt x="2160" y="1800"/>
                    <a:pt x="2160" y="1800"/>
                  </a:cubicBezTo>
                  <a:lnTo>
                    <a:pt x="2160" y="19800"/>
                  </a:lnTo>
                  <a:close/>
                  <a:moveTo>
                    <a:pt x="10800" y="18000"/>
                  </a:moveTo>
                  <a:cubicBezTo>
                    <a:pt x="10260" y="18000"/>
                    <a:pt x="9720" y="17550"/>
                    <a:pt x="9720" y="17100"/>
                  </a:cubicBezTo>
                  <a:cubicBezTo>
                    <a:pt x="9720" y="4500"/>
                    <a:pt x="9720" y="4500"/>
                    <a:pt x="9720" y="4500"/>
                  </a:cubicBezTo>
                  <a:cubicBezTo>
                    <a:pt x="9720" y="4050"/>
                    <a:pt x="10260" y="3600"/>
                    <a:pt x="10800" y="3600"/>
                  </a:cubicBezTo>
                  <a:cubicBezTo>
                    <a:pt x="11340" y="3600"/>
                    <a:pt x="11880" y="4050"/>
                    <a:pt x="11880" y="4500"/>
                  </a:cubicBezTo>
                  <a:cubicBezTo>
                    <a:pt x="11880" y="17100"/>
                    <a:pt x="11880" y="17100"/>
                    <a:pt x="11880" y="17100"/>
                  </a:cubicBezTo>
                  <a:cubicBezTo>
                    <a:pt x="11880" y="17550"/>
                    <a:pt x="11340" y="18000"/>
                    <a:pt x="10800" y="18000"/>
                  </a:cubicBezTo>
                  <a:close/>
                </a:path>
              </a:pathLst>
            </a:custGeom>
            <a:solidFill>
              <a:srgbClr val="FFFFFF"/>
            </a:solidFill>
            <a:ln w="12700" cap="flat">
              <a:noFill/>
              <a:miter lim="400000"/>
            </a:ln>
            <a:effectLst/>
          </p:spPr>
          <p:txBody>
            <a:bodyPr wrap="square" lIns="0" tIns="0" rIns="0" bIns="0" numCol="1" anchor="t">
              <a:noAutofit/>
            </a:bodyPr>
            <a:lstStyle/>
            <a:p>
              <a:endParaRPr/>
            </a:p>
          </p:txBody>
        </p:sp>
        <p:sp>
          <p:nvSpPr>
            <p:cNvPr id="673" name="Shape 673"/>
            <p:cNvSpPr/>
            <p:nvPr/>
          </p:nvSpPr>
          <p:spPr>
            <a:xfrm>
              <a:off x="69568" y="72140"/>
              <a:ext cx="122374" cy="166781"/>
            </a:xfrm>
            <a:custGeom>
              <a:avLst/>
              <a:gdLst/>
              <a:ahLst/>
              <a:cxnLst>
                <a:cxn ang="0">
                  <a:pos x="wd2" y="hd2"/>
                </a:cxn>
                <a:cxn ang="5400000">
                  <a:pos x="wd2" y="hd2"/>
                </a:cxn>
                <a:cxn ang="10800000">
                  <a:pos x="wd2" y="hd2"/>
                </a:cxn>
                <a:cxn ang="16200000">
                  <a:pos x="wd2" y="hd2"/>
                </a:cxn>
              </a:cxnLst>
              <a:rect l="0" t="0" r="r" b="b"/>
              <a:pathLst>
                <a:path w="20922" h="20869" extrusionOk="0">
                  <a:moveTo>
                    <a:pt x="10455" y="20869"/>
                  </a:moveTo>
                  <a:cubicBezTo>
                    <a:pt x="7613" y="20869"/>
                    <a:pt x="4202" y="20038"/>
                    <a:pt x="1360" y="19623"/>
                  </a:cubicBezTo>
                  <a:cubicBezTo>
                    <a:pt x="223" y="19207"/>
                    <a:pt x="-345" y="17961"/>
                    <a:pt x="223" y="17131"/>
                  </a:cubicBezTo>
                  <a:cubicBezTo>
                    <a:pt x="223" y="16300"/>
                    <a:pt x="1929" y="15884"/>
                    <a:pt x="3066" y="16300"/>
                  </a:cubicBezTo>
                  <a:cubicBezTo>
                    <a:pt x="7613" y="17546"/>
                    <a:pt x="12729" y="17961"/>
                    <a:pt x="15002" y="16715"/>
                  </a:cubicBezTo>
                  <a:cubicBezTo>
                    <a:pt x="15571" y="16300"/>
                    <a:pt x="16139" y="15884"/>
                    <a:pt x="16139" y="14638"/>
                  </a:cubicBezTo>
                  <a:cubicBezTo>
                    <a:pt x="16139" y="13392"/>
                    <a:pt x="14434" y="12977"/>
                    <a:pt x="10455" y="12146"/>
                  </a:cubicBezTo>
                  <a:cubicBezTo>
                    <a:pt x="6476" y="10900"/>
                    <a:pt x="1360" y="9654"/>
                    <a:pt x="1360" y="5500"/>
                  </a:cubicBezTo>
                  <a:cubicBezTo>
                    <a:pt x="1360" y="3423"/>
                    <a:pt x="2497" y="1761"/>
                    <a:pt x="4771" y="931"/>
                  </a:cubicBezTo>
                  <a:cubicBezTo>
                    <a:pt x="9318" y="-731"/>
                    <a:pt x="16708" y="100"/>
                    <a:pt x="20118" y="1346"/>
                  </a:cubicBezTo>
                  <a:cubicBezTo>
                    <a:pt x="20687" y="1761"/>
                    <a:pt x="21255" y="3007"/>
                    <a:pt x="20687" y="3838"/>
                  </a:cubicBezTo>
                  <a:cubicBezTo>
                    <a:pt x="20118" y="4669"/>
                    <a:pt x="18981" y="4669"/>
                    <a:pt x="17844" y="4254"/>
                  </a:cubicBezTo>
                  <a:cubicBezTo>
                    <a:pt x="15571" y="3423"/>
                    <a:pt x="9887" y="2592"/>
                    <a:pt x="7044" y="3838"/>
                  </a:cubicBezTo>
                  <a:cubicBezTo>
                    <a:pt x="5908" y="4254"/>
                    <a:pt x="5908" y="4669"/>
                    <a:pt x="5908" y="5500"/>
                  </a:cubicBezTo>
                  <a:cubicBezTo>
                    <a:pt x="5908" y="7161"/>
                    <a:pt x="7613" y="7992"/>
                    <a:pt x="12160" y="8823"/>
                  </a:cubicBezTo>
                  <a:cubicBezTo>
                    <a:pt x="15571" y="9654"/>
                    <a:pt x="20687" y="10900"/>
                    <a:pt x="20687" y="14638"/>
                  </a:cubicBezTo>
                  <a:cubicBezTo>
                    <a:pt x="20687" y="17131"/>
                    <a:pt x="18981" y="18792"/>
                    <a:pt x="17276" y="19623"/>
                  </a:cubicBezTo>
                  <a:cubicBezTo>
                    <a:pt x="15571" y="20454"/>
                    <a:pt x="13297" y="20869"/>
                    <a:pt x="10455" y="20869"/>
                  </a:cubicBezTo>
                  <a:close/>
                </a:path>
              </a:pathLst>
            </a:custGeom>
            <a:solidFill>
              <a:srgbClr val="FFFFFF"/>
            </a:solidFill>
            <a:ln w="12700" cap="flat">
              <a:noFill/>
              <a:miter lim="400000"/>
            </a:ln>
            <a:effectLst/>
          </p:spPr>
          <p:txBody>
            <a:bodyPr wrap="square" lIns="0" tIns="0" rIns="0" bIns="0" numCol="1" anchor="t">
              <a:noAutofit/>
            </a:bodyPr>
            <a:lstStyle/>
            <a:p>
              <a:endParaRPr/>
            </a:p>
          </p:txBody>
        </p:sp>
      </p:grpSp>
      <p:grpSp>
        <p:nvGrpSpPr>
          <p:cNvPr id="677" name="Group 677"/>
          <p:cNvGrpSpPr/>
          <p:nvPr/>
        </p:nvGrpSpPr>
        <p:grpSpPr>
          <a:xfrm>
            <a:off x="11055573" y="291564"/>
            <a:ext cx="320230" cy="292711"/>
            <a:chOff x="0" y="0"/>
            <a:chExt cx="320229" cy="292709"/>
          </a:xfrm>
        </p:grpSpPr>
        <p:sp>
          <p:nvSpPr>
            <p:cNvPr id="675" name="Shape 675"/>
            <p:cNvSpPr/>
            <p:nvPr/>
          </p:nvSpPr>
          <p:spPr>
            <a:xfrm>
              <a:off x="-1" y="-1"/>
              <a:ext cx="320231" cy="292710"/>
            </a:xfrm>
            <a:custGeom>
              <a:avLst/>
              <a:gdLst/>
              <a:ahLst/>
              <a:cxnLst>
                <a:cxn ang="0">
                  <a:pos x="wd2" y="hd2"/>
                </a:cxn>
                <a:cxn ang="5400000">
                  <a:pos x="wd2" y="hd2"/>
                </a:cxn>
                <a:cxn ang="10800000">
                  <a:pos x="wd2" y="hd2"/>
                </a:cxn>
                <a:cxn ang="16200000">
                  <a:pos x="wd2" y="hd2"/>
                </a:cxn>
              </a:cxnLst>
              <a:rect l="0" t="0" r="r" b="b"/>
              <a:pathLst>
                <a:path w="21600" h="21600" extrusionOk="0">
                  <a:moveTo>
                    <a:pt x="18900" y="21600"/>
                  </a:moveTo>
                  <a:cubicBezTo>
                    <a:pt x="14400" y="21600"/>
                    <a:pt x="14400" y="21600"/>
                    <a:pt x="14400" y="21600"/>
                  </a:cubicBezTo>
                  <a:cubicBezTo>
                    <a:pt x="13950" y="21600"/>
                    <a:pt x="13500" y="21109"/>
                    <a:pt x="13500" y="20618"/>
                  </a:cubicBezTo>
                  <a:cubicBezTo>
                    <a:pt x="13500" y="20127"/>
                    <a:pt x="13950" y="19636"/>
                    <a:pt x="14400" y="19636"/>
                  </a:cubicBezTo>
                  <a:cubicBezTo>
                    <a:pt x="18900" y="19636"/>
                    <a:pt x="18900" y="19636"/>
                    <a:pt x="18900" y="19636"/>
                  </a:cubicBezTo>
                  <a:cubicBezTo>
                    <a:pt x="19350" y="19636"/>
                    <a:pt x="19800" y="19145"/>
                    <a:pt x="19800" y="18655"/>
                  </a:cubicBezTo>
                  <a:cubicBezTo>
                    <a:pt x="19800" y="5891"/>
                    <a:pt x="19800" y="5891"/>
                    <a:pt x="19800" y="5891"/>
                  </a:cubicBezTo>
                  <a:cubicBezTo>
                    <a:pt x="10800" y="5891"/>
                    <a:pt x="10800" y="5891"/>
                    <a:pt x="10800" y="5891"/>
                  </a:cubicBezTo>
                  <a:cubicBezTo>
                    <a:pt x="10575" y="5891"/>
                    <a:pt x="10350" y="5645"/>
                    <a:pt x="10125" y="5400"/>
                  </a:cubicBezTo>
                  <a:cubicBezTo>
                    <a:pt x="7650" y="1964"/>
                    <a:pt x="7650" y="1964"/>
                    <a:pt x="7650" y="1964"/>
                  </a:cubicBezTo>
                  <a:cubicBezTo>
                    <a:pt x="1800" y="1964"/>
                    <a:pt x="1800" y="1964"/>
                    <a:pt x="1800" y="1964"/>
                  </a:cubicBezTo>
                  <a:cubicBezTo>
                    <a:pt x="1800" y="18655"/>
                    <a:pt x="1800" y="18655"/>
                    <a:pt x="1800" y="18655"/>
                  </a:cubicBezTo>
                  <a:cubicBezTo>
                    <a:pt x="1800" y="19145"/>
                    <a:pt x="2250" y="19636"/>
                    <a:pt x="2700" y="19636"/>
                  </a:cubicBezTo>
                  <a:cubicBezTo>
                    <a:pt x="3600" y="19636"/>
                    <a:pt x="3600" y="19636"/>
                    <a:pt x="3600" y="19636"/>
                  </a:cubicBezTo>
                  <a:cubicBezTo>
                    <a:pt x="4050" y="19636"/>
                    <a:pt x="4500" y="20127"/>
                    <a:pt x="4500" y="20618"/>
                  </a:cubicBezTo>
                  <a:cubicBezTo>
                    <a:pt x="4500" y="21109"/>
                    <a:pt x="4050" y="21600"/>
                    <a:pt x="3600" y="21600"/>
                  </a:cubicBezTo>
                  <a:cubicBezTo>
                    <a:pt x="2700" y="21600"/>
                    <a:pt x="2700" y="21600"/>
                    <a:pt x="2700" y="21600"/>
                  </a:cubicBezTo>
                  <a:cubicBezTo>
                    <a:pt x="1125" y="21600"/>
                    <a:pt x="0" y="20373"/>
                    <a:pt x="0" y="18655"/>
                  </a:cubicBezTo>
                  <a:cubicBezTo>
                    <a:pt x="0" y="982"/>
                    <a:pt x="0" y="982"/>
                    <a:pt x="0" y="982"/>
                  </a:cubicBezTo>
                  <a:cubicBezTo>
                    <a:pt x="0" y="491"/>
                    <a:pt x="450" y="0"/>
                    <a:pt x="900" y="0"/>
                  </a:cubicBezTo>
                  <a:cubicBezTo>
                    <a:pt x="8100" y="0"/>
                    <a:pt x="8100" y="0"/>
                    <a:pt x="8100" y="0"/>
                  </a:cubicBezTo>
                  <a:cubicBezTo>
                    <a:pt x="8325" y="0"/>
                    <a:pt x="8550" y="245"/>
                    <a:pt x="8775" y="491"/>
                  </a:cubicBezTo>
                  <a:cubicBezTo>
                    <a:pt x="11250" y="3927"/>
                    <a:pt x="11250" y="3927"/>
                    <a:pt x="11250" y="3927"/>
                  </a:cubicBezTo>
                  <a:cubicBezTo>
                    <a:pt x="20700" y="3927"/>
                    <a:pt x="20700" y="3927"/>
                    <a:pt x="20700" y="3927"/>
                  </a:cubicBezTo>
                  <a:cubicBezTo>
                    <a:pt x="21150" y="3927"/>
                    <a:pt x="21600" y="4418"/>
                    <a:pt x="21600" y="4909"/>
                  </a:cubicBezTo>
                  <a:cubicBezTo>
                    <a:pt x="21600" y="18655"/>
                    <a:pt x="21600" y="18655"/>
                    <a:pt x="21600" y="18655"/>
                  </a:cubicBezTo>
                  <a:cubicBezTo>
                    <a:pt x="21600" y="20373"/>
                    <a:pt x="20475" y="21600"/>
                    <a:pt x="18900" y="21600"/>
                  </a:cubicBezTo>
                  <a:close/>
                </a:path>
              </a:pathLst>
            </a:custGeom>
            <a:solidFill>
              <a:srgbClr val="FFFFFF"/>
            </a:solidFill>
            <a:ln w="12700" cap="flat">
              <a:noFill/>
              <a:miter lim="400000"/>
            </a:ln>
            <a:effectLst/>
          </p:spPr>
          <p:txBody>
            <a:bodyPr wrap="square" lIns="0" tIns="0" rIns="0" bIns="0" numCol="1" anchor="t">
              <a:noAutofit/>
            </a:bodyPr>
            <a:lstStyle/>
            <a:p>
              <a:endParaRPr/>
            </a:p>
          </p:txBody>
        </p:sp>
        <p:sp>
          <p:nvSpPr>
            <p:cNvPr id="676" name="Shape 676"/>
            <p:cNvSpPr/>
            <p:nvPr/>
          </p:nvSpPr>
          <p:spPr>
            <a:xfrm>
              <a:off x="93817" y="107157"/>
              <a:ext cx="185552" cy="185552"/>
            </a:xfrm>
            <a:custGeom>
              <a:avLst/>
              <a:gdLst/>
              <a:ahLst/>
              <a:cxnLst>
                <a:cxn ang="0">
                  <a:pos x="wd2" y="hd2"/>
                </a:cxn>
                <a:cxn ang="5400000">
                  <a:pos x="wd2" y="hd2"/>
                </a:cxn>
                <a:cxn ang="10800000">
                  <a:pos x="wd2" y="hd2"/>
                </a:cxn>
                <a:cxn ang="16200000">
                  <a:pos x="wd2" y="hd2"/>
                </a:cxn>
              </a:cxnLst>
              <a:rect l="0" t="0" r="r" b="b"/>
              <a:pathLst>
                <a:path w="21504" h="21504" extrusionOk="0">
                  <a:moveTo>
                    <a:pt x="1543" y="21504"/>
                  </a:moveTo>
                  <a:cubicBezTo>
                    <a:pt x="1157" y="21504"/>
                    <a:pt x="771" y="21504"/>
                    <a:pt x="386" y="21118"/>
                  </a:cubicBezTo>
                  <a:cubicBezTo>
                    <a:pt x="0" y="20733"/>
                    <a:pt x="0" y="19961"/>
                    <a:pt x="0" y="19575"/>
                  </a:cubicBezTo>
                  <a:cubicBezTo>
                    <a:pt x="1543" y="13404"/>
                    <a:pt x="1543" y="13404"/>
                    <a:pt x="1543" y="13404"/>
                  </a:cubicBezTo>
                  <a:cubicBezTo>
                    <a:pt x="1543" y="13018"/>
                    <a:pt x="1929" y="13018"/>
                    <a:pt x="1929" y="12633"/>
                  </a:cubicBezTo>
                  <a:cubicBezTo>
                    <a:pt x="14271" y="290"/>
                    <a:pt x="14271" y="290"/>
                    <a:pt x="14271" y="290"/>
                  </a:cubicBezTo>
                  <a:cubicBezTo>
                    <a:pt x="15043" y="-96"/>
                    <a:pt x="15814" y="-96"/>
                    <a:pt x="16586" y="290"/>
                  </a:cubicBezTo>
                  <a:cubicBezTo>
                    <a:pt x="21214" y="4918"/>
                    <a:pt x="21214" y="4918"/>
                    <a:pt x="21214" y="4918"/>
                  </a:cubicBezTo>
                  <a:cubicBezTo>
                    <a:pt x="21600" y="5690"/>
                    <a:pt x="21600" y="6461"/>
                    <a:pt x="21214" y="7233"/>
                  </a:cubicBezTo>
                  <a:cubicBezTo>
                    <a:pt x="8871" y="19575"/>
                    <a:pt x="8871" y="19575"/>
                    <a:pt x="8871" y="19575"/>
                  </a:cubicBezTo>
                  <a:cubicBezTo>
                    <a:pt x="8486" y="19575"/>
                    <a:pt x="8486" y="19961"/>
                    <a:pt x="8100" y="19961"/>
                  </a:cubicBezTo>
                  <a:cubicBezTo>
                    <a:pt x="1929" y="21504"/>
                    <a:pt x="1929" y="21504"/>
                    <a:pt x="1929" y="21504"/>
                  </a:cubicBezTo>
                  <a:cubicBezTo>
                    <a:pt x="1929" y="21504"/>
                    <a:pt x="1543" y="21504"/>
                    <a:pt x="1543" y="21504"/>
                  </a:cubicBezTo>
                  <a:close/>
                  <a:moveTo>
                    <a:pt x="7714" y="18418"/>
                  </a:moveTo>
                  <a:cubicBezTo>
                    <a:pt x="7714" y="18418"/>
                    <a:pt x="7714" y="18418"/>
                    <a:pt x="7714" y="18418"/>
                  </a:cubicBezTo>
                  <a:close/>
                  <a:moveTo>
                    <a:pt x="4629" y="14561"/>
                  </a:moveTo>
                  <a:cubicBezTo>
                    <a:pt x="3471" y="18033"/>
                    <a:pt x="3471" y="18033"/>
                    <a:pt x="3471" y="18033"/>
                  </a:cubicBezTo>
                  <a:cubicBezTo>
                    <a:pt x="6943" y="16875"/>
                    <a:pt x="6943" y="16875"/>
                    <a:pt x="6943" y="16875"/>
                  </a:cubicBezTo>
                  <a:cubicBezTo>
                    <a:pt x="17743" y="6075"/>
                    <a:pt x="17743" y="6075"/>
                    <a:pt x="17743" y="6075"/>
                  </a:cubicBezTo>
                  <a:cubicBezTo>
                    <a:pt x="15429" y="3761"/>
                    <a:pt x="15429" y="3761"/>
                    <a:pt x="15429" y="3761"/>
                  </a:cubicBezTo>
                  <a:lnTo>
                    <a:pt x="4629" y="14561"/>
                  </a:lnTo>
                  <a:close/>
                </a:path>
              </a:pathLst>
            </a:custGeom>
            <a:solidFill>
              <a:srgbClr val="FFFFFF"/>
            </a:solidFill>
            <a:ln w="12700" cap="flat">
              <a:noFill/>
              <a:miter lim="400000"/>
            </a:ln>
            <a:effectLst/>
          </p:spPr>
          <p:txBody>
            <a:bodyPr wrap="square" lIns="0" tIns="0" rIns="0" bIns="0" numCol="1" anchor="t">
              <a:noAutofit/>
            </a:bodyPr>
            <a:lstStyle/>
            <a:p>
              <a:endParaRPr/>
            </a:p>
          </p:txBody>
        </p:sp>
      </p:grpSp>
      <p:sp>
        <p:nvSpPr>
          <p:cNvPr id="678" name="Shape 678"/>
          <p:cNvSpPr/>
          <p:nvPr/>
        </p:nvSpPr>
        <p:spPr>
          <a:xfrm>
            <a:off x="11063703" y="3703820"/>
            <a:ext cx="303968" cy="290350"/>
          </a:xfrm>
          <a:custGeom>
            <a:avLst/>
            <a:gdLst/>
            <a:ahLst/>
            <a:cxnLst>
              <a:cxn ang="0">
                <a:pos x="wd2" y="hd2"/>
              </a:cxn>
              <a:cxn ang="5400000">
                <a:pos x="wd2" y="hd2"/>
              </a:cxn>
              <a:cxn ang="10800000">
                <a:pos x="wd2" y="hd2"/>
              </a:cxn>
              <a:cxn ang="16200000">
                <a:pos x="wd2" y="hd2"/>
              </a:cxn>
            </a:cxnLst>
            <a:rect l="0" t="0" r="r" b="b"/>
            <a:pathLst>
              <a:path w="21600" h="21426" extrusionOk="0">
                <a:moveTo>
                  <a:pt x="20700" y="21426"/>
                </a:moveTo>
                <a:cubicBezTo>
                  <a:pt x="900" y="21426"/>
                  <a:pt x="900" y="21426"/>
                  <a:pt x="900" y="21426"/>
                </a:cubicBezTo>
                <a:cubicBezTo>
                  <a:pt x="450" y="21426"/>
                  <a:pt x="0" y="20961"/>
                  <a:pt x="0" y="20497"/>
                </a:cubicBezTo>
                <a:cubicBezTo>
                  <a:pt x="0" y="18174"/>
                  <a:pt x="0" y="18174"/>
                  <a:pt x="0" y="18174"/>
                </a:cubicBezTo>
                <a:cubicBezTo>
                  <a:pt x="0" y="16781"/>
                  <a:pt x="900" y="15852"/>
                  <a:pt x="2025" y="15387"/>
                </a:cubicBezTo>
                <a:cubicBezTo>
                  <a:pt x="3375" y="15155"/>
                  <a:pt x="6300" y="14226"/>
                  <a:pt x="6975" y="14226"/>
                </a:cubicBezTo>
                <a:cubicBezTo>
                  <a:pt x="7650" y="13994"/>
                  <a:pt x="7875" y="13529"/>
                  <a:pt x="7875" y="13529"/>
                </a:cubicBezTo>
                <a:cubicBezTo>
                  <a:pt x="8100" y="12600"/>
                  <a:pt x="7875" y="12136"/>
                  <a:pt x="7650" y="11903"/>
                </a:cubicBezTo>
                <a:cubicBezTo>
                  <a:pt x="6300" y="10974"/>
                  <a:pt x="5400" y="9349"/>
                  <a:pt x="5400" y="7491"/>
                </a:cubicBezTo>
                <a:cubicBezTo>
                  <a:pt x="5400" y="5632"/>
                  <a:pt x="5400" y="5632"/>
                  <a:pt x="5400" y="5632"/>
                </a:cubicBezTo>
                <a:cubicBezTo>
                  <a:pt x="5400" y="4007"/>
                  <a:pt x="6075" y="2613"/>
                  <a:pt x="7200" y="1452"/>
                </a:cubicBezTo>
                <a:cubicBezTo>
                  <a:pt x="8325" y="291"/>
                  <a:pt x="9900" y="-174"/>
                  <a:pt x="11250" y="58"/>
                </a:cubicBezTo>
                <a:cubicBezTo>
                  <a:pt x="14175" y="291"/>
                  <a:pt x="16200" y="2845"/>
                  <a:pt x="16200" y="5865"/>
                </a:cubicBezTo>
                <a:cubicBezTo>
                  <a:pt x="16200" y="7491"/>
                  <a:pt x="16200" y="7491"/>
                  <a:pt x="16200" y="7491"/>
                </a:cubicBezTo>
                <a:cubicBezTo>
                  <a:pt x="16200" y="9349"/>
                  <a:pt x="15525" y="10974"/>
                  <a:pt x="13950" y="11903"/>
                </a:cubicBezTo>
                <a:cubicBezTo>
                  <a:pt x="13725" y="12136"/>
                  <a:pt x="13500" y="12368"/>
                  <a:pt x="13725" y="13297"/>
                </a:cubicBezTo>
                <a:cubicBezTo>
                  <a:pt x="13950" y="13761"/>
                  <a:pt x="14175" y="13994"/>
                  <a:pt x="14625" y="14226"/>
                </a:cubicBezTo>
                <a:cubicBezTo>
                  <a:pt x="14625" y="14226"/>
                  <a:pt x="14850" y="14226"/>
                  <a:pt x="14850" y="14226"/>
                </a:cubicBezTo>
                <a:cubicBezTo>
                  <a:pt x="15075" y="14226"/>
                  <a:pt x="15975" y="14458"/>
                  <a:pt x="16650" y="14691"/>
                </a:cubicBezTo>
                <a:cubicBezTo>
                  <a:pt x="17775" y="14923"/>
                  <a:pt x="18675" y="15387"/>
                  <a:pt x="19575" y="15620"/>
                </a:cubicBezTo>
                <a:cubicBezTo>
                  <a:pt x="20700" y="15852"/>
                  <a:pt x="21600" y="17013"/>
                  <a:pt x="21600" y="18174"/>
                </a:cubicBezTo>
                <a:cubicBezTo>
                  <a:pt x="21600" y="20497"/>
                  <a:pt x="21600" y="20497"/>
                  <a:pt x="21600" y="20497"/>
                </a:cubicBezTo>
                <a:cubicBezTo>
                  <a:pt x="21600" y="20961"/>
                  <a:pt x="21150" y="21426"/>
                  <a:pt x="20700" y="21426"/>
                </a:cubicBezTo>
                <a:close/>
                <a:moveTo>
                  <a:pt x="1800" y="19568"/>
                </a:moveTo>
                <a:cubicBezTo>
                  <a:pt x="19800" y="19568"/>
                  <a:pt x="19800" y="19568"/>
                  <a:pt x="19800" y="19568"/>
                </a:cubicBezTo>
                <a:cubicBezTo>
                  <a:pt x="19800" y="18174"/>
                  <a:pt x="19800" y="18174"/>
                  <a:pt x="19800" y="18174"/>
                </a:cubicBezTo>
                <a:cubicBezTo>
                  <a:pt x="19800" y="17710"/>
                  <a:pt x="19575" y="17478"/>
                  <a:pt x="19125" y="17245"/>
                </a:cubicBezTo>
                <a:cubicBezTo>
                  <a:pt x="19125" y="17245"/>
                  <a:pt x="19125" y="17245"/>
                  <a:pt x="19125" y="17245"/>
                </a:cubicBezTo>
                <a:cubicBezTo>
                  <a:pt x="18225" y="17013"/>
                  <a:pt x="17325" y="16781"/>
                  <a:pt x="16200" y="16549"/>
                </a:cubicBezTo>
                <a:cubicBezTo>
                  <a:pt x="15300" y="16316"/>
                  <a:pt x="14625" y="16084"/>
                  <a:pt x="14175" y="16084"/>
                </a:cubicBezTo>
                <a:cubicBezTo>
                  <a:pt x="13050" y="15620"/>
                  <a:pt x="12375" y="14923"/>
                  <a:pt x="11925" y="13994"/>
                </a:cubicBezTo>
                <a:cubicBezTo>
                  <a:pt x="11700" y="12368"/>
                  <a:pt x="11925" y="11207"/>
                  <a:pt x="13050" y="10510"/>
                </a:cubicBezTo>
                <a:cubicBezTo>
                  <a:pt x="13950" y="9813"/>
                  <a:pt x="14400" y="8652"/>
                  <a:pt x="14400" y="7491"/>
                </a:cubicBezTo>
                <a:cubicBezTo>
                  <a:pt x="14400" y="5865"/>
                  <a:pt x="14400" y="5865"/>
                  <a:pt x="14400" y="5865"/>
                </a:cubicBezTo>
                <a:cubicBezTo>
                  <a:pt x="14400" y="3774"/>
                  <a:pt x="13050" y="2149"/>
                  <a:pt x="11250" y="1916"/>
                </a:cubicBezTo>
                <a:cubicBezTo>
                  <a:pt x="10125" y="1916"/>
                  <a:pt x="9225" y="2149"/>
                  <a:pt x="8325" y="2845"/>
                </a:cubicBezTo>
                <a:cubicBezTo>
                  <a:pt x="7650" y="3542"/>
                  <a:pt x="7200" y="4471"/>
                  <a:pt x="7200" y="5632"/>
                </a:cubicBezTo>
                <a:cubicBezTo>
                  <a:pt x="7200" y="7491"/>
                  <a:pt x="7200" y="7491"/>
                  <a:pt x="7200" y="7491"/>
                </a:cubicBezTo>
                <a:cubicBezTo>
                  <a:pt x="7200" y="8652"/>
                  <a:pt x="7650" y="9813"/>
                  <a:pt x="8550" y="10510"/>
                </a:cubicBezTo>
                <a:cubicBezTo>
                  <a:pt x="9450" y="10974"/>
                  <a:pt x="10125" y="12136"/>
                  <a:pt x="9675" y="13994"/>
                </a:cubicBezTo>
                <a:cubicBezTo>
                  <a:pt x="9450" y="14923"/>
                  <a:pt x="8550" y="15620"/>
                  <a:pt x="7200" y="16084"/>
                </a:cubicBezTo>
                <a:cubicBezTo>
                  <a:pt x="6750" y="16084"/>
                  <a:pt x="4275" y="16781"/>
                  <a:pt x="2475" y="17245"/>
                </a:cubicBezTo>
                <a:cubicBezTo>
                  <a:pt x="2025" y="17478"/>
                  <a:pt x="1800" y="17710"/>
                  <a:pt x="1800" y="18174"/>
                </a:cubicBezTo>
                <a:lnTo>
                  <a:pt x="1800" y="19568"/>
                </a:lnTo>
                <a:close/>
              </a:path>
            </a:pathLst>
          </a:custGeom>
          <a:solidFill>
            <a:srgbClr val="FFFFFF"/>
          </a:solidFill>
          <a:ln w="12700">
            <a:miter lim="400000"/>
          </a:ln>
        </p:spPr>
        <p:txBody>
          <a:bodyPr lIns="0" tIns="0" rIns="0" bIns="0"/>
          <a:lstStyle/>
          <a:p>
            <a:endParaRPr/>
          </a:p>
        </p:txBody>
      </p:sp>
      <p:sp>
        <p:nvSpPr>
          <p:cNvPr id="679" name="Shape 679"/>
          <p:cNvSpPr/>
          <p:nvPr/>
        </p:nvSpPr>
        <p:spPr>
          <a:xfrm>
            <a:off x="482600" y="3069021"/>
            <a:ext cx="4533900" cy="9779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a:defRPr sz="1000">
                <a:solidFill>
                  <a:srgbClr val="FF2600"/>
                </a:solidFill>
              </a:defRPr>
            </a:pPr>
            <a:r>
              <a:t>These slides provide options to create a clickable navigation elements to jump to different sections of your presentation. To create clickable elements (and to remove this note) choose “Slide Master” from the “View” tab.</a:t>
            </a:r>
          </a:p>
          <a:p>
            <a:pPr>
              <a:defRPr sz="1000">
                <a:solidFill>
                  <a:srgbClr val="FF2600"/>
                </a:solidFill>
              </a:defRPr>
            </a:pPr>
            <a:endParaRPr/>
          </a:p>
          <a:p>
            <a:pPr>
              <a:defRPr sz="1000">
                <a:solidFill>
                  <a:srgbClr val="FF2600"/>
                </a:solidFill>
              </a:defRPr>
            </a:pPr>
            <a:r>
              <a:t>To create hyperlinks on the navigation elements, select the element and choose “Hyperlink” from the “Insert” tab. Then choose “Place in This Document” from the dialog box and select a slide.</a:t>
            </a:r>
          </a:p>
        </p:txBody>
      </p:sp>
      <p:sp>
        <p:nvSpPr>
          <p:cNvPr id="680" name="Shape 680"/>
          <p:cNvSpPr>
            <a:spLocks noGrp="1"/>
          </p:cNvSpPr>
          <p:nvPr>
            <p:ph type="body" sz="quarter" idx="13"/>
          </p:nvPr>
        </p:nvSpPr>
        <p:spPr>
          <a:xfrm>
            <a:off x="485775" y="806807"/>
            <a:ext cx="9509126" cy="318477"/>
          </a:xfrm>
          <a:prstGeom prst="rect">
            <a:avLst/>
          </a:prstGeom>
        </p:spPr>
        <p:txBody>
          <a:bodyPr/>
          <a:lstStyle>
            <a:lvl1pPr>
              <a:defRPr sz="2000" b="1">
                <a:solidFill>
                  <a:srgbClr val="002C77"/>
                </a:solidFill>
              </a:defRPr>
            </a:lvl1pPr>
          </a:lstStyle>
          <a:p>
            <a:r>
              <a:t> </a:t>
            </a:r>
          </a:p>
        </p:txBody>
      </p:sp>
      <p:sp>
        <p:nvSpPr>
          <p:cNvPr id="681" name="Shape 681"/>
          <p:cNvSpPr>
            <a:spLocks noGrp="1"/>
          </p:cNvSpPr>
          <p:nvPr>
            <p:ph type="title"/>
          </p:nvPr>
        </p:nvSpPr>
        <p:spPr>
          <a:xfrm>
            <a:off x="485776" y="361950"/>
            <a:ext cx="9509125" cy="504825"/>
          </a:xfrm>
          <a:prstGeom prst="rect">
            <a:avLst/>
          </a:prstGeom>
        </p:spPr>
        <p:txBody>
          <a:bodyPr>
            <a:normAutofit/>
          </a:bodyPr>
          <a:lstStyle/>
          <a:p>
            <a:r>
              <a:t>Texto del título</a:t>
            </a:r>
          </a:p>
        </p:txBody>
      </p:sp>
      <p:sp>
        <p:nvSpPr>
          <p:cNvPr id="682" name="Shape 682"/>
          <p:cNvSpPr>
            <a:spLocks noGrp="1"/>
          </p:cNvSpPr>
          <p:nvPr>
            <p:ph type="body" sz="quarter" idx="1"/>
          </p:nvPr>
        </p:nvSpPr>
        <p:spPr>
          <a:xfrm>
            <a:off x="5429250" y="6388100"/>
            <a:ext cx="4603750" cy="247650"/>
          </a:xfrm>
          <a:prstGeom prst="rect">
            <a:avLst/>
          </a:prstGeom>
        </p:spPr>
        <p:txBody>
          <a:bodyPr anchor="b">
            <a:normAutofit/>
          </a:bodyPr>
          <a:lstStyle>
            <a:lvl1pPr algn="r">
              <a:spcBef>
                <a:spcPts val="0"/>
              </a:spcBef>
              <a:defRPr sz="800"/>
            </a:lvl1pPr>
            <a:lvl2pPr marL="0" indent="457200" algn="r">
              <a:spcBef>
                <a:spcPts val="0"/>
              </a:spcBef>
              <a:buSzTx/>
              <a:buNone/>
              <a:defRPr sz="800"/>
            </a:lvl2pPr>
            <a:lvl3pPr marL="0" indent="914400" algn="r">
              <a:spcBef>
                <a:spcPts val="0"/>
              </a:spcBef>
              <a:buSzTx/>
              <a:buNone/>
              <a:defRPr sz="800"/>
            </a:lvl3pPr>
            <a:lvl4pPr marL="0" indent="1371600" algn="r">
              <a:spcBef>
                <a:spcPts val="0"/>
              </a:spcBef>
              <a:buSzTx/>
              <a:buNone/>
              <a:defRPr sz="800"/>
            </a:lvl4pPr>
            <a:lvl5pPr marL="0" indent="1828800" algn="r">
              <a:spcBef>
                <a:spcPts val="0"/>
              </a:spcBef>
              <a:buSzTx/>
              <a:buNone/>
              <a:defRPr sz="800"/>
            </a:lvl5pPr>
          </a:lstStyle>
          <a:p>
            <a:r>
              <a:t>Nivel de texto 1</a:t>
            </a:r>
          </a:p>
          <a:p>
            <a:pPr lvl="1"/>
            <a:r>
              <a:t>Nivel de texto 2</a:t>
            </a:r>
          </a:p>
          <a:p>
            <a:pPr lvl="2"/>
            <a:r>
              <a:t>Nivel de texto 3</a:t>
            </a:r>
          </a:p>
          <a:p>
            <a:pPr lvl="3"/>
            <a:r>
              <a:t>Nivel de texto 4</a:t>
            </a:r>
          </a:p>
          <a:p>
            <a:pPr lvl="4"/>
            <a:r>
              <a:t>Nivel de texto 5</a:t>
            </a:r>
          </a:p>
        </p:txBody>
      </p:sp>
      <p:sp>
        <p:nvSpPr>
          <p:cNvPr id="683" name="Shape 683"/>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x">
  <p:cSld name="Dos objetos">
    <p:bg>
      <p:bgPr>
        <a:solidFill>
          <a:srgbClr val="FFFFFF"/>
        </a:solidFill>
        <a:effectLst/>
      </p:bgPr>
    </p:bg>
    <p:spTree>
      <p:nvGrpSpPr>
        <p:cNvPr id="1" name=""/>
        <p:cNvGrpSpPr/>
        <p:nvPr/>
      </p:nvGrpSpPr>
      <p:grpSpPr>
        <a:xfrm>
          <a:off x="0" y="0"/>
          <a:ext cx="0" cy="0"/>
          <a:chOff x="0" y="0"/>
          <a:chExt cx="0" cy="0"/>
        </a:xfrm>
      </p:grpSpPr>
      <p:pic>
        <p:nvPicPr>
          <p:cNvPr id="52"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53" name="Shape 53"/>
          <p:cNvSpPr>
            <a:spLocks noGrp="1"/>
          </p:cNvSpPr>
          <p:nvPr>
            <p:ph type="body" sz="quarter" idx="13"/>
          </p:nvPr>
        </p:nvSpPr>
        <p:spPr>
          <a:xfrm>
            <a:off x="6210303" y="6388100"/>
            <a:ext cx="4546597" cy="247650"/>
          </a:xfrm>
          <a:prstGeom prst="rect">
            <a:avLst/>
          </a:prstGeom>
        </p:spPr>
        <p:txBody>
          <a:bodyPr anchor="b"/>
          <a:lstStyle>
            <a:lvl1pPr algn="r">
              <a:spcBef>
                <a:spcPts val="0"/>
              </a:spcBef>
              <a:defRPr sz="800"/>
            </a:lvl1pPr>
          </a:lstStyle>
          <a:p>
            <a:r>
              <a:t> </a:t>
            </a:r>
          </a:p>
        </p:txBody>
      </p:sp>
      <p:sp>
        <p:nvSpPr>
          <p:cNvPr id="54" name="Shape 54"/>
          <p:cNvSpPr>
            <a:spLocks noGrp="1"/>
          </p:cNvSpPr>
          <p:nvPr>
            <p:ph type="body" sz="quarter" idx="14"/>
          </p:nvPr>
        </p:nvSpPr>
        <p:spPr>
          <a:xfrm>
            <a:off x="485775" y="806807"/>
            <a:ext cx="11223626" cy="318477"/>
          </a:xfrm>
          <a:prstGeom prst="rect">
            <a:avLst/>
          </a:prstGeom>
        </p:spPr>
        <p:txBody>
          <a:bodyPr/>
          <a:lstStyle>
            <a:lvl1pPr>
              <a:defRPr b="1">
                <a:solidFill>
                  <a:srgbClr val="002C77"/>
                </a:solidFill>
              </a:defRPr>
            </a:lvl1pPr>
          </a:lstStyle>
          <a:p>
            <a:r>
              <a:t> </a:t>
            </a:r>
          </a:p>
        </p:txBody>
      </p:sp>
      <p:sp>
        <p:nvSpPr>
          <p:cNvPr id="55" name="Shape 55"/>
          <p:cNvSpPr>
            <a:spLocks noGrp="1"/>
          </p:cNvSpPr>
          <p:nvPr>
            <p:ph type="title"/>
          </p:nvPr>
        </p:nvSpPr>
        <p:spPr>
          <a:xfrm>
            <a:off x="457200" y="355600"/>
            <a:ext cx="11252200" cy="495300"/>
          </a:xfrm>
          <a:prstGeom prst="rect">
            <a:avLst/>
          </a:prstGeom>
        </p:spPr>
        <p:txBody>
          <a:bodyPr>
            <a:normAutofit/>
          </a:bodyPr>
          <a:lstStyle/>
          <a:p>
            <a:r>
              <a:t>Texto del título</a:t>
            </a:r>
          </a:p>
        </p:txBody>
      </p:sp>
      <p:sp>
        <p:nvSpPr>
          <p:cNvPr id="56" name="Shape 56"/>
          <p:cNvSpPr>
            <a:spLocks noGrp="1"/>
          </p:cNvSpPr>
          <p:nvPr>
            <p:ph type="body" sz="half" idx="1"/>
          </p:nvPr>
        </p:nvSpPr>
        <p:spPr>
          <a:xfrm>
            <a:off x="485775" y="1609725"/>
            <a:ext cx="5495925" cy="4511675"/>
          </a:xfrm>
          <a:prstGeom prst="rect">
            <a:avLst/>
          </a:prstGeom>
        </p:spPr>
        <p:txBody>
          <a:bodyPr>
            <a:normAutofit/>
          </a:bodyPr>
          <a:lstStyle/>
          <a:p>
            <a:r>
              <a:t>Nivel de texto 1</a:t>
            </a:r>
          </a:p>
          <a:p>
            <a:pPr lvl="1"/>
            <a:r>
              <a:t>Nivel de texto 2</a:t>
            </a:r>
          </a:p>
          <a:p>
            <a:pPr lvl="2"/>
            <a:r>
              <a:t>Nivel de texto 3</a:t>
            </a:r>
          </a:p>
          <a:p>
            <a:pPr lvl="3"/>
            <a:r>
              <a:t>Nivel de texto 4</a:t>
            </a:r>
          </a:p>
          <a:p>
            <a:pPr lvl="4"/>
            <a:r>
              <a:t>Nivel de texto 5</a:t>
            </a:r>
          </a:p>
        </p:txBody>
      </p:sp>
      <p:sp>
        <p:nvSpPr>
          <p:cNvPr id="57" name="Shape 57"/>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x">
  <p:cSld name="Interactive right condensed">
    <p:bg>
      <p:bgPr>
        <a:solidFill>
          <a:srgbClr val="FFFFFF"/>
        </a:solidFill>
        <a:effectLst/>
      </p:bgPr>
    </p:bg>
    <p:spTree>
      <p:nvGrpSpPr>
        <p:cNvPr id="1" name=""/>
        <p:cNvGrpSpPr/>
        <p:nvPr/>
      </p:nvGrpSpPr>
      <p:grpSpPr>
        <a:xfrm>
          <a:off x="0" y="0"/>
          <a:ext cx="0" cy="0"/>
          <a:chOff x="0" y="0"/>
          <a:chExt cx="0" cy="0"/>
        </a:xfrm>
      </p:grpSpPr>
      <p:pic>
        <p:nvPicPr>
          <p:cNvPr id="690"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691" name="Shape 691"/>
          <p:cNvSpPr/>
          <p:nvPr/>
        </p:nvSpPr>
        <p:spPr>
          <a:xfrm>
            <a:off x="10033000" y="0"/>
            <a:ext cx="2159000" cy="686858"/>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sp>
        <p:nvSpPr>
          <p:cNvPr id="692" name="Shape 692"/>
          <p:cNvSpPr/>
          <p:nvPr/>
        </p:nvSpPr>
        <p:spPr>
          <a:xfrm>
            <a:off x="10033000" y="685682"/>
            <a:ext cx="2159000" cy="686858"/>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sp>
        <p:nvSpPr>
          <p:cNvPr id="693" name="Shape 693"/>
          <p:cNvSpPr/>
          <p:nvPr/>
        </p:nvSpPr>
        <p:spPr>
          <a:xfrm>
            <a:off x="10033000" y="1371363"/>
            <a:ext cx="2159000" cy="686859"/>
          </a:xfrm>
          <a:prstGeom prst="rect">
            <a:avLst/>
          </a:prstGeom>
          <a:solidFill>
            <a:srgbClr val="00968F"/>
          </a:solidFill>
          <a:ln w="12700">
            <a:miter lim="400000"/>
          </a:ln>
        </p:spPr>
        <p:txBody>
          <a:bodyPr lIns="0" tIns="0" rIns="0" bIns="0" anchor="ctr"/>
          <a:lstStyle/>
          <a:p>
            <a:pPr algn="ctr">
              <a:defRPr>
                <a:solidFill>
                  <a:srgbClr val="FFFFFF"/>
                </a:solidFill>
              </a:defRPr>
            </a:pPr>
            <a:endParaRPr/>
          </a:p>
        </p:txBody>
      </p:sp>
      <p:sp>
        <p:nvSpPr>
          <p:cNvPr id="694" name="Shape 694"/>
          <p:cNvSpPr/>
          <p:nvPr/>
        </p:nvSpPr>
        <p:spPr>
          <a:xfrm>
            <a:off x="10033000" y="2057045"/>
            <a:ext cx="2159000" cy="686859"/>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sp>
        <p:nvSpPr>
          <p:cNvPr id="695" name="Shape 695"/>
          <p:cNvSpPr/>
          <p:nvPr/>
        </p:nvSpPr>
        <p:spPr>
          <a:xfrm>
            <a:off x="10033000" y="2742727"/>
            <a:ext cx="2159000" cy="686859"/>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sp>
        <p:nvSpPr>
          <p:cNvPr id="696" name="Shape 696"/>
          <p:cNvSpPr/>
          <p:nvPr/>
        </p:nvSpPr>
        <p:spPr>
          <a:xfrm>
            <a:off x="10033000" y="3428410"/>
            <a:ext cx="2159000" cy="686859"/>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sp>
        <p:nvSpPr>
          <p:cNvPr id="697" name="Shape 697"/>
          <p:cNvSpPr/>
          <p:nvPr/>
        </p:nvSpPr>
        <p:spPr>
          <a:xfrm>
            <a:off x="10033000" y="4114091"/>
            <a:ext cx="2159000" cy="686859"/>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sp>
        <p:nvSpPr>
          <p:cNvPr id="698" name="Shape 698"/>
          <p:cNvSpPr/>
          <p:nvPr/>
        </p:nvSpPr>
        <p:spPr>
          <a:xfrm>
            <a:off x="10033000" y="4799774"/>
            <a:ext cx="2159000" cy="686859"/>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sp>
        <p:nvSpPr>
          <p:cNvPr id="699" name="Shape 699"/>
          <p:cNvSpPr/>
          <p:nvPr/>
        </p:nvSpPr>
        <p:spPr>
          <a:xfrm>
            <a:off x="10033000" y="5485455"/>
            <a:ext cx="2159000" cy="686859"/>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sp>
        <p:nvSpPr>
          <p:cNvPr id="700" name="Shape 700"/>
          <p:cNvSpPr/>
          <p:nvPr/>
        </p:nvSpPr>
        <p:spPr>
          <a:xfrm>
            <a:off x="10033000" y="6171141"/>
            <a:ext cx="2159000" cy="686859"/>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grpSp>
        <p:nvGrpSpPr>
          <p:cNvPr id="703" name="Group 703"/>
          <p:cNvGrpSpPr/>
          <p:nvPr/>
        </p:nvGrpSpPr>
        <p:grpSpPr>
          <a:xfrm>
            <a:off x="10461708" y="867511"/>
            <a:ext cx="1214495" cy="268103"/>
            <a:chOff x="0" y="0"/>
            <a:chExt cx="1214493" cy="268101"/>
          </a:xfrm>
        </p:grpSpPr>
        <p:sp>
          <p:nvSpPr>
            <p:cNvPr id="701" name="Shape 701"/>
            <p:cNvSpPr/>
            <p:nvPr/>
          </p:nvSpPr>
          <p:spPr>
            <a:xfrm>
              <a:off x="460468" y="34937"/>
              <a:ext cx="754026" cy="1973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defRPr sz="1400">
                  <a:solidFill>
                    <a:srgbClr val="009DE0"/>
                  </a:solidFill>
                </a:defRPr>
              </a:lvl1pPr>
            </a:lstStyle>
            <a:p>
              <a:r>
                <a:t>Section 2</a:t>
              </a:r>
            </a:p>
          </p:txBody>
        </p:sp>
        <p:sp>
          <p:nvSpPr>
            <p:cNvPr id="702" name="Shape 702"/>
            <p:cNvSpPr/>
            <p:nvPr/>
          </p:nvSpPr>
          <p:spPr>
            <a:xfrm>
              <a:off x="-1" y="0"/>
              <a:ext cx="283731" cy="268102"/>
            </a:xfrm>
            <a:custGeom>
              <a:avLst/>
              <a:gdLst/>
              <a:ahLst/>
              <a:cxnLst>
                <a:cxn ang="0">
                  <a:pos x="wd2" y="hd2"/>
                </a:cxn>
                <a:cxn ang="5400000">
                  <a:pos x="wd2" y="hd2"/>
                </a:cxn>
                <a:cxn ang="10800000">
                  <a:pos x="wd2" y="hd2"/>
                </a:cxn>
                <a:cxn ang="16200000">
                  <a:pos x="wd2" y="hd2"/>
                </a:cxn>
              </a:cxnLst>
              <a:rect l="0" t="0" r="r" b="b"/>
              <a:pathLst>
                <a:path w="20937" h="21532" extrusionOk="0">
                  <a:moveTo>
                    <a:pt x="18594" y="21532"/>
                  </a:moveTo>
                  <a:cubicBezTo>
                    <a:pt x="18348" y="21532"/>
                    <a:pt x="18103" y="21532"/>
                    <a:pt x="17857" y="21262"/>
                  </a:cubicBezTo>
                  <a:cubicBezTo>
                    <a:pt x="14912" y="18022"/>
                    <a:pt x="14912" y="18022"/>
                    <a:pt x="14912" y="18022"/>
                  </a:cubicBezTo>
                  <a:cubicBezTo>
                    <a:pt x="14666" y="17482"/>
                    <a:pt x="14666" y="16942"/>
                    <a:pt x="14912" y="16402"/>
                  </a:cubicBezTo>
                  <a:cubicBezTo>
                    <a:pt x="15403" y="16132"/>
                    <a:pt x="15894" y="16132"/>
                    <a:pt x="16384" y="16402"/>
                  </a:cubicBezTo>
                  <a:cubicBezTo>
                    <a:pt x="19330" y="19642"/>
                    <a:pt x="19330" y="19642"/>
                    <a:pt x="19330" y="19642"/>
                  </a:cubicBezTo>
                  <a:cubicBezTo>
                    <a:pt x="19575" y="20182"/>
                    <a:pt x="19575" y="20722"/>
                    <a:pt x="19330" y="21262"/>
                  </a:cubicBezTo>
                  <a:cubicBezTo>
                    <a:pt x="19084" y="21532"/>
                    <a:pt x="18839" y="21532"/>
                    <a:pt x="18594" y="21532"/>
                  </a:cubicBezTo>
                  <a:close/>
                  <a:moveTo>
                    <a:pt x="2884" y="21532"/>
                  </a:moveTo>
                  <a:cubicBezTo>
                    <a:pt x="2639" y="21532"/>
                    <a:pt x="2394" y="21532"/>
                    <a:pt x="2148" y="21262"/>
                  </a:cubicBezTo>
                  <a:cubicBezTo>
                    <a:pt x="1903" y="20722"/>
                    <a:pt x="1903" y="20182"/>
                    <a:pt x="2148" y="19642"/>
                  </a:cubicBezTo>
                  <a:cubicBezTo>
                    <a:pt x="9266" y="11812"/>
                    <a:pt x="9266" y="11812"/>
                    <a:pt x="9266" y="11812"/>
                  </a:cubicBezTo>
                  <a:cubicBezTo>
                    <a:pt x="7794" y="10192"/>
                    <a:pt x="7794" y="10192"/>
                    <a:pt x="7794" y="10192"/>
                  </a:cubicBezTo>
                  <a:cubicBezTo>
                    <a:pt x="6566" y="11542"/>
                    <a:pt x="6566" y="11542"/>
                    <a:pt x="6566" y="11542"/>
                  </a:cubicBezTo>
                  <a:cubicBezTo>
                    <a:pt x="6075" y="11812"/>
                    <a:pt x="5584" y="11812"/>
                    <a:pt x="5094" y="11542"/>
                  </a:cubicBezTo>
                  <a:cubicBezTo>
                    <a:pt x="184" y="6142"/>
                    <a:pt x="184" y="6142"/>
                    <a:pt x="184" y="6142"/>
                  </a:cubicBezTo>
                  <a:cubicBezTo>
                    <a:pt x="-61" y="5602"/>
                    <a:pt x="-61" y="5062"/>
                    <a:pt x="184" y="4522"/>
                  </a:cubicBezTo>
                  <a:cubicBezTo>
                    <a:pt x="675" y="4252"/>
                    <a:pt x="1166" y="4252"/>
                    <a:pt x="1657" y="4522"/>
                  </a:cubicBezTo>
                  <a:cubicBezTo>
                    <a:pt x="5830" y="9112"/>
                    <a:pt x="5830" y="9112"/>
                    <a:pt x="5830" y="9112"/>
                  </a:cubicBezTo>
                  <a:cubicBezTo>
                    <a:pt x="6321" y="8572"/>
                    <a:pt x="6321" y="8572"/>
                    <a:pt x="6321" y="8572"/>
                  </a:cubicBezTo>
                  <a:cubicBezTo>
                    <a:pt x="2148" y="3982"/>
                    <a:pt x="2148" y="3982"/>
                    <a:pt x="2148" y="3982"/>
                  </a:cubicBezTo>
                  <a:cubicBezTo>
                    <a:pt x="1903" y="3442"/>
                    <a:pt x="1903" y="2902"/>
                    <a:pt x="2148" y="2362"/>
                  </a:cubicBezTo>
                  <a:cubicBezTo>
                    <a:pt x="2639" y="2092"/>
                    <a:pt x="3130" y="2092"/>
                    <a:pt x="3621" y="2362"/>
                  </a:cubicBezTo>
                  <a:cubicBezTo>
                    <a:pt x="7794" y="6952"/>
                    <a:pt x="7794" y="6952"/>
                    <a:pt x="7794" y="6952"/>
                  </a:cubicBezTo>
                  <a:cubicBezTo>
                    <a:pt x="8284" y="6412"/>
                    <a:pt x="8284" y="6412"/>
                    <a:pt x="8284" y="6412"/>
                  </a:cubicBezTo>
                  <a:cubicBezTo>
                    <a:pt x="4112" y="1822"/>
                    <a:pt x="4112" y="1822"/>
                    <a:pt x="4112" y="1822"/>
                  </a:cubicBezTo>
                  <a:cubicBezTo>
                    <a:pt x="3866" y="1282"/>
                    <a:pt x="3866" y="742"/>
                    <a:pt x="4112" y="202"/>
                  </a:cubicBezTo>
                  <a:cubicBezTo>
                    <a:pt x="4603" y="-68"/>
                    <a:pt x="5094" y="-68"/>
                    <a:pt x="5584" y="202"/>
                  </a:cubicBezTo>
                  <a:cubicBezTo>
                    <a:pt x="10494" y="5602"/>
                    <a:pt x="10494" y="5602"/>
                    <a:pt x="10494" y="5602"/>
                  </a:cubicBezTo>
                  <a:cubicBezTo>
                    <a:pt x="10739" y="6142"/>
                    <a:pt x="10739" y="6682"/>
                    <a:pt x="10494" y="7222"/>
                  </a:cubicBezTo>
                  <a:cubicBezTo>
                    <a:pt x="9266" y="8572"/>
                    <a:pt x="9266" y="8572"/>
                    <a:pt x="9266" y="8572"/>
                  </a:cubicBezTo>
                  <a:cubicBezTo>
                    <a:pt x="10739" y="10192"/>
                    <a:pt x="10739" y="10192"/>
                    <a:pt x="10739" y="10192"/>
                  </a:cubicBezTo>
                  <a:cubicBezTo>
                    <a:pt x="18839" y="1282"/>
                    <a:pt x="18839" y="1282"/>
                    <a:pt x="18839" y="1282"/>
                  </a:cubicBezTo>
                  <a:cubicBezTo>
                    <a:pt x="19084" y="1012"/>
                    <a:pt x="19575" y="1012"/>
                    <a:pt x="19821" y="1012"/>
                  </a:cubicBezTo>
                  <a:cubicBezTo>
                    <a:pt x="20066" y="1012"/>
                    <a:pt x="20312" y="1552"/>
                    <a:pt x="20557" y="1822"/>
                  </a:cubicBezTo>
                  <a:cubicBezTo>
                    <a:pt x="21539" y="5332"/>
                    <a:pt x="20557" y="9112"/>
                    <a:pt x="18348" y="11542"/>
                  </a:cubicBezTo>
                  <a:cubicBezTo>
                    <a:pt x="14666" y="15592"/>
                    <a:pt x="11966" y="16132"/>
                    <a:pt x="11966" y="16132"/>
                  </a:cubicBezTo>
                  <a:cubicBezTo>
                    <a:pt x="11475" y="16132"/>
                    <a:pt x="10984" y="15862"/>
                    <a:pt x="10739" y="15322"/>
                  </a:cubicBezTo>
                  <a:cubicBezTo>
                    <a:pt x="10739" y="14782"/>
                    <a:pt x="10984" y="14242"/>
                    <a:pt x="11475" y="13972"/>
                  </a:cubicBezTo>
                  <a:cubicBezTo>
                    <a:pt x="11475" y="13972"/>
                    <a:pt x="13684" y="13432"/>
                    <a:pt x="16875" y="9922"/>
                  </a:cubicBezTo>
                  <a:cubicBezTo>
                    <a:pt x="18348" y="8572"/>
                    <a:pt x="19084" y="6412"/>
                    <a:pt x="18839" y="4252"/>
                  </a:cubicBezTo>
                  <a:cubicBezTo>
                    <a:pt x="3621" y="21262"/>
                    <a:pt x="3621" y="21262"/>
                    <a:pt x="3621" y="21262"/>
                  </a:cubicBezTo>
                  <a:cubicBezTo>
                    <a:pt x="3375" y="21532"/>
                    <a:pt x="3130" y="21532"/>
                    <a:pt x="2884" y="21532"/>
                  </a:cubicBezTo>
                  <a:close/>
                </a:path>
              </a:pathLst>
            </a:custGeom>
            <a:solidFill>
              <a:srgbClr val="009DE0"/>
            </a:solidFill>
            <a:ln w="12700" cap="flat">
              <a:noFill/>
              <a:miter lim="400000"/>
            </a:ln>
            <a:effectLst/>
          </p:spPr>
          <p:txBody>
            <a:bodyPr wrap="square" lIns="0" tIns="0" rIns="0" bIns="0" numCol="1" anchor="t">
              <a:noAutofit/>
            </a:bodyPr>
            <a:lstStyle/>
            <a:p>
              <a:endParaRPr/>
            </a:p>
          </p:txBody>
        </p:sp>
      </p:grpSp>
      <p:grpSp>
        <p:nvGrpSpPr>
          <p:cNvPr id="706" name="Group 706"/>
          <p:cNvGrpSpPr/>
          <p:nvPr/>
        </p:nvGrpSpPr>
        <p:grpSpPr>
          <a:xfrm>
            <a:off x="10473386" y="2911468"/>
            <a:ext cx="1202817" cy="317728"/>
            <a:chOff x="0" y="0"/>
            <a:chExt cx="1202816" cy="317726"/>
          </a:xfrm>
        </p:grpSpPr>
        <p:sp>
          <p:nvSpPr>
            <p:cNvPr id="704" name="Shape 704"/>
            <p:cNvSpPr/>
            <p:nvPr/>
          </p:nvSpPr>
          <p:spPr>
            <a:xfrm>
              <a:off x="448790" y="21725"/>
              <a:ext cx="754027" cy="1973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defRPr sz="1400">
                  <a:solidFill>
                    <a:srgbClr val="009DE0"/>
                  </a:solidFill>
                </a:defRPr>
              </a:lvl1pPr>
            </a:lstStyle>
            <a:p>
              <a:r>
                <a:t>Section 5</a:t>
              </a:r>
            </a:p>
          </p:txBody>
        </p:sp>
        <p:sp>
          <p:nvSpPr>
            <p:cNvPr id="705" name="Shape 705"/>
            <p:cNvSpPr/>
            <p:nvPr/>
          </p:nvSpPr>
          <p:spPr>
            <a:xfrm>
              <a:off x="0" y="0"/>
              <a:ext cx="267692" cy="317727"/>
            </a:xfrm>
            <a:custGeom>
              <a:avLst/>
              <a:gdLst/>
              <a:ahLst/>
              <a:cxnLst>
                <a:cxn ang="0">
                  <a:pos x="wd2" y="hd2"/>
                </a:cxn>
                <a:cxn ang="5400000">
                  <a:pos x="wd2" y="hd2"/>
                </a:cxn>
                <a:cxn ang="10800000">
                  <a:pos x="wd2" y="hd2"/>
                </a:cxn>
                <a:cxn ang="16200000">
                  <a:pos x="wd2" y="hd2"/>
                </a:cxn>
              </a:cxnLst>
              <a:rect l="0" t="0" r="r" b="b"/>
              <a:pathLst>
                <a:path w="21600" h="21600" extrusionOk="0">
                  <a:moveTo>
                    <a:pt x="20520" y="21600"/>
                  </a:moveTo>
                  <a:cubicBezTo>
                    <a:pt x="10800" y="21600"/>
                    <a:pt x="10800" y="21600"/>
                    <a:pt x="10800" y="21600"/>
                  </a:cubicBezTo>
                  <a:cubicBezTo>
                    <a:pt x="10260" y="21600"/>
                    <a:pt x="9720" y="21150"/>
                    <a:pt x="9720" y="20700"/>
                  </a:cubicBezTo>
                  <a:cubicBezTo>
                    <a:pt x="9720" y="17100"/>
                    <a:pt x="9720" y="17100"/>
                    <a:pt x="9720" y="17100"/>
                  </a:cubicBezTo>
                  <a:cubicBezTo>
                    <a:pt x="9720" y="16650"/>
                    <a:pt x="10260" y="16200"/>
                    <a:pt x="10800" y="16200"/>
                  </a:cubicBezTo>
                  <a:cubicBezTo>
                    <a:pt x="20520" y="16200"/>
                    <a:pt x="20520" y="16200"/>
                    <a:pt x="20520" y="16200"/>
                  </a:cubicBezTo>
                  <a:cubicBezTo>
                    <a:pt x="21060" y="16200"/>
                    <a:pt x="21600" y="16650"/>
                    <a:pt x="21600" y="17100"/>
                  </a:cubicBezTo>
                  <a:cubicBezTo>
                    <a:pt x="21600" y="20700"/>
                    <a:pt x="21600" y="20700"/>
                    <a:pt x="21600" y="20700"/>
                  </a:cubicBezTo>
                  <a:cubicBezTo>
                    <a:pt x="21600" y="21150"/>
                    <a:pt x="21060" y="21600"/>
                    <a:pt x="20520" y="21600"/>
                  </a:cubicBezTo>
                  <a:close/>
                  <a:moveTo>
                    <a:pt x="11880" y="19800"/>
                  </a:moveTo>
                  <a:cubicBezTo>
                    <a:pt x="19440" y="19800"/>
                    <a:pt x="19440" y="19800"/>
                    <a:pt x="19440" y="19800"/>
                  </a:cubicBezTo>
                  <a:cubicBezTo>
                    <a:pt x="19440" y="18000"/>
                    <a:pt x="19440" y="18000"/>
                    <a:pt x="19440" y="18000"/>
                  </a:cubicBezTo>
                  <a:cubicBezTo>
                    <a:pt x="11880" y="18000"/>
                    <a:pt x="11880" y="18000"/>
                    <a:pt x="11880" y="18000"/>
                  </a:cubicBezTo>
                  <a:lnTo>
                    <a:pt x="11880" y="19800"/>
                  </a:lnTo>
                  <a:close/>
                  <a:moveTo>
                    <a:pt x="20520" y="14400"/>
                  </a:moveTo>
                  <a:cubicBezTo>
                    <a:pt x="1080" y="14400"/>
                    <a:pt x="1080" y="14400"/>
                    <a:pt x="1080" y="14400"/>
                  </a:cubicBezTo>
                  <a:cubicBezTo>
                    <a:pt x="540" y="14400"/>
                    <a:pt x="0" y="13950"/>
                    <a:pt x="0" y="13500"/>
                  </a:cubicBezTo>
                  <a:cubicBezTo>
                    <a:pt x="0" y="900"/>
                    <a:pt x="0" y="900"/>
                    <a:pt x="0" y="900"/>
                  </a:cubicBezTo>
                  <a:cubicBezTo>
                    <a:pt x="0" y="450"/>
                    <a:pt x="540" y="0"/>
                    <a:pt x="1080" y="0"/>
                  </a:cubicBezTo>
                  <a:cubicBezTo>
                    <a:pt x="20520" y="0"/>
                    <a:pt x="20520" y="0"/>
                    <a:pt x="20520" y="0"/>
                  </a:cubicBezTo>
                  <a:cubicBezTo>
                    <a:pt x="21060" y="0"/>
                    <a:pt x="21600" y="450"/>
                    <a:pt x="21600" y="900"/>
                  </a:cubicBezTo>
                  <a:cubicBezTo>
                    <a:pt x="21600" y="13500"/>
                    <a:pt x="21600" y="13500"/>
                    <a:pt x="21600" y="13500"/>
                  </a:cubicBezTo>
                  <a:cubicBezTo>
                    <a:pt x="21600" y="13950"/>
                    <a:pt x="21060" y="14400"/>
                    <a:pt x="20520" y="14400"/>
                  </a:cubicBezTo>
                  <a:close/>
                  <a:moveTo>
                    <a:pt x="2160" y="12600"/>
                  </a:moveTo>
                  <a:cubicBezTo>
                    <a:pt x="19440" y="12600"/>
                    <a:pt x="19440" y="12600"/>
                    <a:pt x="19440" y="12600"/>
                  </a:cubicBezTo>
                  <a:cubicBezTo>
                    <a:pt x="19440" y="5400"/>
                    <a:pt x="19440" y="5400"/>
                    <a:pt x="19440" y="5400"/>
                  </a:cubicBezTo>
                  <a:cubicBezTo>
                    <a:pt x="2160" y="5400"/>
                    <a:pt x="2160" y="5400"/>
                    <a:pt x="2160" y="5400"/>
                  </a:cubicBezTo>
                  <a:lnTo>
                    <a:pt x="2160" y="12600"/>
                  </a:lnTo>
                  <a:close/>
                  <a:moveTo>
                    <a:pt x="2160" y="3600"/>
                  </a:moveTo>
                  <a:cubicBezTo>
                    <a:pt x="19440" y="3600"/>
                    <a:pt x="19440" y="3600"/>
                    <a:pt x="19440" y="3600"/>
                  </a:cubicBezTo>
                  <a:cubicBezTo>
                    <a:pt x="19440" y="1800"/>
                    <a:pt x="19440" y="1800"/>
                    <a:pt x="19440" y="1800"/>
                  </a:cubicBezTo>
                  <a:cubicBezTo>
                    <a:pt x="2160" y="1800"/>
                    <a:pt x="2160" y="1800"/>
                    <a:pt x="2160" y="1800"/>
                  </a:cubicBezTo>
                  <a:lnTo>
                    <a:pt x="2160" y="3600"/>
                  </a:lnTo>
                  <a:close/>
                </a:path>
              </a:pathLst>
            </a:custGeom>
            <a:solidFill>
              <a:srgbClr val="009DE0"/>
            </a:solidFill>
            <a:ln w="12700" cap="flat">
              <a:noFill/>
              <a:miter lim="400000"/>
            </a:ln>
            <a:effectLst/>
          </p:spPr>
          <p:txBody>
            <a:bodyPr wrap="square" lIns="0" tIns="0" rIns="0" bIns="0" numCol="1" anchor="t">
              <a:noAutofit/>
            </a:bodyPr>
            <a:lstStyle/>
            <a:p>
              <a:endParaRPr/>
            </a:p>
          </p:txBody>
        </p:sp>
      </p:grpSp>
      <p:grpSp>
        <p:nvGrpSpPr>
          <p:cNvPr id="711" name="Group 711"/>
          <p:cNvGrpSpPr/>
          <p:nvPr/>
        </p:nvGrpSpPr>
        <p:grpSpPr>
          <a:xfrm>
            <a:off x="10473600" y="1522000"/>
            <a:ext cx="1202603" cy="317544"/>
            <a:chOff x="0" y="0"/>
            <a:chExt cx="1202601" cy="317542"/>
          </a:xfrm>
        </p:grpSpPr>
        <p:sp>
          <p:nvSpPr>
            <p:cNvPr id="707" name="Shape 707"/>
            <p:cNvSpPr/>
            <p:nvPr/>
          </p:nvSpPr>
          <p:spPr>
            <a:xfrm>
              <a:off x="448576" y="63298"/>
              <a:ext cx="754026" cy="1973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defRPr sz="1400">
                  <a:solidFill>
                    <a:srgbClr val="FFFFFF"/>
                  </a:solidFill>
                </a:defRPr>
              </a:lvl1pPr>
            </a:lstStyle>
            <a:p>
              <a:r>
                <a:t>Section 3</a:t>
              </a:r>
            </a:p>
          </p:txBody>
        </p:sp>
        <p:grpSp>
          <p:nvGrpSpPr>
            <p:cNvPr id="710" name="Group 710"/>
            <p:cNvGrpSpPr/>
            <p:nvPr/>
          </p:nvGrpSpPr>
          <p:grpSpPr>
            <a:xfrm>
              <a:off x="0" y="0"/>
              <a:ext cx="267262" cy="317544"/>
              <a:chOff x="0" y="0"/>
              <a:chExt cx="267261" cy="317543"/>
            </a:xfrm>
          </p:grpSpPr>
          <p:sp>
            <p:nvSpPr>
              <p:cNvPr id="708" name="Shape 708"/>
              <p:cNvSpPr/>
              <p:nvPr/>
            </p:nvSpPr>
            <p:spPr>
              <a:xfrm>
                <a:off x="0" y="0"/>
                <a:ext cx="267262" cy="277699"/>
              </a:xfrm>
              <a:custGeom>
                <a:avLst/>
                <a:gdLst/>
                <a:ahLst/>
                <a:cxnLst>
                  <a:cxn ang="0">
                    <a:pos x="wd2" y="hd2"/>
                  </a:cxn>
                  <a:cxn ang="5400000">
                    <a:pos x="wd2" y="hd2"/>
                  </a:cxn>
                  <a:cxn ang="10800000">
                    <a:pos x="wd2" y="hd2"/>
                  </a:cxn>
                  <a:cxn ang="16200000">
                    <a:pos x="wd2" y="hd2"/>
                  </a:cxn>
                </a:cxnLst>
                <a:rect l="0" t="0" r="r" b="b"/>
                <a:pathLst>
                  <a:path w="21465" h="21600" extrusionOk="0">
                    <a:moveTo>
                      <a:pt x="20452" y="21600"/>
                    </a:moveTo>
                    <a:cubicBezTo>
                      <a:pt x="1012" y="21600"/>
                      <a:pt x="1012" y="21600"/>
                      <a:pt x="1012" y="21600"/>
                    </a:cubicBezTo>
                    <a:cubicBezTo>
                      <a:pt x="742" y="21600"/>
                      <a:pt x="202" y="21343"/>
                      <a:pt x="202" y="21086"/>
                    </a:cubicBezTo>
                    <a:cubicBezTo>
                      <a:pt x="-68" y="20829"/>
                      <a:pt x="-68" y="20314"/>
                      <a:pt x="202" y="20057"/>
                    </a:cubicBezTo>
                    <a:cubicBezTo>
                      <a:pt x="1282" y="18000"/>
                      <a:pt x="2092" y="15686"/>
                      <a:pt x="2092" y="13371"/>
                    </a:cubicBezTo>
                    <a:cubicBezTo>
                      <a:pt x="2092" y="8229"/>
                      <a:pt x="2092" y="8229"/>
                      <a:pt x="2092" y="8229"/>
                    </a:cubicBezTo>
                    <a:cubicBezTo>
                      <a:pt x="2092" y="3600"/>
                      <a:pt x="5872" y="0"/>
                      <a:pt x="10732" y="0"/>
                    </a:cubicBezTo>
                    <a:cubicBezTo>
                      <a:pt x="15592" y="0"/>
                      <a:pt x="19372" y="3600"/>
                      <a:pt x="19372" y="8229"/>
                    </a:cubicBezTo>
                    <a:cubicBezTo>
                      <a:pt x="19372" y="13371"/>
                      <a:pt x="19372" y="13371"/>
                      <a:pt x="19372" y="13371"/>
                    </a:cubicBezTo>
                    <a:cubicBezTo>
                      <a:pt x="19372" y="15686"/>
                      <a:pt x="20182" y="18000"/>
                      <a:pt x="21262" y="20057"/>
                    </a:cubicBezTo>
                    <a:cubicBezTo>
                      <a:pt x="21532" y="20314"/>
                      <a:pt x="21532" y="20829"/>
                      <a:pt x="21262" y="21086"/>
                    </a:cubicBezTo>
                    <a:cubicBezTo>
                      <a:pt x="21262" y="21343"/>
                      <a:pt x="20722" y="21600"/>
                      <a:pt x="20452" y="21600"/>
                    </a:cubicBezTo>
                    <a:close/>
                    <a:moveTo>
                      <a:pt x="2902" y="19543"/>
                    </a:moveTo>
                    <a:cubicBezTo>
                      <a:pt x="18562" y="19543"/>
                      <a:pt x="18562" y="19543"/>
                      <a:pt x="18562" y="19543"/>
                    </a:cubicBezTo>
                    <a:cubicBezTo>
                      <a:pt x="17752" y="17486"/>
                      <a:pt x="17212" y="15429"/>
                      <a:pt x="17212" y="13371"/>
                    </a:cubicBezTo>
                    <a:cubicBezTo>
                      <a:pt x="17212" y="8229"/>
                      <a:pt x="17212" y="8229"/>
                      <a:pt x="17212" y="8229"/>
                    </a:cubicBezTo>
                    <a:cubicBezTo>
                      <a:pt x="17212" y="4886"/>
                      <a:pt x="14242" y="2057"/>
                      <a:pt x="10732" y="2057"/>
                    </a:cubicBezTo>
                    <a:cubicBezTo>
                      <a:pt x="7222" y="2057"/>
                      <a:pt x="4252" y="4886"/>
                      <a:pt x="4252" y="8229"/>
                    </a:cubicBezTo>
                    <a:cubicBezTo>
                      <a:pt x="4252" y="13371"/>
                      <a:pt x="4252" y="13371"/>
                      <a:pt x="4252" y="13371"/>
                    </a:cubicBezTo>
                    <a:cubicBezTo>
                      <a:pt x="4252" y="15429"/>
                      <a:pt x="3712" y="17486"/>
                      <a:pt x="2902" y="19543"/>
                    </a:cubicBezTo>
                    <a:close/>
                  </a:path>
                </a:pathLst>
              </a:custGeom>
              <a:solidFill>
                <a:srgbClr val="FFFFFF"/>
              </a:solidFill>
              <a:ln w="12700" cap="flat">
                <a:noFill/>
                <a:miter lim="400000"/>
              </a:ln>
              <a:effectLst/>
            </p:spPr>
            <p:txBody>
              <a:bodyPr wrap="square" lIns="0" tIns="0" rIns="0" bIns="0" numCol="1" anchor="t">
                <a:noAutofit/>
              </a:bodyPr>
              <a:lstStyle/>
              <a:p>
                <a:endParaRPr/>
              </a:p>
            </p:txBody>
          </p:sp>
          <p:sp>
            <p:nvSpPr>
              <p:cNvPr id="709" name="Shape 709"/>
              <p:cNvSpPr/>
              <p:nvPr/>
            </p:nvSpPr>
            <p:spPr>
              <a:xfrm>
                <a:off x="96729" y="291458"/>
                <a:ext cx="73803" cy="26086"/>
              </a:xfrm>
              <a:custGeom>
                <a:avLst/>
                <a:gdLst/>
                <a:ahLst/>
                <a:cxnLst>
                  <a:cxn ang="0">
                    <a:pos x="wd2" y="hd2"/>
                  </a:cxn>
                  <a:cxn ang="5400000">
                    <a:pos x="wd2" y="hd2"/>
                  </a:cxn>
                  <a:cxn ang="10800000">
                    <a:pos x="wd2" y="hd2"/>
                  </a:cxn>
                  <a:cxn ang="16200000">
                    <a:pos x="wd2" y="hd2"/>
                  </a:cxn>
                </a:cxnLst>
                <a:rect l="0" t="0" r="r" b="b"/>
                <a:pathLst>
                  <a:path w="21600" h="17324" extrusionOk="0">
                    <a:moveTo>
                      <a:pt x="0" y="0"/>
                    </a:moveTo>
                    <a:cubicBezTo>
                      <a:pt x="1964" y="12960"/>
                      <a:pt x="8836" y="21600"/>
                      <a:pt x="14727" y="15120"/>
                    </a:cubicBezTo>
                    <a:cubicBezTo>
                      <a:pt x="17673" y="12960"/>
                      <a:pt x="20618" y="6480"/>
                      <a:pt x="21600" y="0"/>
                    </a:cubicBezTo>
                    <a:lnTo>
                      <a:pt x="0" y="0"/>
                    </a:lnTo>
                    <a:close/>
                  </a:path>
                </a:pathLst>
              </a:custGeom>
              <a:solidFill>
                <a:srgbClr val="FFFFFF"/>
              </a:solidFill>
              <a:ln w="12700" cap="flat">
                <a:noFill/>
                <a:miter lim="400000"/>
              </a:ln>
              <a:effectLst/>
            </p:spPr>
            <p:txBody>
              <a:bodyPr wrap="square" lIns="0" tIns="0" rIns="0" bIns="0" numCol="1" anchor="t">
                <a:noAutofit/>
              </a:bodyPr>
              <a:lstStyle/>
              <a:p>
                <a:endParaRPr/>
              </a:p>
            </p:txBody>
          </p:sp>
        </p:grpSp>
      </p:grpSp>
      <p:grpSp>
        <p:nvGrpSpPr>
          <p:cNvPr id="716" name="Group 716"/>
          <p:cNvGrpSpPr/>
          <p:nvPr/>
        </p:nvGrpSpPr>
        <p:grpSpPr>
          <a:xfrm>
            <a:off x="10473384" y="3615583"/>
            <a:ext cx="1202819" cy="317728"/>
            <a:chOff x="0" y="0"/>
            <a:chExt cx="1202817" cy="317726"/>
          </a:xfrm>
        </p:grpSpPr>
        <p:sp>
          <p:nvSpPr>
            <p:cNvPr id="712" name="Shape 712"/>
            <p:cNvSpPr/>
            <p:nvPr/>
          </p:nvSpPr>
          <p:spPr>
            <a:xfrm>
              <a:off x="448791" y="43327"/>
              <a:ext cx="754027" cy="1973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defRPr sz="1400">
                  <a:solidFill>
                    <a:srgbClr val="009DE0"/>
                  </a:solidFill>
                </a:defRPr>
              </a:lvl1pPr>
            </a:lstStyle>
            <a:p>
              <a:r>
                <a:t>Section 6</a:t>
              </a:r>
            </a:p>
          </p:txBody>
        </p:sp>
        <p:grpSp>
          <p:nvGrpSpPr>
            <p:cNvPr id="715" name="Group 715"/>
            <p:cNvGrpSpPr/>
            <p:nvPr/>
          </p:nvGrpSpPr>
          <p:grpSpPr>
            <a:xfrm>
              <a:off x="0" y="0"/>
              <a:ext cx="267692" cy="317727"/>
              <a:chOff x="0" y="0"/>
              <a:chExt cx="267691" cy="317726"/>
            </a:xfrm>
          </p:grpSpPr>
          <p:sp>
            <p:nvSpPr>
              <p:cNvPr id="713" name="Shape 713"/>
              <p:cNvSpPr/>
              <p:nvPr/>
            </p:nvSpPr>
            <p:spPr>
              <a:xfrm>
                <a:off x="-1" y="0"/>
                <a:ext cx="267693" cy="317727"/>
              </a:xfrm>
              <a:custGeom>
                <a:avLst/>
                <a:gdLst/>
                <a:ahLst/>
                <a:cxnLst>
                  <a:cxn ang="0">
                    <a:pos x="wd2" y="hd2"/>
                  </a:cxn>
                  <a:cxn ang="5400000">
                    <a:pos x="wd2" y="hd2"/>
                  </a:cxn>
                  <a:cxn ang="10800000">
                    <a:pos x="wd2" y="hd2"/>
                  </a:cxn>
                  <a:cxn ang="16200000">
                    <a:pos x="wd2" y="hd2"/>
                  </a:cxn>
                </a:cxnLst>
                <a:rect l="0" t="0" r="r" b="b"/>
                <a:pathLst>
                  <a:path w="21600" h="21600" extrusionOk="0">
                    <a:moveTo>
                      <a:pt x="20520" y="21600"/>
                    </a:moveTo>
                    <a:cubicBezTo>
                      <a:pt x="1080" y="21600"/>
                      <a:pt x="1080" y="21600"/>
                      <a:pt x="1080" y="21600"/>
                    </a:cubicBezTo>
                    <a:cubicBezTo>
                      <a:pt x="540" y="21600"/>
                      <a:pt x="0" y="21150"/>
                      <a:pt x="0" y="20700"/>
                    </a:cubicBezTo>
                    <a:cubicBezTo>
                      <a:pt x="0" y="900"/>
                      <a:pt x="0" y="900"/>
                      <a:pt x="0" y="900"/>
                    </a:cubicBezTo>
                    <a:cubicBezTo>
                      <a:pt x="0" y="450"/>
                      <a:pt x="540" y="0"/>
                      <a:pt x="1080" y="0"/>
                    </a:cubicBezTo>
                    <a:cubicBezTo>
                      <a:pt x="20520" y="0"/>
                      <a:pt x="20520" y="0"/>
                      <a:pt x="20520" y="0"/>
                    </a:cubicBezTo>
                    <a:cubicBezTo>
                      <a:pt x="21060" y="0"/>
                      <a:pt x="21600" y="450"/>
                      <a:pt x="21600" y="900"/>
                    </a:cubicBezTo>
                    <a:cubicBezTo>
                      <a:pt x="21600" y="20700"/>
                      <a:pt x="21600" y="20700"/>
                      <a:pt x="21600" y="20700"/>
                    </a:cubicBezTo>
                    <a:cubicBezTo>
                      <a:pt x="21600" y="21150"/>
                      <a:pt x="21060" y="21600"/>
                      <a:pt x="20520" y="21600"/>
                    </a:cubicBezTo>
                    <a:close/>
                    <a:moveTo>
                      <a:pt x="2160" y="19800"/>
                    </a:moveTo>
                    <a:cubicBezTo>
                      <a:pt x="19440" y="19800"/>
                      <a:pt x="19440" y="19800"/>
                      <a:pt x="19440" y="19800"/>
                    </a:cubicBezTo>
                    <a:cubicBezTo>
                      <a:pt x="19440" y="1800"/>
                      <a:pt x="19440" y="1800"/>
                      <a:pt x="19440" y="1800"/>
                    </a:cubicBezTo>
                    <a:cubicBezTo>
                      <a:pt x="2160" y="1800"/>
                      <a:pt x="2160" y="1800"/>
                      <a:pt x="2160" y="1800"/>
                    </a:cubicBezTo>
                    <a:lnTo>
                      <a:pt x="2160" y="19800"/>
                    </a:lnTo>
                    <a:close/>
                    <a:moveTo>
                      <a:pt x="10800" y="18000"/>
                    </a:moveTo>
                    <a:cubicBezTo>
                      <a:pt x="10260" y="18000"/>
                      <a:pt x="9720" y="17550"/>
                      <a:pt x="9720" y="17100"/>
                    </a:cubicBezTo>
                    <a:cubicBezTo>
                      <a:pt x="9720" y="4500"/>
                      <a:pt x="9720" y="4500"/>
                      <a:pt x="9720" y="4500"/>
                    </a:cubicBezTo>
                    <a:cubicBezTo>
                      <a:pt x="9720" y="4050"/>
                      <a:pt x="10260" y="3600"/>
                      <a:pt x="10800" y="3600"/>
                    </a:cubicBezTo>
                    <a:cubicBezTo>
                      <a:pt x="11340" y="3600"/>
                      <a:pt x="11880" y="4050"/>
                      <a:pt x="11880" y="4500"/>
                    </a:cubicBezTo>
                    <a:cubicBezTo>
                      <a:pt x="11880" y="17100"/>
                      <a:pt x="11880" y="17100"/>
                      <a:pt x="11880" y="17100"/>
                    </a:cubicBezTo>
                    <a:cubicBezTo>
                      <a:pt x="11880" y="17550"/>
                      <a:pt x="11340" y="18000"/>
                      <a:pt x="10800" y="18000"/>
                    </a:cubicBezTo>
                    <a:close/>
                  </a:path>
                </a:pathLst>
              </a:custGeom>
              <a:solidFill>
                <a:srgbClr val="009DE0"/>
              </a:solidFill>
              <a:ln w="12700" cap="flat">
                <a:noFill/>
                <a:miter lim="400000"/>
              </a:ln>
              <a:effectLst/>
            </p:spPr>
            <p:txBody>
              <a:bodyPr wrap="square" lIns="0" tIns="0" rIns="0" bIns="0" numCol="1" anchor="t">
                <a:noAutofit/>
              </a:bodyPr>
              <a:lstStyle/>
              <a:p>
                <a:endParaRPr/>
              </a:p>
            </p:txBody>
          </p:sp>
          <p:sp>
            <p:nvSpPr>
              <p:cNvPr id="714" name="Shape 714"/>
              <p:cNvSpPr/>
              <p:nvPr/>
            </p:nvSpPr>
            <p:spPr>
              <a:xfrm>
                <a:off x="69568" y="72140"/>
                <a:ext cx="122374" cy="166781"/>
              </a:xfrm>
              <a:custGeom>
                <a:avLst/>
                <a:gdLst/>
                <a:ahLst/>
                <a:cxnLst>
                  <a:cxn ang="0">
                    <a:pos x="wd2" y="hd2"/>
                  </a:cxn>
                  <a:cxn ang="5400000">
                    <a:pos x="wd2" y="hd2"/>
                  </a:cxn>
                  <a:cxn ang="10800000">
                    <a:pos x="wd2" y="hd2"/>
                  </a:cxn>
                  <a:cxn ang="16200000">
                    <a:pos x="wd2" y="hd2"/>
                  </a:cxn>
                </a:cxnLst>
                <a:rect l="0" t="0" r="r" b="b"/>
                <a:pathLst>
                  <a:path w="20922" h="20869" extrusionOk="0">
                    <a:moveTo>
                      <a:pt x="10455" y="20869"/>
                    </a:moveTo>
                    <a:cubicBezTo>
                      <a:pt x="7613" y="20869"/>
                      <a:pt x="4202" y="20038"/>
                      <a:pt x="1360" y="19623"/>
                    </a:cubicBezTo>
                    <a:cubicBezTo>
                      <a:pt x="223" y="19207"/>
                      <a:pt x="-345" y="17961"/>
                      <a:pt x="223" y="17131"/>
                    </a:cubicBezTo>
                    <a:cubicBezTo>
                      <a:pt x="223" y="16300"/>
                      <a:pt x="1929" y="15884"/>
                      <a:pt x="3066" y="16300"/>
                    </a:cubicBezTo>
                    <a:cubicBezTo>
                      <a:pt x="7613" y="17546"/>
                      <a:pt x="12729" y="17961"/>
                      <a:pt x="15002" y="16715"/>
                    </a:cubicBezTo>
                    <a:cubicBezTo>
                      <a:pt x="15571" y="16300"/>
                      <a:pt x="16139" y="15884"/>
                      <a:pt x="16139" y="14638"/>
                    </a:cubicBezTo>
                    <a:cubicBezTo>
                      <a:pt x="16139" y="13392"/>
                      <a:pt x="14434" y="12977"/>
                      <a:pt x="10455" y="12146"/>
                    </a:cubicBezTo>
                    <a:cubicBezTo>
                      <a:pt x="6476" y="10900"/>
                      <a:pt x="1360" y="9654"/>
                      <a:pt x="1360" y="5500"/>
                    </a:cubicBezTo>
                    <a:cubicBezTo>
                      <a:pt x="1360" y="3423"/>
                      <a:pt x="2497" y="1761"/>
                      <a:pt x="4771" y="931"/>
                    </a:cubicBezTo>
                    <a:cubicBezTo>
                      <a:pt x="9318" y="-731"/>
                      <a:pt x="16708" y="100"/>
                      <a:pt x="20118" y="1346"/>
                    </a:cubicBezTo>
                    <a:cubicBezTo>
                      <a:pt x="20687" y="1761"/>
                      <a:pt x="21255" y="3007"/>
                      <a:pt x="20687" y="3838"/>
                    </a:cubicBezTo>
                    <a:cubicBezTo>
                      <a:pt x="20118" y="4669"/>
                      <a:pt x="18981" y="4669"/>
                      <a:pt x="17844" y="4254"/>
                    </a:cubicBezTo>
                    <a:cubicBezTo>
                      <a:pt x="15571" y="3423"/>
                      <a:pt x="9887" y="2592"/>
                      <a:pt x="7044" y="3838"/>
                    </a:cubicBezTo>
                    <a:cubicBezTo>
                      <a:pt x="5908" y="4254"/>
                      <a:pt x="5908" y="4669"/>
                      <a:pt x="5908" y="5500"/>
                    </a:cubicBezTo>
                    <a:cubicBezTo>
                      <a:pt x="5908" y="7161"/>
                      <a:pt x="7613" y="7992"/>
                      <a:pt x="12160" y="8823"/>
                    </a:cubicBezTo>
                    <a:cubicBezTo>
                      <a:pt x="15571" y="9654"/>
                      <a:pt x="20687" y="10900"/>
                      <a:pt x="20687" y="14638"/>
                    </a:cubicBezTo>
                    <a:cubicBezTo>
                      <a:pt x="20687" y="17131"/>
                      <a:pt x="18981" y="18792"/>
                      <a:pt x="17276" y="19623"/>
                    </a:cubicBezTo>
                    <a:cubicBezTo>
                      <a:pt x="15571" y="20454"/>
                      <a:pt x="13297" y="20869"/>
                      <a:pt x="10455" y="20869"/>
                    </a:cubicBezTo>
                    <a:close/>
                  </a:path>
                </a:pathLst>
              </a:custGeom>
              <a:solidFill>
                <a:srgbClr val="009DE0"/>
              </a:solidFill>
              <a:ln w="12700" cap="flat">
                <a:noFill/>
                <a:miter lim="400000"/>
              </a:ln>
              <a:effectLst/>
            </p:spPr>
            <p:txBody>
              <a:bodyPr wrap="square" lIns="0" tIns="0" rIns="0" bIns="0" numCol="1" anchor="t">
                <a:noAutofit/>
              </a:bodyPr>
              <a:lstStyle/>
              <a:p>
                <a:endParaRPr/>
              </a:p>
            </p:txBody>
          </p:sp>
        </p:grpSp>
      </p:grpSp>
      <p:grpSp>
        <p:nvGrpSpPr>
          <p:cNvPr id="721" name="Group 721"/>
          <p:cNvGrpSpPr/>
          <p:nvPr/>
        </p:nvGrpSpPr>
        <p:grpSpPr>
          <a:xfrm>
            <a:off x="10447117" y="187574"/>
            <a:ext cx="1229086" cy="292710"/>
            <a:chOff x="0" y="0"/>
            <a:chExt cx="1229085" cy="292708"/>
          </a:xfrm>
        </p:grpSpPr>
        <p:sp>
          <p:nvSpPr>
            <p:cNvPr id="717" name="Shape 717"/>
            <p:cNvSpPr/>
            <p:nvPr/>
          </p:nvSpPr>
          <p:spPr>
            <a:xfrm>
              <a:off x="475060" y="47661"/>
              <a:ext cx="754026" cy="1973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defRPr sz="1400">
                  <a:solidFill>
                    <a:srgbClr val="009DE0"/>
                  </a:solidFill>
                </a:defRPr>
              </a:lvl1pPr>
            </a:lstStyle>
            <a:p>
              <a:r>
                <a:t>Section 1</a:t>
              </a:r>
            </a:p>
          </p:txBody>
        </p:sp>
        <p:grpSp>
          <p:nvGrpSpPr>
            <p:cNvPr id="720" name="Group 720"/>
            <p:cNvGrpSpPr/>
            <p:nvPr/>
          </p:nvGrpSpPr>
          <p:grpSpPr>
            <a:xfrm>
              <a:off x="0" y="0"/>
              <a:ext cx="320230" cy="292710"/>
              <a:chOff x="0" y="0"/>
              <a:chExt cx="320229" cy="292709"/>
            </a:xfrm>
          </p:grpSpPr>
          <p:sp>
            <p:nvSpPr>
              <p:cNvPr id="718" name="Shape 718"/>
              <p:cNvSpPr/>
              <p:nvPr/>
            </p:nvSpPr>
            <p:spPr>
              <a:xfrm>
                <a:off x="-1" y="-1"/>
                <a:ext cx="320231" cy="292710"/>
              </a:xfrm>
              <a:custGeom>
                <a:avLst/>
                <a:gdLst/>
                <a:ahLst/>
                <a:cxnLst>
                  <a:cxn ang="0">
                    <a:pos x="wd2" y="hd2"/>
                  </a:cxn>
                  <a:cxn ang="5400000">
                    <a:pos x="wd2" y="hd2"/>
                  </a:cxn>
                  <a:cxn ang="10800000">
                    <a:pos x="wd2" y="hd2"/>
                  </a:cxn>
                  <a:cxn ang="16200000">
                    <a:pos x="wd2" y="hd2"/>
                  </a:cxn>
                </a:cxnLst>
                <a:rect l="0" t="0" r="r" b="b"/>
                <a:pathLst>
                  <a:path w="21600" h="21600" extrusionOk="0">
                    <a:moveTo>
                      <a:pt x="18900" y="21600"/>
                    </a:moveTo>
                    <a:cubicBezTo>
                      <a:pt x="14400" y="21600"/>
                      <a:pt x="14400" y="21600"/>
                      <a:pt x="14400" y="21600"/>
                    </a:cubicBezTo>
                    <a:cubicBezTo>
                      <a:pt x="13950" y="21600"/>
                      <a:pt x="13500" y="21109"/>
                      <a:pt x="13500" y="20618"/>
                    </a:cubicBezTo>
                    <a:cubicBezTo>
                      <a:pt x="13500" y="20127"/>
                      <a:pt x="13950" y="19636"/>
                      <a:pt x="14400" y="19636"/>
                    </a:cubicBezTo>
                    <a:cubicBezTo>
                      <a:pt x="18900" y="19636"/>
                      <a:pt x="18900" y="19636"/>
                      <a:pt x="18900" y="19636"/>
                    </a:cubicBezTo>
                    <a:cubicBezTo>
                      <a:pt x="19350" y="19636"/>
                      <a:pt x="19800" y="19145"/>
                      <a:pt x="19800" y="18655"/>
                    </a:cubicBezTo>
                    <a:cubicBezTo>
                      <a:pt x="19800" y="5891"/>
                      <a:pt x="19800" y="5891"/>
                      <a:pt x="19800" y="5891"/>
                    </a:cubicBezTo>
                    <a:cubicBezTo>
                      <a:pt x="10800" y="5891"/>
                      <a:pt x="10800" y="5891"/>
                      <a:pt x="10800" y="5891"/>
                    </a:cubicBezTo>
                    <a:cubicBezTo>
                      <a:pt x="10575" y="5891"/>
                      <a:pt x="10350" y="5645"/>
                      <a:pt x="10125" y="5400"/>
                    </a:cubicBezTo>
                    <a:cubicBezTo>
                      <a:pt x="7650" y="1964"/>
                      <a:pt x="7650" y="1964"/>
                      <a:pt x="7650" y="1964"/>
                    </a:cubicBezTo>
                    <a:cubicBezTo>
                      <a:pt x="1800" y="1964"/>
                      <a:pt x="1800" y="1964"/>
                      <a:pt x="1800" y="1964"/>
                    </a:cubicBezTo>
                    <a:cubicBezTo>
                      <a:pt x="1800" y="18655"/>
                      <a:pt x="1800" y="18655"/>
                      <a:pt x="1800" y="18655"/>
                    </a:cubicBezTo>
                    <a:cubicBezTo>
                      <a:pt x="1800" y="19145"/>
                      <a:pt x="2250" y="19636"/>
                      <a:pt x="2700" y="19636"/>
                    </a:cubicBezTo>
                    <a:cubicBezTo>
                      <a:pt x="3600" y="19636"/>
                      <a:pt x="3600" y="19636"/>
                      <a:pt x="3600" y="19636"/>
                    </a:cubicBezTo>
                    <a:cubicBezTo>
                      <a:pt x="4050" y="19636"/>
                      <a:pt x="4500" y="20127"/>
                      <a:pt x="4500" y="20618"/>
                    </a:cubicBezTo>
                    <a:cubicBezTo>
                      <a:pt x="4500" y="21109"/>
                      <a:pt x="4050" y="21600"/>
                      <a:pt x="3600" y="21600"/>
                    </a:cubicBezTo>
                    <a:cubicBezTo>
                      <a:pt x="2700" y="21600"/>
                      <a:pt x="2700" y="21600"/>
                      <a:pt x="2700" y="21600"/>
                    </a:cubicBezTo>
                    <a:cubicBezTo>
                      <a:pt x="1125" y="21600"/>
                      <a:pt x="0" y="20373"/>
                      <a:pt x="0" y="18655"/>
                    </a:cubicBezTo>
                    <a:cubicBezTo>
                      <a:pt x="0" y="982"/>
                      <a:pt x="0" y="982"/>
                      <a:pt x="0" y="982"/>
                    </a:cubicBezTo>
                    <a:cubicBezTo>
                      <a:pt x="0" y="491"/>
                      <a:pt x="450" y="0"/>
                      <a:pt x="900" y="0"/>
                    </a:cubicBezTo>
                    <a:cubicBezTo>
                      <a:pt x="8100" y="0"/>
                      <a:pt x="8100" y="0"/>
                      <a:pt x="8100" y="0"/>
                    </a:cubicBezTo>
                    <a:cubicBezTo>
                      <a:pt x="8325" y="0"/>
                      <a:pt x="8550" y="245"/>
                      <a:pt x="8775" y="491"/>
                    </a:cubicBezTo>
                    <a:cubicBezTo>
                      <a:pt x="11250" y="3927"/>
                      <a:pt x="11250" y="3927"/>
                      <a:pt x="11250" y="3927"/>
                    </a:cubicBezTo>
                    <a:cubicBezTo>
                      <a:pt x="20700" y="3927"/>
                      <a:pt x="20700" y="3927"/>
                      <a:pt x="20700" y="3927"/>
                    </a:cubicBezTo>
                    <a:cubicBezTo>
                      <a:pt x="21150" y="3927"/>
                      <a:pt x="21600" y="4418"/>
                      <a:pt x="21600" y="4909"/>
                    </a:cubicBezTo>
                    <a:cubicBezTo>
                      <a:pt x="21600" y="18655"/>
                      <a:pt x="21600" y="18655"/>
                      <a:pt x="21600" y="18655"/>
                    </a:cubicBezTo>
                    <a:cubicBezTo>
                      <a:pt x="21600" y="20373"/>
                      <a:pt x="20475" y="21600"/>
                      <a:pt x="18900" y="21600"/>
                    </a:cubicBezTo>
                    <a:close/>
                  </a:path>
                </a:pathLst>
              </a:custGeom>
              <a:solidFill>
                <a:srgbClr val="009DE0"/>
              </a:solidFill>
              <a:ln w="12700" cap="flat">
                <a:noFill/>
                <a:miter lim="400000"/>
              </a:ln>
              <a:effectLst/>
            </p:spPr>
            <p:txBody>
              <a:bodyPr wrap="square" lIns="0" tIns="0" rIns="0" bIns="0" numCol="1" anchor="t">
                <a:noAutofit/>
              </a:bodyPr>
              <a:lstStyle/>
              <a:p>
                <a:endParaRPr/>
              </a:p>
            </p:txBody>
          </p:sp>
          <p:sp>
            <p:nvSpPr>
              <p:cNvPr id="719" name="Shape 719"/>
              <p:cNvSpPr/>
              <p:nvPr/>
            </p:nvSpPr>
            <p:spPr>
              <a:xfrm>
                <a:off x="93817" y="107157"/>
                <a:ext cx="185552" cy="185552"/>
              </a:xfrm>
              <a:custGeom>
                <a:avLst/>
                <a:gdLst/>
                <a:ahLst/>
                <a:cxnLst>
                  <a:cxn ang="0">
                    <a:pos x="wd2" y="hd2"/>
                  </a:cxn>
                  <a:cxn ang="5400000">
                    <a:pos x="wd2" y="hd2"/>
                  </a:cxn>
                  <a:cxn ang="10800000">
                    <a:pos x="wd2" y="hd2"/>
                  </a:cxn>
                  <a:cxn ang="16200000">
                    <a:pos x="wd2" y="hd2"/>
                  </a:cxn>
                </a:cxnLst>
                <a:rect l="0" t="0" r="r" b="b"/>
                <a:pathLst>
                  <a:path w="21504" h="21504" extrusionOk="0">
                    <a:moveTo>
                      <a:pt x="1543" y="21504"/>
                    </a:moveTo>
                    <a:cubicBezTo>
                      <a:pt x="1157" y="21504"/>
                      <a:pt x="771" y="21504"/>
                      <a:pt x="386" y="21118"/>
                    </a:cubicBezTo>
                    <a:cubicBezTo>
                      <a:pt x="0" y="20733"/>
                      <a:pt x="0" y="19961"/>
                      <a:pt x="0" y="19575"/>
                    </a:cubicBezTo>
                    <a:cubicBezTo>
                      <a:pt x="1543" y="13404"/>
                      <a:pt x="1543" y="13404"/>
                      <a:pt x="1543" y="13404"/>
                    </a:cubicBezTo>
                    <a:cubicBezTo>
                      <a:pt x="1543" y="13018"/>
                      <a:pt x="1929" y="13018"/>
                      <a:pt x="1929" y="12633"/>
                    </a:cubicBezTo>
                    <a:cubicBezTo>
                      <a:pt x="14271" y="290"/>
                      <a:pt x="14271" y="290"/>
                      <a:pt x="14271" y="290"/>
                    </a:cubicBezTo>
                    <a:cubicBezTo>
                      <a:pt x="15043" y="-96"/>
                      <a:pt x="15814" y="-96"/>
                      <a:pt x="16586" y="290"/>
                    </a:cubicBezTo>
                    <a:cubicBezTo>
                      <a:pt x="21214" y="4918"/>
                      <a:pt x="21214" y="4918"/>
                      <a:pt x="21214" y="4918"/>
                    </a:cubicBezTo>
                    <a:cubicBezTo>
                      <a:pt x="21600" y="5690"/>
                      <a:pt x="21600" y="6461"/>
                      <a:pt x="21214" y="7233"/>
                    </a:cubicBezTo>
                    <a:cubicBezTo>
                      <a:pt x="8871" y="19575"/>
                      <a:pt x="8871" y="19575"/>
                      <a:pt x="8871" y="19575"/>
                    </a:cubicBezTo>
                    <a:cubicBezTo>
                      <a:pt x="8486" y="19575"/>
                      <a:pt x="8486" y="19961"/>
                      <a:pt x="8100" y="19961"/>
                    </a:cubicBezTo>
                    <a:cubicBezTo>
                      <a:pt x="1929" y="21504"/>
                      <a:pt x="1929" y="21504"/>
                      <a:pt x="1929" y="21504"/>
                    </a:cubicBezTo>
                    <a:cubicBezTo>
                      <a:pt x="1929" y="21504"/>
                      <a:pt x="1543" y="21504"/>
                      <a:pt x="1543" y="21504"/>
                    </a:cubicBezTo>
                    <a:close/>
                    <a:moveTo>
                      <a:pt x="7714" y="18418"/>
                    </a:moveTo>
                    <a:cubicBezTo>
                      <a:pt x="7714" y="18418"/>
                      <a:pt x="7714" y="18418"/>
                      <a:pt x="7714" y="18418"/>
                    </a:cubicBezTo>
                    <a:close/>
                    <a:moveTo>
                      <a:pt x="4629" y="14561"/>
                    </a:moveTo>
                    <a:cubicBezTo>
                      <a:pt x="3471" y="18033"/>
                      <a:pt x="3471" y="18033"/>
                      <a:pt x="3471" y="18033"/>
                    </a:cubicBezTo>
                    <a:cubicBezTo>
                      <a:pt x="6943" y="16875"/>
                      <a:pt x="6943" y="16875"/>
                      <a:pt x="6943" y="16875"/>
                    </a:cubicBezTo>
                    <a:cubicBezTo>
                      <a:pt x="17743" y="6075"/>
                      <a:pt x="17743" y="6075"/>
                      <a:pt x="17743" y="6075"/>
                    </a:cubicBezTo>
                    <a:cubicBezTo>
                      <a:pt x="15429" y="3761"/>
                      <a:pt x="15429" y="3761"/>
                      <a:pt x="15429" y="3761"/>
                    </a:cubicBezTo>
                    <a:lnTo>
                      <a:pt x="4629" y="14561"/>
                    </a:lnTo>
                    <a:close/>
                  </a:path>
                </a:pathLst>
              </a:custGeom>
              <a:solidFill>
                <a:srgbClr val="009DE0"/>
              </a:solidFill>
              <a:ln w="12700" cap="flat">
                <a:noFill/>
                <a:miter lim="400000"/>
              </a:ln>
              <a:effectLst/>
            </p:spPr>
            <p:txBody>
              <a:bodyPr wrap="square" lIns="0" tIns="0" rIns="0" bIns="0" numCol="1" anchor="t">
                <a:noAutofit/>
              </a:bodyPr>
              <a:lstStyle/>
              <a:p>
                <a:endParaRPr/>
              </a:p>
            </p:txBody>
          </p:sp>
        </p:grpSp>
      </p:grpSp>
      <p:grpSp>
        <p:nvGrpSpPr>
          <p:cNvPr id="724" name="Group 724"/>
          <p:cNvGrpSpPr/>
          <p:nvPr/>
        </p:nvGrpSpPr>
        <p:grpSpPr>
          <a:xfrm>
            <a:off x="10455247" y="2234731"/>
            <a:ext cx="1220956" cy="290349"/>
            <a:chOff x="0" y="0"/>
            <a:chExt cx="1220954" cy="290348"/>
          </a:xfrm>
        </p:grpSpPr>
        <p:sp>
          <p:nvSpPr>
            <p:cNvPr id="722" name="Shape 722"/>
            <p:cNvSpPr/>
            <p:nvPr/>
          </p:nvSpPr>
          <p:spPr>
            <a:xfrm>
              <a:off x="466929" y="36410"/>
              <a:ext cx="754026" cy="19738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defRPr sz="1400">
                  <a:solidFill>
                    <a:srgbClr val="009DE0"/>
                  </a:solidFill>
                </a:defRPr>
              </a:lvl1pPr>
            </a:lstStyle>
            <a:p>
              <a:r>
                <a:t>Section 4</a:t>
              </a:r>
            </a:p>
          </p:txBody>
        </p:sp>
        <p:sp>
          <p:nvSpPr>
            <p:cNvPr id="723" name="Shape 723"/>
            <p:cNvSpPr/>
            <p:nvPr/>
          </p:nvSpPr>
          <p:spPr>
            <a:xfrm>
              <a:off x="0" y="0"/>
              <a:ext cx="303968" cy="290349"/>
            </a:xfrm>
            <a:custGeom>
              <a:avLst/>
              <a:gdLst/>
              <a:ahLst/>
              <a:cxnLst>
                <a:cxn ang="0">
                  <a:pos x="wd2" y="hd2"/>
                </a:cxn>
                <a:cxn ang="5400000">
                  <a:pos x="wd2" y="hd2"/>
                </a:cxn>
                <a:cxn ang="10800000">
                  <a:pos x="wd2" y="hd2"/>
                </a:cxn>
                <a:cxn ang="16200000">
                  <a:pos x="wd2" y="hd2"/>
                </a:cxn>
              </a:cxnLst>
              <a:rect l="0" t="0" r="r" b="b"/>
              <a:pathLst>
                <a:path w="21600" h="21426" extrusionOk="0">
                  <a:moveTo>
                    <a:pt x="20700" y="21426"/>
                  </a:moveTo>
                  <a:cubicBezTo>
                    <a:pt x="900" y="21426"/>
                    <a:pt x="900" y="21426"/>
                    <a:pt x="900" y="21426"/>
                  </a:cubicBezTo>
                  <a:cubicBezTo>
                    <a:pt x="450" y="21426"/>
                    <a:pt x="0" y="20961"/>
                    <a:pt x="0" y="20497"/>
                  </a:cubicBezTo>
                  <a:cubicBezTo>
                    <a:pt x="0" y="18174"/>
                    <a:pt x="0" y="18174"/>
                    <a:pt x="0" y="18174"/>
                  </a:cubicBezTo>
                  <a:cubicBezTo>
                    <a:pt x="0" y="16781"/>
                    <a:pt x="900" y="15852"/>
                    <a:pt x="2025" y="15387"/>
                  </a:cubicBezTo>
                  <a:cubicBezTo>
                    <a:pt x="3375" y="15155"/>
                    <a:pt x="6300" y="14226"/>
                    <a:pt x="6975" y="14226"/>
                  </a:cubicBezTo>
                  <a:cubicBezTo>
                    <a:pt x="7650" y="13994"/>
                    <a:pt x="7875" y="13529"/>
                    <a:pt x="7875" y="13529"/>
                  </a:cubicBezTo>
                  <a:cubicBezTo>
                    <a:pt x="8100" y="12600"/>
                    <a:pt x="7875" y="12136"/>
                    <a:pt x="7650" y="11903"/>
                  </a:cubicBezTo>
                  <a:cubicBezTo>
                    <a:pt x="6300" y="10974"/>
                    <a:pt x="5400" y="9349"/>
                    <a:pt x="5400" y="7491"/>
                  </a:cubicBezTo>
                  <a:cubicBezTo>
                    <a:pt x="5400" y="5632"/>
                    <a:pt x="5400" y="5632"/>
                    <a:pt x="5400" y="5632"/>
                  </a:cubicBezTo>
                  <a:cubicBezTo>
                    <a:pt x="5400" y="4007"/>
                    <a:pt x="6075" y="2613"/>
                    <a:pt x="7200" y="1452"/>
                  </a:cubicBezTo>
                  <a:cubicBezTo>
                    <a:pt x="8325" y="291"/>
                    <a:pt x="9900" y="-174"/>
                    <a:pt x="11250" y="58"/>
                  </a:cubicBezTo>
                  <a:cubicBezTo>
                    <a:pt x="14175" y="291"/>
                    <a:pt x="16200" y="2845"/>
                    <a:pt x="16200" y="5865"/>
                  </a:cubicBezTo>
                  <a:cubicBezTo>
                    <a:pt x="16200" y="7491"/>
                    <a:pt x="16200" y="7491"/>
                    <a:pt x="16200" y="7491"/>
                  </a:cubicBezTo>
                  <a:cubicBezTo>
                    <a:pt x="16200" y="9349"/>
                    <a:pt x="15525" y="10974"/>
                    <a:pt x="13950" y="11903"/>
                  </a:cubicBezTo>
                  <a:cubicBezTo>
                    <a:pt x="13725" y="12136"/>
                    <a:pt x="13500" y="12368"/>
                    <a:pt x="13725" y="13297"/>
                  </a:cubicBezTo>
                  <a:cubicBezTo>
                    <a:pt x="13950" y="13761"/>
                    <a:pt x="14175" y="13994"/>
                    <a:pt x="14625" y="14226"/>
                  </a:cubicBezTo>
                  <a:cubicBezTo>
                    <a:pt x="14625" y="14226"/>
                    <a:pt x="14850" y="14226"/>
                    <a:pt x="14850" y="14226"/>
                  </a:cubicBezTo>
                  <a:cubicBezTo>
                    <a:pt x="15075" y="14226"/>
                    <a:pt x="15975" y="14458"/>
                    <a:pt x="16650" y="14691"/>
                  </a:cubicBezTo>
                  <a:cubicBezTo>
                    <a:pt x="17775" y="14923"/>
                    <a:pt x="18675" y="15387"/>
                    <a:pt x="19575" y="15620"/>
                  </a:cubicBezTo>
                  <a:cubicBezTo>
                    <a:pt x="20700" y="15852"/>
                    <a:pt x="21600" y="17013"/>
                    <a:pt x="21600" y="18174"/>
                  </a:cubicBezTo>
                  <a:cubicBezTo>
                    <a:pt x="21600" y="20497"/>
                    <a:pt x="21600" y="20497"/>
                    <a:pt x="21600" y="20497"/>
                  </a:cubicBezTo>
                  <a:cubicBezTo>
                    <a:pt x="21600" y="20961"/>
                    <a:pt x="21150" y="21426"/>
                    <a:pt x="20700" y="21426"/>
                  </a:cubicBezTo>
                  <a:close/>
                  <a:moveTo>
                    <a:pt x="1800" y="19568"/>
                  </a:moveTo>
                  <a:cubicBezTo>
                    <a:pt x="19800" y="19568"/>
                    <a:pt x="19800" y="19568"/>
                    <a:pt x="19800" y="19568"/>
                  </a:cubicBezTo>
                  <a:cubicBezTo>
                    <a:pt x="19800" y="18174"/>
                    <a:pt x="19800" y="18174"/>
                    <a:pt x="19800" y="18174"/>
                  </a:cubicBezTo>
                  <a:cubicBezTo>
                    <a:pt x="19800" y="17710"/>
                    <a:pt x="19575" y="17478"/>
                    <a:pt x="19125" y="17245"/>
                  </a:cubicBezTo>
                  <a:cubicBezTo>
                    <a:pt x="19125" y="17245"/>
                    <a:pt x="19125" y="17245"/>
                    <a:pt x="19125" y="17245"/>
                  </a:cubicBezTo>
                  <a:cubicBezTo>
                    <a:pt x="18225" y="17013"/>
                    <a:pt x="17325" y="16781"/>
                    <a:pt x="16200" y="16549"/>
                  </a:cubicBezTo>
                  <a:cubicBezTo>
                    <a:pt x="15300" y="16316"/>
                    <a:pt x="14625" y="16084"/>
                    <a:pt x="14175" y="16084"/>
                  </a:cubicBezTo>
                  <a:cubicBezTo>
                    <a:pt x="13050" y="15620"/>
                    <a:pt x="12375" y="14923"/>
                    <a:pt x="11925" y="13994"/>
                  </a:cubicBezTo>
                  <a:cubicBezTo>
                    <a:pt x="11700" y="12368"/>
                    <a:pt x="11925" y="11207"/>
                    <a:pt x="13050" y="10510"/>
                  </a:cubicBezTo>
                  <a:cubicBezTo>
                    <a:pt x="13950" y="9813"/>
                    <a:pt x="14400" y="8652"/>
                    <a:pt x="14400" y="7491"/>
                  </a:cubicBezTo>
                  <a:cubicBezTo>
                    <a:pt x="14400" y="5865"/>
                    <a:pt x="14400" y="5865"/>
                    <a:pt x="14400" y="5865"/>
                  </a:cubicBezTo>
                  <a:cubicBezTo>
                    <a:pt x="14400" y="3774"/>
                    <a:pt x="13050" y="2149"/>
                    <a:pt x="11250" y="1916"/>
                  </a:cubicBezTo>
                  <a:cubicBezTo>
                    <a:pt x="10125" y="1916"/>
                    <a:pt x="9225" y="2149"/>
                    <a:pt x="8325" y="2845"/>
                  </a:cubicBezTo>
                  <a:cubicBezTo>
                    <a:pt x="7650" y="3542"/>
                    <a:pt x="7200" y="4471"/>
                    <a:pt x="7200" y="5632"/>
                  </a:cubicBezTo>
                  <a:cubicBezTo>
                    <a:pt x="7200" y="7491"/>
                    <a:pt x="7200" y="7491"/>
                    <a:pt x="7200" y="7491"/>
                  </a:cubicBezTo>
                  <a:cubicBezTo>
                    <a:pt x="7200" y="8652"/>
                    <a:pt x="7650" y="9813"/>
                    <a:pt x="8550" y="10510"/>
                  </a:cubicBezTo>
                  <a:cubicBezTo>
                    <a:pt x="9450" y="10974"/>
                    <a:pt x="10125" y="12136"/>
                    <a:pt x="9675" y="13994"/>
                  </a:cubicBezTo>
                  <a:cubicBezTo>
                    <a:pt x="9450" y="14923"/>
                    <a:pt x="8550" y="15620"/>
                    <a:pt x="7200" y="16084"/>
                  </a:cubicBezTo>
                  <a:cubicBezTo>
                    <a:pt x="6750" y="16084"/>
                    <a:pt x="4275" y="16781"/>
                    <a:pt x="2475" y="17245"/>
                  </a:cubicBezTo>
                  <a:cubicBezTo>
                    <a:pt x="2025" y="17478"/>
                    <a:pt x="1800" y="17710"/>
                    <a:pt x="1800" y="18174"/>
                  </a:cubicBezTo>
                  <a:lnTo>
                    <a:pt x="1800" y="19568"/>
                  </a:lnTo>
                  <a:close/>
                </a:path>
              </a:pathLst>
            </a:custGeom>
            <a:solidFill>
              <a:srgbClr val="009DE0"/>
            </a:solidFill>
            <a:ln w="12700" cap="flat">
              <a:noFill/>
              <a:miter lim="400000"/>
            </a:ln>
            <a:effectLst/>
          </p:spPr>
          <p:txBody>
            <a:bodyPr wrap="square" lIns="0" tIns="0" rIns="0" bIns="0" numCol="1" anchor="t">
              <a:noAutofit/>
            </a:bodyPr>
            <a:lstStyle/>
            <a:p>
              <a:endParaRPr/>
            </a:p>
          </p:txBody>
        </p:sp>
      </p:grpSp>
      <p:grpSp>
        <p:nvGrpSpPr>
          <p:cNvPr id="727" name="Group 727"/>
          <p:cNvGrpSpPr/>
          <p:nvPr/>
        </p:nvGrpSpPr>
        <p:grpSpPr>
          <a:xfrm>
            <a:off x="10461708" y="4999635"/>
            <a:ext cx="1214495" cy="268102"/>
            <a:chOff x="0" y="0"/>
            <a:chExt cx="1214493" cy="268101"/>
          </a:xfrm>
        </p:grpSpPr>
        <p:sp>
          <p:nvSpPr>
            <p:cNvPr id="725" name="Shape 725"/>
            <p:cNvSpPr/>
            <p:nvPr/>
          </p:nvSpPr>
          <p:spPr>
            <a:xfrm>
              <a:off x="460468" y="57063"/>
              <a:ext cx="754026" cy="1973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defRPr sz="1400">
                  <a:solidFill>
                    <a:srgbClr val="009DE0"/>
                  </a:solidFill>
                </a:defRPr>
              </a:lvl1pPr>
            </a:lstStyle>
            <a:p>
              <a:r>
                <a:t>Section 8</a:t>
              </a:r>
            </a:p>
          </p:txBody>
        </p:sp>
        <p:sp>
          <p:nvSpPr>
            <p:cNvPr id="726" name="Shape 726"/>
            <p:cNvSpPr/>
            <p:nvPr/>
          </p:nvSpPr>
          <p:spPr>
            <a:xfrm>
              <a:off x="-1" y="0"/>
              <a:ext cx="283731" cy="268102"/>
            </a:xfrm>
            <a:custGeom>
              <a:avLst/>
              <a:gdLst/>
              <a:ahLst/>
              <a:cxnLst>
                <a:cxn ang="0">
                  <a:pos x="wd2" y="hd2"/>
                </a:cxn>
                <a:cxn ang="5400000">
                  <a:pos x="wd2" y="hd2"/>
                </a:cxn>
                <a:cxn ang="10800000">
                  <a:pos x="wd2" y="hd2"/>
                </a:cxn>
                <a:cxn ang="16200000">
                  <a:pos x="wd2" y="hd2"/>
                </a:cxn>
              </a:cxnLst>
              <a:rect l="0" t="0" r="r" b="b"/>
              <a:pathLst>
                <a:path w="20937" h="21532" extrusionOk="0">
                  <a:moveTo>
                    <a:pt x="18594" y="21532"/>
                  </a:moveTo>
                  <a:cubicBezTo>
                    <a:pt x="18348" y="21532"/>
                    <a:pt x="18103" y="21532"/>
                    <a:pt x="17857" y="21262"/>
                  </a:cubicBezTo>
                  <a:cubicBezTo>
                    <a:pt x="14912" y="18022"/>
                    <a:pt x="14912" y="18022"/>
                    <a:pt x="14912" y="18022"/>
                  </a:cubicBezTo>
                  <a:cubicBezTo>
                    <a:pt x="14666" y="17482"/>
                    <a:pt x="14666" y="16942"/>
                    <a:pt x="14912" y="16402"/>
                  </a:cubicBezTo>
                  <a:cubicBezTo>
                    <a:pt x="15403" y="16132"/>
                    <a:pt x="15894" y="16132"/>
                    <a:pt x="16384" y="16402"/>
                  </a:cubicBezTo>
                  <a:cubicBezTo>
                    <a:pt x="19330" y="19642"/>
                    <a:pt x="19330" y="19642"/>
                    <a:pt x="19330" y="19642"/>
                  </a:cubicBezTo>
                  <a:cubicBezTo>
                    <a:pt x="19575" y="20182"/>
                    <a:pt x="19575" y="20722"/>
                    <a:pt x="19330" y="21262"/>
                  </a:cubicBezTo>
                  <a:cubicBezTo>
                    <a:pt x="19084" y="21532"/>
                    <a:pt x="18839" y="21532"/>
                    <a:pt x="18594" y="21532"/>
                  </a:cubicBezTo>
                  <a:close/>
                  <a:moveTo>
                    <a:pt x="2884" y="21532"/>
                  </a:moveTo>
                  <a:cubicBezTo>
                    <a:pt x="2639" y="21532"/>
                    <a:pt x="2394" y="21532"/>
                    <a:pt x="2148" y="21262"/>
                  </a:cubicBezTo>
                  <a:cubicBezTo>
                    <a:pt x="1903" y="20722"/>
                    <a:pt x="1903" y="20182"/>
                    <a:pt x="2148" y="19642"/>
                  </a:cubicBezTo>
                  <a:cubicBezTo>
                    <a:pt x="9266" y="11812"/>
                    <a:pt x="9266" y="11812"/>
                    <a:pt x="9266" y="11812"/>
                  </a:cubicBezTo>
                  <a:cubicBezTo>
                    <a:pt x="7794" y="10192"/>
                    <a:pt x="7794" y="10192"/>
                    <a:pt x="7794" y="10192"/>
                  </a:cubicBezTo>
                  <a:cubicBezTo>
                    <a:pt x="6566" y="11542"/>
                    <a:pt x="6566" y="11542"/>
                    <a:pt x="6566" y="11542"/>
                  </a:cubicBezTo>
                  <a:cubicBezTo>
                    <a:pt x="6075" y="11812"/>
                    <a:pt x="5584" y="11812"/>
                    <a:pt x="5094" y="11542"/>
                  </a:cubicBezTo>
                  <a:cubicBezTo>
                    <a:pt x="184" y="6142"/>
                    <a:pt x="184" y="6142"/>
                    <a:pt x="184" y="6142"/>
                  </a:cubicBezTo>
                  <a:cubicBezTo>
                    <a:pt x="-61" y="5602"/>
                    <a:pt x="-61" y="5062"/>
                    <a:pt x="184" y="4522"/>
                  </a:cubicBezTo>
                  <a:cubicBezTo>
                    <a:pt x="675" y="4252"/>
                    <a:pt x="1166" y="4252"/>
                    <a:pt x="1657" y="4522"/>
                  </a:cubicBezTo>
                  <a:cubicBezTo>
                    <a:pt x="5830" y="9112"/>
                    <a:pt x="5830" y="9112"/>
                    <a:pt x="5830" y="9112"/>
                  </a:cubicBezTo>
                  <a:cubicBezTo>
                    <a:pt x="6321" y="8572"/>
                    <a:pt x="6321" y="8572"/>
                    <a:pt x="6321" y="8572"/>
                  </a:cubicBezTo>
                  <a:cubicBezTo>
                    <a:pt x="2148" y="3982"/>
                    <a:pt x="2148" y="3982"/>
                    <a:pt x="2148" y="3982"/>
                  </a:cubicBezTo>
                  <a:cubicBezTo>
                    <a:pt x="1903" y="3442"/>
                    <a:pt x="1903" y="2902"/>
                    <a:pt x="2148" y="2362"/>
                  </a:cubicBezTo>
                  <a:cubicBezTo>
                    <a:pt x="2639" y="2092"/>
                    <a:pt x="3130" y="2092"/>
                    <a:pt x="3621" y="2362"/>
                  </a:cubicBezTo>
                  <a:cubicBezTo>
                    <a:pt x="7794" y="6952"/>
                    <a:pt x="7794" y="6952"/>
                    <a:pt x="7794" y="6952"/>
                  </a:cubicBezTo>
                  <a:cubicBezTo>
                    <a:pt x="8284" y="6412"/>
                    <a:pt x="8284" y="6412"/>
                    <a:pt x="8284" y="6412"/>
                  </a:cubicBezTo>
                  <a:cubicBezTo>
                    <a:pt x="4112" y="1822"/>
                    <a:pt x="4112" y="1822"/>
                    <a:pt x="4112" y="1822"/>
                  </a:cubicBezTo>
                  <a:cubicBezTo>
                    <a:pt x="3866" y="1282"/>
                    <a:pt x="3866" y="742"/>
                    <a:pt x="4112" y="202"/>
                  </a:cubicBezTo>
                  <a:cubicBezTo>
                    <a:pt x="4603" y="-68"/>
                    <a:pt x="5094" y="-68"/>
                    <a:pt x="5584" y="202"/>
                  </a:cubicBezTo>
                  <a:cubicBezTo>
                    <a:pt x="10494" y="5602"/>
                    <a:pt x="10494" y="5602"/>
                    <a:pt x="10494" y="5602"/>
                  </a:cubicBezTo>
                  <a:cubicBezTo>
                    <a:pt x="10739" y="6142"/>
                    <a:pt x="10739" y="6682"/>
                    <a:pt x="10494" y="7222"/>
                  </a:cubicBezTo>
                  <a:cubicBezTo>
                    <a:pt x="9266" y="8572"/>
                    <a:pt x="9266" y="8572"/>
                    <a:pt x="9266" y="8572"/>
                  </a:cubicBezTo>
                  <a:cubicBezTo>
                    <a:pt x="10739" y="10192"/>
                    <a:pt x="10739" y="10192"/>
                    <a:pt x="10739" y="10192"/>
                  </a:cubicBezTo>
                  <a:cubicBezTo>
                    <a:pt x="18839" y="1282"/>
                    <a:pt x="18839" y="1282"/>
                    <a:pt x="18839" y="1282"/>
                  </a:cubicBezTo>
                  <a:cubicBezTo>
                    <a:pt x="19084" y="1012"/>
                    <a:pt x="19575" y="1012"/>
                    <a:pt x="19821" y="1012"/>
                  </a:cubicBezTo>
                  <a:cubicBezTo>
                    <a:pt x="20066" y="1012"/>
                    <a:pt x="20312" y="1552"/>
                    <a:pt x="20557" y="1822"/>
                  </a:cubicBezTo>
                  <a:cubicBezTo>
                    <a:pt x="21539" y="5332"/>
                    <a:pt x="20557" y="9112"/>
                    <a:pt x="18348" y="11542"/>
                  </a:cubicBezTo>
                  <a:cubicBezTo>
                    <a:pt x="14666" y="15592"/>
                    <a:pt x="11966" y="16132"/>
                    <a:pt x="11966" y="16132"/>
                  </a:cubicBezTo>
                  <a:cubicBezTo>
                    <a:pt x="11475" y="16132"/>
                    <a:pt x="10984" y="15862"/>
                    <a:pt x="10739" y="15322"/>
                  </a:cubicBezTo>
                  <a:cubicBezTo>
                    <a:pt x="10739" y="14782"/>
                    <a:pt x="10984" y="14242"/>
                    <a:pt x="11475" y="13972"/>
                  </a:cubicBezTo>
                  <a:cubicBezTo>
                    <a:pt x="11475" y="13972"/>
                    <a:pt x="13684" y="13432"/>
                    <a:pt x="16875" y="9922"/>
                  </a:cubicBezTo>
                  <a:cubicBezTo>
                    <a:pt x="18348" y="8572"/>
                    <a:pt x="19084" y="6412"/>
                    <a:pt x="18839" y="4252"/>
                  </a:cubicBezTo>
                  <a:cubicBezTo>
                    <a:pt x="3621" y="21262"/>
                    <a:pt x="3621" y="21262"/>
                    <a:pt x="3621" y="21262"/>
                  </a:cubicBezTo>
                  <a:cubicBezTo>
                    <a:pt x="3375" y="21532"/>
                    <a:pt x="3130" y="21532"/>
                    <a:pt x="2884" y="21532"/>
                  </a:cubicBezTo>
                  <a:close/>
                </a:path>
              </a:pathLst>
            </a:custGeom>
            <a:solidFill>
              <a:srgbClr val="009DE0"/>
            </a:solidFill>
            <a:ln w="12700" cap="flat">
              <a:noFill/>
              <a:miter lim="400000"/>
            </a:ln>
            <a:effectLst/>
          </p:spPr>
          <p:txBody>
            <a:bodyPr wrap="square" lIns="0" tIns="0" rIns="0" bIns="0" numCol="1" anchor="t">
              <a:noAutofit/>
            </a:bodyPr>
            <a:lstStyle/>
            <a:p>
              <a:endParaRPr/>
            </a:p>
          </p:txBody>
        </p:sp>
      </p:grpSp>
      <p:grpSp>
        <p:nvGrpSpPr>
          <p:cNvPr id="732" name="Group 732"/>
          <p:cNvGrpSpPr/>
          <p:nvPr/>
        </p:nvGrpSpPr>
        <p:grpSpPr>
          <a:xfrm>
            <a:off x="10473600" y="5654125"/>
            <a:ext cx="1202603" cy="317544"/>
            <a:chOff x="0" y="0"/>
            <a:chExt cx="1202601" cy="317542"/>
          </a:xfrm>
        </p:grpSpPr>
        <p:sp>
          <p:nvSpPr>
            <p:cNvPr id="728" name="Shape 728"/>
            <p:cNvSpPr/>
            <p:nvPr/>
          </p:nvSpPr>
          <p:spPr>
            <a:xfrm>
              <a:off x="448576" y="85423"/>
              <a:ext cx="754026" cy="1973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defRPr sz="1400">
                  <a:solidFill>
                    <a:srgbClr val="009DE0"/>
                  </a:solidFill>
                </a:defRPr>
              </a:lvl1pPr>
            </a:lstStyle>
            <a:p>
              <a:r>
                <a:t>Section 9</a:t>
              </a:r>
            </a:p>
          </p:txBody>
        </p:sp>
        <p:grpSp>
          <p:nvGrpSpPr>
            <p:cNvPr id="731" name="Group 731"/>
            <p:cNvGrpSpPr/>
            <p:nvPr/>
          </p:nvGrpSpPr>
          <p:grpSpPr>
            <a:xfrm>
              <a:off x="0" y="0"/>
              <a:ext cx="267262" cy="317544"/>
              <a:chOff x="0" y="0"/>
              <a:chExt cx="267261" cy="317543"/>
            </a:xfrm>
          </p:grpSpPr>
          <p:sp>
            <p:nvSpPr>
              <p:cNvPr id="729" name="Shape 729"/>
              <p:cNvSpPr/>
              <p:nvPr/>
            </p:nvSpPr>
            <p:spPr>
              <a:xfrm>
                <a:off x="0" y="0"/>
                <a:ext cx="267262" cy="277699"/>
              </a:xfrm>
              <a:custGeom>
                <a:avLst/>
                <a:gdLst/>
                <a:ahLst/>
                <a:cxnLst>
                  <a:cxn ang="0">
                    <a:pos x="wd2" y="hd2"/>
                  </a:cxn>
                  <a:cxn ang="5400000">
                    <a:pos x="wd2" y="hd2"/>
                  </a:cxn>
                  <a:cxn ang="10800000">
                    <a:pos x="wd2" y="hd2"/>
                  </a:cxn>
                  <a:cxn ang="16200000">
                    <a:pos x="wd2" y="hd2"/>
                  </a:cxn>
                </a:cxnLst>
                <a:rect l="0" t="0" r="r" b="b"/>
                <a:pathLst>
                  <a:path w="21465" h="21600" extrusionOk="0">
                    <a:moveTo>
                      <a:pt x="20452" y="21600"/>
                    </a:moveTo>
                    <a:cubicBezTo>
                      <a:pt x="1012" y="21600"/>
                      <a:pt x="1012" y="21600"/>
                      <a:pt x="1012" y="21600"/>
                    </a:cubicBezTo>
                    <a:cubicBezTo>
                      <a:pt x="742" y="21600"/>
                      <a:pt x="202" y="21343"/>
                      <a:pt x="202" y="21086"/>
                    </a:cubicBezTo>
                    <a:cubicBezTo>
                      <a:pt x="-68" y="20829"/>
                      <a:pt x="-68" y="20314"/>
                      <a:pt x="202" y="20057"/>
                    </a:cubicBezTo>
                    <a:cubicBezTo>
                      <a:pt x="1282" y="18000"/>
                      <a:pt x="2092" y="15686"/>
                      <a:pt x="2092" y="13371"/>
                    </a:cubicBezTo>
                    <a:cubicBezTo>
                      <a:pt x="2092" y="8229"/>
                      <a:pt x="2092" y="8229"/>
                      <a:pt x="2092" y="8229"/>
                    </a:cubicBezTo>
                    <a:cubicBezTo>
                      <a:pt x="2092" y="3600"/>
                      <a:pt x="5872" y="0"/>
                      <a:pt x="10732" y="0"/>
                    </a:cubicBezTo>
                    <a:cubicBezTo>
                      <a:pt x="15592" y="0"/>
                      <a:pt x="19372" y="3600"/>
                      <a:pt x="19372" y="8229"/>
                    </a:cubicBezTo>
                    <a:cubicBezTo>
                      <a:pt x="19372" y="13371"/>
                      <a:pt x="19372" y="13371"/>
                      <a:pt x="19372" y="13371"/>
                    </a:cubicBezTo>
                    <a:cubicBezTo>
                      <a:pt x="19372" y="15686"/>
                      <a:pt x="20182" y="18000"/>
                      <a:pt x="21262" y="20057"/>
                    </a:cubicBezTo>
                    <a:cubicBezTo>
                      <a:pt x="21532" y="20314"/>
                      <a:pt x="21532" y="20829"/>
                      <a:pt x="21262" y="21086"/>
                    </a:cubicBezTo>
                    <a:cubicBezTo>
                      <a:pt x="21262" y="21343"/>
                      <a:pt x="20722" y="21600"/>
                      <a:pt x="20452" y="21600"/>
                    </a:cubicBezTo>
                    <a:close/>
                    <a:moveTo>
                      <a:pt x="2902" y="19543"/>
                    </a:moveTo>
                    <a:cubicBezTo>
                      <a:pt x="18562" y="19543"/>
                      <a:pt x="18562" y="19543"/>
                      <a:pt x="18562" y="19543"/>
                    </a:cubicBezTo>
                    <a:cubicBezTo>
                      <a:pt x="17752" y="17486"/>
                      <a:pt x="17212" y="15429"/>
                      <a:pt x="17212" y="13371"/>
                    </a:cubicBezTo>
                    <a:cubicBezTo>
                      <a:pt x="17212" y="8229"/>
                      <a:pt x="17212" y="8229"/>
                      <a:pt x="17212" y="8229"/>
                    </a:cubicBezTo>
                    <a:cubicBezTo>
                      <a:pt x="17212" y="4886"/>
                      <a:pt x="14242" y="2057"/>
                      <a:pt x="10732" y="2057"/>
                    </a:cubicBezTo>
                    <a:cubicBezTo>
                      <a:pt x="7222" y="2057"/>
                      <a:pt x="4252" y="4886"/>
                      <a:pt x="4252" y="8229"/>
                    </a:cubicBezTo>
                    <a:cubicBezTo>
                      <a:pt x="4252" y="13371"/>
                      <a:pt x="4252" y="13371"/>
                      <a:pt x="4252" y="13371"/>
                    </a:cubicBezTo>
                    <a:cubicBezTo>
                      <a:pt x="4252" y="15429"/>
                      <a:pt x="3712" y="17486"/>
                      <a:pt x="2902" y="19543"/>
                    </a:cubicBezTo>
                    <a:close/>
                  </a:path>
                </a:pathLst>
              </a:custGeom>
              <a:solidFill>
                <a:srgbClr val="009DE0"/>
              </a:solidFill>
              <a:ln w="12700" cap="flat">
                <a:noFill/>
                <a:miter lim="400000"/>
              </a:ln>
              <a:effectLst/>
            </p:spPr>
            <p:txBody>
              <a:bodyPr wrap="square" lIns="0" tIns="0" rIns="0" bIns="0" numCol="1" anchor="t">
                <a:noAutofit/>
              </a:bodyPr>
              <a:lstStyle/>
              <a:p>
                <a:endParaRPr/>
              </a:p>
            </p:txBody>
          </p:sp>
          <p:sp>
            <p:nvSpPr>
              <p:cNvPr id="730" name="Shape 730"/>
              <p:cNvSpPr/>
              <p:nvPr/>
            </p:nvSpPr>
            <p:spPr>
              <a:xfrm>
                <a:off x="96729" y="291458"/>
                <a:ext cx="73803" cy="26086"/>
              </a:xfrm>
              <a:custGeom>
                <a:avLst/>
                <a:gdLst/>
                <a:ahLst/>
                <a:cxnLst>
                  <a:cxn ang="0">
                    <a:pos x="wd2" y="hd2"/>
                  </a:cxn>
                  <a:cxn ang="5400000">
                    <a:pos x="wd2" y="hd2"/>
                  </a:cxn>
                  <a:cxn ang="10800000">
                    <a:pos x="wd2" y="hd2"/>
                  </a:cxn>
                  <a:cxn ang="16200000">
                    <a:pos x="wd2" y="hd2"/>
                  </a:cxn>
                </a:cxnLst>
                <a:rect l="0" t="0" r="r" b="b"/>
                <a:pathLst>
                  <a:path w="21600" h="17324" extrusionOk="0">
                    <a:moveTo>
                      <a:pt x="0" y="0"/>
                    </a:moveTo>
                    <a:cubicBezTo>
                      <a:pt x="1964" y="12960"/>
                      <a:pt x="8836" y="21600"/>
                      <a:pt x="14727" y="15120"/>
                    </a:cubicBezTo>
                    <a:cubicBezTo>
                      <a:pt x="17673" y="12960"/>
                      <a:pt x="20618" y="6480"/>
                      <a:pt x="21600" y="0"/>
                    </a:cubicBezTo>
                    <a:lnTo>
                      <a:pt x="0" y="0"/>
                    </a:lnTo>
                    <a:close/>
                  </a:path>
                </a:pathLst>
              </a:custGeom>
              <a:solidFill>
                <a:srgbClr val="009DE0"/>
              </a:solidFill>
              <a:ln w="12700" cap="flat">
                <a:noFill/>
                <a:miter lim="400000"/>
              </a:ln>
              <a:effectLst/>
            </p:spPr>
            <p:txBody>
              <a:bodyPr wrap="square" lIns="0" tIns="0" rIns="0" bIns="0" numCol="1" anchor="t">
                <a:noAutofit/>
              </a:bodyPr>
              <a:lstStyle/>
              <a:p>
                <a:endParaRPr/>
              </a:p>
            </p:txBody>
          </p:sp>
        </p:grpSp>
      </p:grpSp>
      <p:grpSp>
        <p:nvGrpSpPr>
          <p:cNvPr id="737" name="Group 737"/>
          <p:cNvGrpSpPr/>
          <p:nvPr/>
        </p:nvGrpSpPr>
        <p:grpSpPr>
          <a:xfrm>
            <a:off x="10447117" y="4319697"/>
            <a:ext cx="1229086" cy="292710"/>
            <a:chOff x="0" y="0"/>
            <a:chExt cx="1229085" cy="292708"/>
          </a:xfrm>
        </p:grpSpPr>
        <p:sp>
          <p:nvSpPr>
            <p:cNvPr id="733" name="Shape 733"/>
            <p:cNvSpPr/>
            <p:nvPr/>
          </p:nvSpPr>
          <p:spPr>
            <a:xfrm>
              <a:off x="475060" y="69787"/>
              <a:ext cx="754026" cy="1973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defRPr sz="1400">
                  <a:solidFill>
                    <a:srgbClr val="009DE0"/>
                  </a:solidFill>
                </a:defRPr>
              </a:lvl1pPr>
            </a:lstStyle>
            <a:p>
              <a:r>
                <a:t>Section 7</a:t>
              </a:r>
            </a:p>
          </p:txBody>
        </p:sp>
        <p:grpSp>
          <p:nvGrpSpPr>
            <p:cNvPr id="736" name="Group 736"/>
            <p:cNvGrpSpPr/>
            <p:nvPr/>
          </p:nvGrpSpPr>
          <p:grpSpPr>
            <a:xfrm>
              <a:off x="0" y="0"/>
              <a:ext cx="320230" cy="292710"/>
              <a:chOff x="0" y="0"/>
              <a:chExt cx="320229" cy="292709"/>
            </a:xfrm>
          </p:grpSpPr>
          <p:sp>
            <p:nvSpPr>
              <p:cNvPr id="734" name="Shape 734"/>
              <p:cNvSpPr/>
              <p:nvPr/>
            </p:nvSpPr>
            <p:spPr>
              <a:xfrm>
                <a:off x="-1" y="-1"/>
                <a:ext cx="320231" cy="292710"/>
              </a:xfrm>
              <a:custGeom>
                <a:avLst/>
                <a:gdLst/>
                <a:ahLst/>
                <a:cxnLst>
                  <a:cxn ang="0">
                    <a:pos x="wd2" y="hd2"/>
                  </a:cxn>
                  <a:cxn ang="5400000">
                    <a:pos x="wd2" y="hd2"/>
                  </a:cxn>
                  <a:cxn ang="10800000">
                    <a:pos x="wd2" y="hd2"/>
                  </a:cxn>
                  <a:cxn ang="16200000">
                    <a:pos x="wd2" y="hd2"/>
                  </a:cxn>
                </a:cxnLst>
                <a:rect l="0" t="0" r="r" b="b"/>
                <a:pathLst>
                  <a:path w="21600" h="21600" extrusionOk="0">
                    <a:moveTo>
                      <a:pt x="18900" y="21600"/>
                    </a:moveTo>
                    <a:cubicBezTo>
                      <a:pt x="14400" y="21600"/>
                      <a:pt x="14400" y="21600"/>
                      <a:pt x="14400" y="21600"/>
                    </a:cubicBezTo>
                    <a:cubicBezTo>
                      <a:pt x="13950" y="21600"/>
                      <a:pt x="13500" y="21109"/>
                      <a:pt x="13500" y="20618"/>
                    </a:cubicBezTo>
                    <a:cubicBezTo>
                      <a:pt x="13500" y="20127"/>
                      <a:pt x="13950" y="19636"/>
                      <a:pt x="14400" y="19636"/>
                    </a:cubicBezTo>
                    <a:cubicBezTo>
                      <a:pt x="18900" y="19636"/>
                      <a:pt x="18900" y="19636"/>
                      <a:pt x="18900" y="19636"/>
                    </a:cubicBezTo>
                    <a:cubicBezTo>
                      <a:pt x="19350" y="19636"/>
                      <a:pt x="19800" y="19145"/>
                      <a:pt x="19800" y="18655"/>
                    </a:cubicBezTo>
                    <a:cubicBezTo>
                      <a:pt x="19800" y="5891"/>
                      <a:pt x="19800" y="5891"/>
                      <a:pt x="19800" y="5891"/>
                    </a:cubicBezTo>
                    <a:cubicBezTo>
                      <a:pt x="10800" y="5891"/>
                      <a:pt x="10800" y="5891"/>
                      <a:pt x="10800" y="5891"/>
                    </a:cubicBezTo>
                    <a:cubicBezTo>
                      <a:pt x="10575" y="5891"/>
                      <a:pt x="10350" y="5645"/>
                      <a:pt x="10125" y="5400"/>
                    </a:cubicBezTo>
                    <a:cubicBezTo>
                      <a:pt x="7650" y="1964"/>
                      <a:pt x="7650" y="1964"/>
                      <a:pt x="7650" y="1964"/>
                    </a:cubicBezTo>
                    <a:cubicBezTo>
                      <a:pt x="1800" y="1964"/>
                      <a:pt x="1800" y="1964"/>
                      <a:pt x="1800" y="1964"/>
                    </a:cubicBezTo>
                    <a:cubicBezTo>
                      <a:pt x="1800" y="18655"/>
                      <a:pt x="1800" y="18655"/>
                      <a:pt x="1800" y="18655"/>
                    </a:cubicBezTo>
                    <a:cubicBezTo>
                      <a:pt x="1800" y="19145"/>
                      <a:pt x="2250" y="19636"/>
                      <a:pt x="2700" y="19636"/>
                    </a:cubicBezTo>
                    <a:cubicBezTo>
                      <a:pt x="3600" y="19636"/>
                      <a:pt x="3600" y="19636"/>
                      <a:pt x="3600" y="19636"/>
                    </a:cubicBezTo>
                    <a:cubicBezTo>
                      <a:pt x="4050" y="19636"/>
                      <a:pt x="4500" y="20127"/>
                      <a:pt x="4500" y="20618"/>
                    </a:cubicBezTo>
                    <a:cubicBezTo>
                      <a:pt x="4500" y="21109"/>
                      <a:pt x="4050" y="21600"/>
                      <a:pt x="3600" y="21600"/>
                    </a:cubicBezTo>
                    <a:cubicBezTo>
                      <a:pt x="2700" y="21600"/>
                      <a:pt x="2700" y="21600"/>
                      <a:pt x="2700" y="21600"/>
                    </a:cubicBezTo>
                    <a:cubicBezTo>
                      <a:pt x="1125" y="21600"/>
                      <a:pt x="0" y="20373"/>
                      <a:pt x="0" y="18655"/>
                    </a:cubicBezTo>
                    <a:cubicBezTo>
                      <a:pt x="0" y="982"/>
                      <a:pt x="0" y="982"/>
                      <a:pt x="0" y="982"/>
                    </a:cubicBezTo>
                    <a:cubicBezTo>
                      <a:pt x="0" y="491"/>
                      <a:pt x="450" y="0"/>
                      <a:pt x="900" y="0"/>
                    </a:cubicBezTo>
                    <a:cubicBezTo>
                      <a:pt x="8100" y="0"/>
                      <a:pt x="8100" y="0"/>
                      <a:pt x="8100" y="0"/>
                    </a:cubicBezTo>
                    <a:cubicBezTo>
                      <a:pt x="8325" y="0"/>
                      <a:pt x="8550" y="245"/>
                      <a:pt x="8775" y="491"/>
                    </a:cubicBezTo>
                    <a:cubicBezTo>
                      <a:pt x="11250" y="3927"/>
                      <a:pt x="11250" y="3927"/>
                      <a:pt x="11250" y="3927"/>
                    </a:cubicBezTo>
                    <a:cubicBezTo>
                      <a:pt x="20700" y="3927"/>
                      <a:pt x="20700" y="3927"/>
                      <a:pt x="20700" y="3927"/>
                    </a:cubicBezTo>
                    <a:cubicBezTo>
                      <a:pt x="21150" y="3927"/>
                      <a:pt x="21600" y="4418"/>
                      <a:pt x="21600" y="4909"/>
                    </a:cubicBezTo>
                    <a:cubicBezTo>
                      <a:pt x="21600" y="18655"/>
                      <a:pt x="21600" y="18655"/>
                      <a:pt x="21600" y="18655"/>
                    </a:cubicBezTo>
                    <a:cubicBezTo>
                      <a:pt x="21600" y="20373"/>
                      <a:pt x="20475" y="21600"/>
                      <a:pt x="18900" y="21600"/>
                    </a:cubicBezTo>
                    <a:close/>
                  </a:path>
                </a:pathLst>
              </a:custGeom>
              <a:solidFill>
                <a:srgbClr val="009DE0"/>
              </a:solidFill>
              <a:ln w="12700" cap="flat">
                <a:noFill/>
                <a:miter lim="400000"/>
              </a:ln>
              <a:effectLst/>
            </p:spPr>
            <p:txBody>
              <a:bodyPr wrap="square" lIns="0" tIns="0" rIns="0" bIns="0" numCol="1" anchor="t">
                <a:noAutofit/>
              </a:bodyPr>
              <a:lstStyle/>
              <a:p>
                <a:endParaRPr/>
              </a:p>
            </p:txBody>
          </p:sp>
          <p:sp>
            <p:nvSpPr>
              <p:cNvPr id="735" name="Shape 735"/>
              <p:cNvSpPr/>
              <p:nvPr/>
            </p:nvSpPr>
            <p:spPr>
              <a:xfrm>
                <a:off x="93817" y="107157"/>
                <a:ext cx="185552" cy="185552"/>
              </a:xfrm>
              <a:custGeom>
                <a:avLst/>
                <a:gdLst/>
                <a:ahLst/>
                <a:cxnLst>
                  <a:cxn ang="0">
                    <a:pos x="wd2" y="hd2"/>
                  </a:cxn>
                  <a:cxn ang="5400000">
                    <a:pos x="wd2" y="hd2"/>
                  </a:cxn>
                  <a:cxn ang="10800000">
                    <a:pos x="wd2" y="hd2"/>
                  </a:cxn>
                  <a:cxn ang="16200000">
                    <a:pos x="wd2" y="hd2"/>
                  </a:cxn>
                </a:cxnLst>
                <a:rect l="0" t="0" r="r" b="b"/>
                <a:pathLst>
                  <a:path w="21504" h="21504" extrusionOk="0">
                    <a:moveTo>
                      <a:pt x="1543" y="21504"/>
                    </a:moveTo>
                    <a:cubicBezTo>
                      <a:pt x="1157" y="21504"/>
                      <a:pt x="771" y="21504"/>
                      <a:pt x="386" y="21118"/>
                    </a:cubicBezTo>
                    <a:cubicBezTo>
                      <a:pt x="0" y="20733"/>
                      <a:pt x="0" y="19961"/>
                      <a:pt x="0" y="19575"/>
                    </a:cubicBezTo>
                    <a:cubicBezTo>
                      <a:pt x="1543" y="13404"/>
                      <a:pt x="1543" y="13404"/>
                      <a:pt x="1543" y="13404"/>
                    </a:cubicBezTo>
                    <a:cubicBezTo>
                      <a:pt x="1543" y="13018"/>
                      <a:pt x="1929" y="13018"/>
                      <a:pt x="1929" y="12633"/>
                    </a:cubicBezTo>
                    <a:cubicBezTo>
                      <a:pt x="14271" y="290"/>
                      <a:pt x="14271" y="290"/>
                      <a:pt x="14271" y="290"/>
                    </a:cubicBezTo>
                    <a:cubicBezTo>
                      <a:pt x="15043" y="-96"/>
                      <a:pt x="15814" y="-96"/>
                      <a:pt x="16586" y="290"/>
                    </a:cubicBezTo>
                    <a:cubicBezTo>
                      <a:pt x="21214" y="4918"/>
                      <a:pt x="21214" y="4918"/>
                      <a:pt x="21214" y="4918"/>
                    </a:cubicBezTo>
                    <a:cubicBezTo>
                      <a:pt x="21600" y="5690"/>
                      <a:pt x="21600" y="6461"/>
                      <a:pt x="21214" y="7233"/>
                    </a:cubicBezTo>
                    <a:cubicBezTo>
                      <a:pt x="8871" y="19575"/>
                      <a:pt x="8871" y="19575"/>
                      <a:pt x="8871" y="19575"/>
                    </a:cubicBezTo>
                    <a:cubicBezTo>
                      <a:pt x="8486" y="19575"/>
                      <a:pt x="8486" y="19961"/>
                      <a:pt x="8100" y="19961"/>
                    </a:cubicBezTo>
                    <a:cubicBezTo>
                      <a:pt x="1929" y="21504"/>
                      <a:pt x="1929" y="21504"/>
                      <a:pt x="1929" y="21504"/>
                    </a:cubicBezTo>
                    <a:cubicBezTo>
                      <a:pt x="1929" y="21504"/>
                      <a:pt x="1543" y="21504"/>
                      <a:pt x="1543" y="21504"/>
                    </a:cubicBezTo>
                    <a:close/>
                    <a:moveTo>
                      <a:pt x="7714" y="18418"/>
                    </a:moveTo>
                    <a:cubicBezTo>
                      <a:pt x="7714" y="18418"/>
                      <a:pt x="7714" y="18418"/>
                      <a:pt x="7714" y="18418"/>
                    </a:cubicBezTo>
                    <a:close/>
                    <a:moveTo>
                      <a:pt x="4629" y="14561"/>
                    </a:moveTo>
                    <a:cubicBezTo>
                      <a:pt x="3471" y="18033"/>
                      <a:pt x="3471" y="18033"/>
                      <a:pt x="3471" y="18033"/>
                    </a:cubicBezTo>
                    <a:cubicBezTo>
                      <a:pt x="6943" y="16875"/>
                      <a:pt x="6943" y="16875"/>
                      <a:pt x="6943" y="16875"/>
                    </a:cubicBezTo>
                    <a:cubicBezTo>
                      <a:pt x="17743" y="6075"/>
                      <a:pt x="17743" y="6075"/>
                      <a:pt x="17743" y="6075"/>
                    </a:cubicBezTo>
                    <a:cubicBezTo>
                      <a:pt x="15429" y="3761"/>
                      <a:pt x="15429" y="3761"/>
                      <a:pt x="15429" y="3761"/>
                    </a:cubicBezTo>
                    <a:lnTo>
                      <a:pt x="4629" y="14561"/>
                    </a:lnTo>
                    <a:close/>
                  </a:path>
                </a:pathLst>
              </a:custGeom>
              <a:solidFill>
                <a:srgbClr val="009DE0"/>
              </a:solidFill>
              <a:ln w="12700" cap="flat">
                <a:noFill/>
                <a:miter lim="400000"/>
              </a:ln>
              <a:effectLst/>
            </p:spPr>
            <p:txBody>
              <a:bodyPr wrap="square" lIns="0" tIns="0" rIns="0" bIns="0" numCol="1" anchor="t">
                <a:noAutofit/>
              </a:bodyPr>
              <a:lstStyle/>
              <a:p>
                <a:endParaRPr/>
              </a:p>
            </p:txBody>
          </p:sp>
        </p:grpSp>
      </p:grpSp>
      <p:grpSp>
        <p:nvGrpSpPr>
          <p:cNvPr id="740" name="Group 740"/>
          <p:cNvGrpSpPr/>
          <p:nvPr/>
        </p:nvGrpSpPr>
        <p:grpSpPr>
          <a:xfrm>
            <a:off x="10455247" y="6366847"/>
            <a:ext cx="1319840" cy="290350"/>
            <a:chOff x="0" y="0"/>
            <a:chExt cx="1319838" cy="290348"/>
          </a:xfrm>
        </p:grpSpPr>
        <p:sp>
          <p:nvSpPr>
            <p:cNvPr id="738" name="Shape 738"/>
            <p:cNvSpPr/>
            <p:nvPr/>
          </p:nvSpPr>
          <p:spPr>
            <a:xfrm>
              <a:off x="466929" y="58531"/>
              <a:ext cx="852910" cy="19738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defRPr sz="1400">
                  <a:solidFill>
                    <a:srgbClr val="009DE0"/>
                  </a:solidFill>
                </a:defRPr>
              </a:lvl1pPr>
            </a:lstStyle>
            <a:p>
              <a:r>
                <a:t>Section 10</a:t>
              </a:r>
            </a:p>
          </p:txBody>
        </p:sp>
        <p:sp>
          <p:nvSpPr>
            <p:cNvPr id="739" name="Shape 739"/>
            <p:cNvSpPr/>
            <p:nvPr/>
          </p:nvSpPr>
          <p:spPr>
            <a:xfrm>
              <a:off x="0" y="0"/>
              <a:ext cx="303968" cy="290349"/>
            </a:xfrm>
            <a:custGeom>
              <a:avLst/>
              <a:gdLst/>
              <a:ahLst/>
              <a:cxnLst>
                <a:cxn ang="0">
                  <a:pos x="wd2" y="hd2"/>
                </a:cxn>
                <a:cxn ang="5400000">
                  <a:pos x="wd2" y="hd2"/>
                </a:cxn>
                <a:cxn ang="10800000">
                  <a:pos x="wd2" y="hd2"/>
                </a:cxn>
                <a:cxn ang="16200000">
                  <a:pos x="wd2" y="hd2"/>
                </a:cxn>
              </a:cxnLst>
              <a:rect l="0" t="0" r="r" b="b"/>
              <a:pathLst>
                <a:path w="21600" h="21426" extrusionOk="0">
                  <a:moveTo>
                    <a:pt x="20700" y="21426"/>
                  </a:moveTo>
                  <a:cubicBezTo>
                    <a:pt x="900" y="21426"/>
                    <a:pt x="900" y="21426"/>
                    <a:pt x="900" y="21426"/>
                  </a:cubicBezTo>
                  <a:cubicBezTo>
                    <a:pt x="450" y="21426"/>
                    <a:pt x="0" y="20961"/>
                    <a:pt x="0" y="20497"/>
                  </a:cubicBezTo>
                  <a:cubicBezTo>
                    <a:pt x="0" y="18174"/>
                    <a:pt x="0" y="18174"/>
                    <a:pt x="0" y="18174"/>
                  </a:cubicBezTo>
                  <a:cubicBezTo>
                    <a:pt x="0" y="16781"/>
                    <a:pt x="900" y="15852"/>
                    <a:pt x="2025" y="15387"/>
                  </a:cubicBezTo>
                  <a:cubicBezTo>
                    <a:pt x="3375" y="15155"/>
                    <a:pt x="6300" y="14226"/>
                    <a:pt x="6975" y="14226"/>
                  </a:cubicBezTo>
                  <a:cubicBezTo>
                    <a:pt x="7650" y="13994"/>
                    <a:pt x="7875" y="13529"/>
                    <a:pt x="7875" y="13529"/>
                  </a:cubicBezTo>
                  <a:cubicBezTo>
                    <a:pt x="8100" y="12600"/>
                    <a:pt x="7875" y="12136"/>
                    <a:pt x="7650" y="11903"/>
                  </a:cubicBezTo>
                  <a:cubicBezTo>
                    <a:pt x="6300" y="10974"/>
                    <a:pt x="5400" y="9349"/>
                    <a:pt x="5400" y="7491"/>
                  </a:cubicBezTo>
                  <a:cubicBezTo>
                    <a:pt x="5400" y="5632"/>
                    <a:pt x="5400" y="5632"/>
                    <a:pt x="5400" y="5632"/>
                  </a:cubicBezTo>
                  <a:cubicBezTo>
                    <a:pt x="5400" y="4007"/>
                    <a:pt x="6075" y="2613"/>
                    <a:pt x="7200" y="1452"/>
                  </a:cubicBezTo>
                  <a:cubicBezTo>
                    <a:pt x="8325" y="291"/>
                    <a:pt x="9900" y="-174"/>
                    <a:pt x="11250" y="58"/>
                  </a:cubicBezTo>
                  <a:cubicBezTo>
                    <a:pt x="14175" y="291"/>
                    <a:pt x="16200" y="2845"/>
                    <a:pt x="16200" y="5865"/>
                  </a:cubicBezTo>
                  <a:cubicBezTo>
                    <a:pt x="16200" y="7491"/>
                    <a:pt x="16200" y="7491"/>
                    <a:pt x="16200" y="7491"/>
                  </a:cubicBezTo>
                  <a:cubicBezTo>
                    <a:pt x="16200" y="9349"/>
                    <a:pt x="15525" y="10974"/>
                    <a:pt x="13950" y="11903"/>
                  </a:cubicBezTo>
                  <a:cubicBezTo>
                    <a:pt x="13725" y="12136"/>
                    <a:pt x="13500" y="12368"/>
                    <a:pt x="13725" y="13297"/>
                  </a:cubicBezTo>
                  <a:cubicBezTo>
                    <a:pt x="13950" y="13761"/>
                    <a:pt x="14175" y="13994"/>
                    <a:pt x="14625" y="14226"/>
                  </a:cubicBezTo>
                  <a:cubicBezTo>
                    <a:pt x="14625" y="14226"/>
                    <a:pt x="14850" y="14226"/>
                    <a:pt x="14850" y="14226"/>
                  </a:cubicBezTo>
                  <a:cubicBezTo>
                    <a:pt x="15075" y="14226"/>
                    <a:pt x="15975" y="14458"/>
                    <a:pt x="16650" y="14691"/>
                  </a:cubicBezTo>
                  <a:cubicBezTo>
                    <a:pt x="17775" y="14923"/>
                    <a:pt x="18675" y="15387"/>
                    <a:pt x="19575" y="15620"/>
                  </a:cubicBezTo>
                  <a:cubicBezTo>
                    <a:pt x="20700" y="15852"/>
                    <a:pt x="21600" y="17013"/>
                    <a:pt x="21600" y="18174"/>
                  </a:cubicBezTo>
                  <a:cubicBezTo>
                    <a:pt x="21600" y="20497"/>
                    <a:pt x="21600" y="20497"/>
                    <a:pt x="21600" y="20497"/>
                  </a:cubicBezTo>
                  <a:cubicBezTo>
                    <a:pt x="21600" y="20961"/>
                    <a:pt x="21150" y="21426"/>
                    <a:pt x="20700" y="21426"/>
                  </a:cubicBezTo>
                  <a:close/>
                  <a:moveTo>
                    <a:pt x="1800" y="19568"/>
                  </a:moveTo>
                  <a:cubicBezTo>
                    <a:pt x="19800" y="19568"/>
                    <a:pt x="19800" y="19568"/>
                    <a:pt x="19800" y="19568"/>
                  </a:cubicBezTo>
                  <a:cubicBezTo>
                    <a:pt x="19800" y="18174"/>
                    <a:pt x="19800" y="18174"/>
                    <a:pt x="19800" y="18174"/>
                  </a:cubicBezTo>
                  <a:cubicBezTo>
                    <a:pt x="19800" y="17710"/>
                    <a:pt x="19575" y="17478"/>
                    <a:pt x="19125" y="17245"/>
                  </a:cubicBezTo>
                  <a:cubicBezTo>
                    <a:pt x="19125" y="17245"/>
                    <a:pt x="19125" y="17245"/>
                    <a:pt x="19125" y="17245"/>
                  </a:cubicBezTo>
                  <a:cubicBezTo>
                    <a:pt x="18225" y="17013"/>
                    <a:pt x="17325" y="16781"/>
                    <a:pt x="16200" y="16549"/>
                  </a:cubicBezTo>
                  <a:cubicBezTo>
                    <a:pt x="15300" y="16316"/>
                    <a:pt x="14625" y="16084"/>
                    <a:pt x="14175" y="16084"/>
                  </a:cubicBezTo>
                  <a:cubicBezTo>
                    <a:pt x="13050" y="15620"/>
                    <a:pt x="12375" y="14923"/>
                    <a:pt x="11925" y="13994"/>
                  </a:cubicBezTo>
                  <a:cubicBezTo>
                    <a:pt x="11700" y="12368"/>
                    <a:pt x="11925" y="11207"/>
                    <a:pt x="13050" y="10510"/>
                  </a:cubicBezTo>
                  <a:cubicBezTo>
                    <a:pt x="13950" y="9813"/>
                    <a:pt x="14400" y="8652"/>
                    <a:pt x="14400" y="7491"/>
                  </a:cubicBezTo>
                  <a:cubicBezTo>
                    <a:pt x="14400" y="5865"/>
                    <a:pt x="14400" y="5865"/>
                    <a:pt x="14400" y="5865"/>
                  </a:cubicBezTo>
                  <a:cubicBezTo>
                    <a:pt x="14400" y="3774"/>
                    <a:pt x="13050" y="2149"/>
                    <a:pt x="11250" y="1916"/>
                  </a:cubicBezTo>
                  <a:cubicBezTo>
                    <a:pt x="10125" y="1916"/>
                    <a:pt x="9225" y="2149"/>
                    <a:pt x="8325" y="2845"/>
                  </a:cubicBezTo>
                  <a:cubicBezTo>
                    <a:pt x="7650" y="3542"/>
                    <a:pt x="7200" y="4471"/>
                    <a:pt x="7200" y="5632"/>
                  </a:cubicBezTo>
                  <a:cubicBezTo>
                    <a:pt x="7200" y="7491"/>
                    <a:pt x="7200" y="7491"/>
                    <a:pt x="7200" y="7491"/>
                  </a:cubicBezTo>
                  <a:cubicBezTo>
                    <a:pt x="7200" y="8652"/>
                    <a:pt x="7650" y="9813"/>
                    <a:pt x="8550" y="10510"/>
                  </a:cubicBezTo>
                  <a:cubicBezTo>
                    <a:pt x="9450" y="10974"/>
                    <a:pt x="10125" y="12136"/>
                    <a:pt x="9675" y="13994"/>
                  </a:cubicBezTo>
                  <a:cubicBezTo>
                    <a:pt x="9450" y="14923"/>
                    <a:pt x="8550" y="15620"/>
                    <a:pt x="7200" y="16084"/>
                  </a:cubicBezTo>
                  <a:cubicBezTo>
                    <a:pt x="6750" y="16084"/>
                    <a:pt x="4275" y="16781"/>
                    <a:pt x="2475" y="17245"/>
                  </a:cubicBezTo>
                  <a:cubicBezTo>
                    <a:pt x="2025" y="17478"/>
                    <a:pt x="1800" y="17710"/>
                    <a:pt x="1800" y="18174"/>
                  </a:cubicBezTo>
                  <a:lnTo>
                    <a:pt x="1800" y="19568"/>
                  </a:lnTo>
                  <a:close/>
                </a:path>
              </a:pathLst>
            </a:custGeom>
            <a:solidFill>
              <a:srgbClr val="009DE0"/>
            </a:solidFill>
            <a:ln w="12700" cap="flat">
              <a:noFill/>
              <a:miter lim="400000"/>
            </a:ln>
            <a:effectLst/>
          </p:spPr>
          <p:txBody>
            <a:bodyPr wrap="square" lIns="0" tIns="0" rIns="0" bIns="0" numCol="1" anchor="t">
              <a:noAutofit/>
            </a:bodyPr>
            <a:lstStyle/>
            <a:p>
              <a:endParaRPr/>
            </a:p>
          </p:txBody>
        </p:sp>
      </p:grpSp>
      <p:sp>
        <p:nvSpPr>
          <p:cNvPr id="741" name="Shape 741"/>
          <p:cNvSpPr/>
          <p:nvPr/>
        </p:nvSpPr>
        <p:spPr>
          <a:xfrm>
            <a:off x="10033000" y="686269"/>
            <a:ext cx="2159000" cy="1"/>
          </a:xfrm>
          <a:prstGeom prst="line">
            <a:avLst/>
          </a:prstGeom>
          <a:ln w="12700">
            <a:solidFill>
              <a:srgbClr val="0077A0"/>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742" name="Shape 742"/>
          <p:cNvSpPr/>
          <p:nvPr/>
        </p:nvSpPr>
        <p:spPr>
          <a:xfrm>
            <a:off x="10033000" y="1371952"/>
            <a:ext cx="2159000" cy="1"/>
          </a:xfrm>
          <a:prstGeom prst="line">
            <a:avLst/>
          </a:prstGeom>
          <a:ln w="12700">
            <a:solidFill>
              <a:srgbClr val="0077A0"/>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743" name="Shape 743"/>
          <p:cNvSpPr/>
          <p:nvPr/>
        </p:nvSpPr>
        <p:spPr>
          <a:xfrm>
            <a:off x="10033000" y="2057634"/>
            <a:ext cx="2159000" cy="1"/>
          </a:xfrm>
          <a:prstGeom prst="line">
            <a:avLst/>
          </a:prstGeom>
          <a:ln w="12700">
            <a:solidFill>
              <a:srgbClr val="0077A0"/>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744" name="Shape 744"/>
          <p:cNvSpPr/>
          <p:nvPr/>
        </p:nvSpPr>
        <p:spPr>
          <a:xfrm>
            <a:off x="10033000" y="2743316"/>
            <a:ext cx="2159000" cy="1"/>
          </a:xfrm>
          <a:prstGeom prst="line">
            <a:avLst/>
          </a:prstGeom>
          <a:ln w="12700">
            <a:solidFill>
              <a:srgbClr val="0077A0"/>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745" name="Shape 745"/>
          <p:cNvSpPr/>
          <p:nvPr/>
        </p:nvSpPr>
        <p:spPr>
          <a:xfrm>
            <a:off x="10033000" y="3428998"/>
            <a:ext cx="2159000" cy="1"/>
          </a:xfrm>
          <a:prstGeom prst="line">
            <a:avLst/>
          </a:prstGeom>
          <a:ln w="12700">
            <a:solidFill>
              <a:srgbClr val="0077A0"/>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746" name="Shape 746"/>
          <p:cNvSpPr/>
          <p:nvPr/>
        </p:nvSpPr>
        <p:spPr>
          <a:xfrm>
            <a:off x="10033000" y="4114679"/>
            <a:ext cx="2159000" cy="1"/>
          </a:xfrm>
          <a:prstGeom prst="line">
            <a:avLst/>
          </a:prstGeom>
          <a:ln w="12700">
            <a:solidFill>
              <a:srgbClr val="0077A0"/>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747" name="Shape 747"/>
          <p:cNvSpPr/>
          <p:nvPr/>
        </p:nvSpPr>
        <p:spPr>
          <a:xfrm>
            <a:off x="10033000" y="4800362"/>
            <a:ext cx="2159000" cy="1"/>
          </a:xfrm>
          <a:prstGeom prst="line">
            <a:avLst/>
          </a:prstGeom>
          <a:ln w="12700">
            <a:solidFill>
              <a:srgbClr val="0077A0"/>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748" name="Shape 748"/>
          <p:cNvSpPr/>
          <p:nvPr/>
        </p:nvSpPr>
        <p:spPr>
          <a:xfrm>
            <a:off x="10033000" y="5486043"/>
            <a:ext cx="2159000" cy="1"/>
          </a:xfrm>
          <a:prstGeom prst="line">
            <a:avLst/>
          </a:prstGeom>
          <a:ln w="12700">
            <a:solidFill>
              <a:srgbClr val="0077A0"/>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749" name="Shape 749"/>
          <p:cNvSpPr/>
          <p:nvPr/>
        </p:nvSpPr>
        <p:spPr>
          <a:xfrm>
            <a:off x="10033000" y="6171725"/>
            <a:ext cx="2159000" cy="1"/>
          </a:xfrm>
          <a:prstGeom prst="line">
            <a:avLst/>
          </a:prstGeom>
          <a:ln w="12700">
            <a:solidFill>
              <a:srgbClr val="0077A0"/>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750" name="Shape 750"/>
          <p:cNvSpPr/>
          <p:nvPr/>
        </p:nvSpPr>
        <p:spPr>
          <a:xfrm>
            <a:off x="482600" y="3069021"/>
            <a:ext cx="4533900" cy="9779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a:defRPr sz="1000">
                <a:solidFill>
                  <a:srgbClr val="FF2600"/>
                </a:solidFill>
              </a:defRPr>
            </a:pPr>
            <a:r>
              <a:t>These slides provide options to create a clickable navigation elements to jump to different sections of your presentation. To create clickable elements (and to remove this note) choose “Slide Master” from the “View” tab.</a:t>
            </a:r>
          </a:p>
          <a:p>
            <a:pPr>
              <a:defRPr sz="1000">
                <a:solidFill>
                  <a:srgbClr val="FF2600"/>
                </a:solidFill>
              </a:defRPr>
            </a:pPr>
            <a:endParaRPr/>
          </a:p>
          <a:p>
            <a:pPr>
              <a:defRPr sz="1000">
                <a:solidFill>
                  <a:srgbClr val="FF2600"/>
                </a:solidFill>
              </a:defRPr>
            </a:pPr>
            <a:r>
              <a:t>To create hyperlinks on the navigation elements, select the element and choose “Hyperlink” from the “Insert” tab. Then choose “Place in This Document” from the dialog box and select a slide.</a:t>
            </a:r>
          </a:p>
        </p:txBody>
      </p:sp>
      <p:sp>
        <p:nvSpPr>
          <p:cNvPr id="751" name="Shape 751"/>
          <p:cNvSpPr>
            <a:spLocks noGrp="1"/>
          </p:cNvSpPr>
          <p:nvPr>
            <p:ph type="body" sz="quarter" idx="13"/>
          </p:nvPr>
        </p:nvSpPr>
        <p:spPr>
          <a:xfrm>
            <a:off x="485775" y="806807"/>
            <a:ext cx="9509126" cy="318477"/>
          </a:xfrm>
          <a:prstGeom prst="rect">
            <a:avLst/>
          </a:prstGeom>
        </p:spPr>
        <p:txBody>
          <a:bodyPr/>
          <a:lstStyle>
            <a:lvl1pPr>
              <a:defRPr sz="2000" b="1">
                <a:solidFill>
                  <a:srgbClr val="002C77"/>
                </a:solidFill>
              </a:defRPr>
            </a:lvl1pPr>
          </a:lstStyle>
          <a:p>
            <a:r>
              <a:t> </a:t>
            </a:r>
          </a:p>
        </p:txBody>
      </p:sp>
      <p:sp>
        <p:nvSpPr>
          <p:cNvPr id="752" name="Shape 752"/>
          <p:cNvSpPr>
            <a:spLocks noGrp="1"/>
          </p:cNvSpPr>
          <p:nvPr>
            <p:ph type="title"/>
          </p:nvPr>
        </p:nvSpPr>
        <p:spPr>
          <a:xfrm>
            <a:off x="485776" y="361950"/>
            <a:ext cx="9509125" cy="504825"/>
          </a:xfrm>
          <a:prstGeom prst="rect">
            <a:avLst/>
          </a:prstGeom>
        </p:spPr>
        <p:txBody>
          <a:bodyPr>
            <a:normAutofit/>
          </a:bodyPr>
          <a:lstStyle/>
          <a:p>
            <a:r>
              <a:t>Texto del título</a:t>
            </a:r>
          </a:p>
        </p:txBody>
      </p:sp>
      <p:sp>
        <p:nvSpPr>
          <p:cNvPr id="753" name="Shape 753"/>
          <p:cNvSpPr>
            <a:spLocks noGrp="1"/>
          </p:cNvSpPr>
          <p:nvPr>
            <p:ph type="body" sz="quarter" idx="1"/>
          </p:nvPr>
        </p:nvSpPr>
        <p:spPr>
          <a:xfrm>
            <a:off x="5200650" y="6388100"/>
            <a:ext cx="4603750" cy="247650"/>
          </a:xfrm>
          <a:prstGeom prst="rect">
            <a:avLst/>
          </a:prstGeom>
        </p:spPr>
        <p:txBody>
          <a:bodyPr anchor="b">
            <a:normAutofit/>
          </a:bodyPr>
          <a:lstStyle>
            <a:lvl1pPr algn="r">
              <a:spcBef>
                <a:spcPts val="0"/>
              </a:spcBef>
              <a:defRPr sz="800"/>
            </a:lvl1pPr>
            <a:lvl2pPr marL="0" indent="457200" algn="r">
              <a:spcBef>
                <a:spcPts val="0"/>
              </a:spcBef>
              <a:buSzTx/>
              <a:buNone/>
              <a:defRPr sz="800"/>
            </a:lvl2pPr>
            <a:lvl3pPr marL="0" indent="914400" algn="r">
              <a:spcBef>
                <a:spcPts val="0"/>
              </a:spcBef>
              <a:buSzTx/>
              <a:buNone/>
              <a:defRPr sz="800"/>
            </a:lvl3pPr>
            <a:lvl4pPr marL="0" indent="1371600" algn="r">
              <a:spcBef>
                <a:spcPts val="0"/>
              </a:spcBef>
              <a:buSzTx/>
              <a:buNone/>
              <a:defRPr sz="800"/>
            </a:lvl4pPr>
            <a:lvl5pPr marL="0" indent="1828800" algn="r">
              <a:spcBef>
                <a:spcPts val="0"/>
              </a:spcBef>
              <a:buSzTx/>
              <a:buNone/>
              <a:defRPr sz="800"/>
            </a:lvl5pPr>
          </a:lstStyle>
          <a:p>
            <a:r>
              <a:t>Nivel de texto 1</a:t>
            </a:r>
          </a:p>
          <a:p>
            <a:pPr lvl="1"/>
            <a:r>
              <a:t>Nivel de texto 2</a:t>
            </a:r>
          </a:p>
          <a:p>
            <a:pPr lvl="2"/>
            <a:r>
              <a:t>Nivel de texto 3</a:t>
            </a:r>
          </a:p>
          <a:p>
            <a:pPr lvl="3"/>
            <a:r>
              <a:t>Nivel de texto 4</a:t>
            </a:r>
          </a:p>
          <a:p>
            <a:pPr lvl="4"/>
            <a:r>
              <a:t>Nivel de texto 5</a:t>
            </a:r>
          </a:p>
        </p:txBody>
      </p:sp>
      <p:sp>
        <p:nvSpPr>
          <p:cNvPr id="754" name="Shape 754"/>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x">
  <p:cSld name="Interactive right icons">
    <p:bg>
      <p:bgPr>
        <a:solidFill>
          <a:srgbClr val="FFFFFF"/>
        </a:solidFill>
        <a:effectLst/>
      </p:bgPr>
    </p:bg>
    <p:spTree>
      <p:nvGrpSpPr>
        <p:cNvPr id="1" name=""/>
        <p:cNvGrpSpPr/>
        <p:nvPr/>
      </p:nvGrpSpPr>
      <p:grpSpPr>
        <a:xfrm>
          <a:off x="0" y="0"/>
          <a:ext cx="0" cy="0"/>
          <a:chOff x="0" y="0"/>
          <a:chExt cx="0" cy="0"/>
        </a:xfrm>
      </p:grpSpPr>
      <p:pic>
        <p:nvPicPr>
          <p:cNvPr id="761"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762" name="Shape 762"/>
          <p:cNvSpPr/>
          <p:nvPr/>
        </p:nvSpPr>
        <p:spPr>
          <a:xfrm>
            <a:off x="10998200" y="-1"/>
            <a:ext cx="1193800" cy="1142003"/>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sp>
        <p:nvSpPr>
          <p:cNvPr id="763" name="Shape 763"/>
          <p:cNvSpPr/>
          <p:nvPr/>
        </p:nvSpPr>
        <p:spPr>
          <a:xfrm>
            <a:off x="10998200" y="1145869"/>
            <a:ext cx="1193800" cy="1142995"/>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sp>
        <p:nvSpPr>
          <p:cNvPr id="764" name="Shape 764"/>
          <p:cNvSpPr/>
          <p:nvPr/>
        </p:nvSpPr>
        <p:spPr>
          <a:xfrm>
            <a:off x="10998200" y="2288863"/>
            <a:ext cx="1193800" cy="1142994"/>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sp>
        <p:nvSpPr>
          <p:cNvPr id="765" name="Shape 765"/>
          <p:cNvSpPr/>
          <p:nvPr/>
        </p:nvSpPr>
        <p:spPr>
          <a:xfrm>
            <a:off x="10998200" y="3427838"/>
            <a:ext cx="1193800" cy="1142994"/>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sp>
        <p:nvSpPr>
          <p:cNvPr id="766" name="Shape 766"/>
          <p:cNvSpPr/>
          <p:nvPr/>
        </p:nvSpPr>
        <p:spPr>
          <a:xfrm>
            <a:off x="10998200" y="4570831"/>
            <a:ext cx="1193800" cy="1142994"/>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sp>
        <p:nvSpPr>
          <p:cNvPr id="767" name="Shape 767"/>
          <p:cNvSpPr/>
          <p:nvPr/>
        </p:nvSpPr>
        <p:spPr>
          <a:xfrm>
            <a:off x="10998200" y="5715006"/>
            <a:ext cx="1193800" cy="1142994"/>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sp>
        <p:nvSpPr>
          <p:cNvPr id="768" name="Shape 768"/>
          <p:cNvSpPr/>
          <p:nvPr/>
        </p:nvSpPr>
        <p:spPr>
          <a:xfrm>
            <a:off x="11449577" y="1583735"/>
            <a:ext cx="283731" cy="268102"/>
          </a:xfrm>
          <a:custGeom>
            <a:avLst/>
            <a:gdLst/>
            <a:ahLst/>
            <a:cxnLst>
              <a:cxn ang="0">
                <a:pos x="wd2" y="hd2"/>
              </a:cxn>
              <a:cxn ang="5400000">
                <a:pos x="wd2" y="hd2"/>
              </a:cxn>
              <a:cxn ang="10800000">
                <a:pos x="wd2" y="hd2"/>
              </a:cxn>
              <a:cxn ang="16200000">
                <a:pos x="wd2" y="hd2"/>
              </a:cxn>
            </a:cxnLst>
            <a:rect l="0" t="0" r="r" b="b"/>
            <a:pathLst>
              <a:path w="20937" h="21532" extrusionOk="0">
                <a:moveTo>
                  <a:pt x="18594" y="21532"/>
                </a:moveTo>
                <a:cubicBezTo>
                  <a:pt x="18348" y="21532"/>
                  <a:pt x="18103" y="21532"/>
                  <a:pt x="17857" y="21262"/>
                </a:cubicBezTo>
                <a:cubicBezTo>
                  <a:pt x="14912" y="18022"/>
                  <a:pt x="14912" y="18022"/>
                  <a:pt x="14912" y="18022"/>
                </a:cubicBezTo>
                <a:cubicBezTo>
                  <a:pt x="14666" y="17482"/>
                  <a:pt x="14666" y="16942"/>
                  <a:pt x="14912" y="16402"/>
                </a:cubicBezTo>
                <a:cubicBezTo>
                  <a:pt x="15403" y="16132"/>
                  <a:pt x="15894" y="16132"/>
                  <a:pt x="16384" y="16402"/>
                </a:cubicBezTo>
                <a:cubicBezTo>
                  <a:pt x="19330" y="19642"/>
                  <a:pt x="19330" y="19642"/>
                  <a:pt x="19330" y="19642"/>
                </a:cubicBezTo>
                <a:cubicBezTo>
                  <a:pt x="19575" y="20182"/>
                  <a:pt x="19575" y="20722"/>
                  <a:pt x="19330" y="21262"/>
                </a:cubicBezTo>
                <a:cubicBezTo>
                  <a:pt x="19084" y="21532"/>
                  <a:pt x="18839" y="21532"/>
                  <a:pt x="18594" y="21532"/>
                </a:cubicBezTo>
                <a:close/>
                <a:moveTo>
                  <a:pt x="2884" y="21532"/>
                </a:moveTo>
                <a:cubicBezTo>
                  <a:pt x="2639" y="21532"/>
                  <a:pt x="2394" y="21532"/>
                  <a:pt x="2148" y="21262"/>
                </a:cubicBezTo>
                <a:cubicBezTo>
                  <a:pt x="1903" y="20722"/>
                  <a:pt x="1903" y="20182"/>
                  <a:pt x="2148" y="19642"/>
                </a:cubicBezTo>
                <a:cubicBezTo>
                  <a:pt x="9266" y="11812"/>
                  <a:pt x="9266" y="11812"/>
                  <a:pt x="9266" y="11812"/>
                </a:cubicBezTo>
                <a:cubicBezTo>
                  <a:pt x="7794" y="10192"/>
                  <a:pt x="7794" y="10192"/>
                  <a:pt x="7794" y="10192"/>
                </a:cubicBezTo>
                <a:cubicBezTo>
                  <a:pt x="6566" y="11542"/>
                  <a:pt x="6566" y="11542"/>
                  <a:pt x="6566" y="11542"/>
                </a:cubicBezTo>
                <a:cubicBezTo>
                  <a:pt x="6075" y="11812"/>
                  <a:pt x="5584" y="11812"/>
                  <a:pt x="5094" y="11542"/>
                </a:cubicBezTo>
                <a:cubicBezTo>
                  <a:pt x="184" y="6142"/>
                  <a:pt x="184" y="6142"/>
                  <a:pt x="184" y="6142"/>
                </a:cubicBezTo>
                <a:cubicBezTo>
                  <a:pt x="-61" y="5602"/>
                  <a:pt x="-61" y="5062"/>
                  <a:pt x="184" y="4522"/>
                </a:cubicBezTo>
                <a:cubicBezTo>
                  <a:pt x="675" y="4252"/>
                  <a:pt x="1166" y="4252"/>
                  <a:pt x="1657" y="4522"/>
                </a:cubicBezTo>
                <a:cubicBezTo>
                  <a:pt x="5830" y="9112"/>
                  <a:pt x="5830" y="9112"/>
                  <a:pt x="5830" y="9112"/>
                </a:cubicBezTo>
                <a:cubicBezTo>
                  <a:pt x="6321" y="8572"/>
                  <a:pt x="6321" y="8572"/>
                  <a:pt x="6321" y="8572"/>
                </a:cubicBezTo>
                <a:cubicBezTo>
                  <a:pt x="2148" y="3982"/>
                  <a:pt x="2148" y="3982"/>
                  <a:pt x="2148" y="3982"/>
                </a:cubicBezTo>
                <a:cubicBezTo>
                  <a:pt x="1903" y="3442"/>
                  <a:pt x="1903" y="2902"/>
                  <a:pt x="2148" y="2362"/>
                </a:cubicBezTo>
                <a:cubicBezTo>
                  <a:pt x="2639" y="2092"/>
                  <a:pt x="3130" y="2092"/>
                  <a:pt x="3621" y="2362"/>
                </a:cubicBezTo>
                <a:cubicBezTo>
                  <a:pt x="7794" y="6952"/>
                  <a:pt x="7794" y="6952"/>
                  <a:pt x="7794" y="6952"/>
                </a:cubicBezTo>
                <a:cubicBezTo>
                  <a:pt x="8284" y="6412"/>
                  <a:pt x="8284" y="6412"/>
                  <a:pt x="8284" y="6412"/>
                </a:cubicBezTo>
                <a:cubicBezTo>
                  <a:pt x="4112" y="1822"/>
                  <a:pt x="4112" y="1822"/>
                  <a:pt x="4112" y="1822"/>
                </a:cubicBezTo>
                <a:cubicBezTo>
                  <a:pt x="3866" y="1282"/>
                  <a:pt x="3866" y="742"/>
                  <a:pt x="4112" y="202"/>
                </a:cubicBezTo>
                <a:cubicBezTo>
                  <a:pt x="4603" y="-68"/>
                  <a:pt x="5094" y="-68"/>
                  <a:pt x="5584" y="202"/>
                </a:cubicBezTo>
                <a:cubicBezTo>
                  <a:pt x="10494" y="5602"/>
                  <a:pt x="10494" y="5602"/>
                  <a:pt x="10494" y="5602"/>
                </a:cubicBezTo>
                <a:cubicBezTo>
                  <a:pt x="10739" y="6142"/>
                  <a:pt x="10739" y="6682"/>
                  <a:pt x="10494" y="7222"/>
                </a:cubicBezTo>
                <a:cubicBezTo>
                  <a:pt x="9266" y="8572"/>
                  <a:pt x="9266" y="8572"/>
                  <a:pt x="9266" y="8572"/>
                </a:cubicBezTo>
                <a:cubicBezTo>
                  <a:pt x="10739" y="10192"/>
                  <a:pt x="10739" y="10192"/>
                  <a:pt x="10739" y="10192"/>
                </a:cubicBezTo>
                <a:cubicBezTo>
                  <a:pt x="18839" y="1282"/>
                  <a:pt x="18839" y="1282"/>
                  <a:pt x="18839" y="1282"/>
                </a:cubicBezTo>
                <a:cubicBezTo>
                  <a:pt x="19084" y="1012"/>
                  <a:pt x="19575" y="1012"/>
                  <a:pt x="19821" y="1012"/>
                </a:cubicBezTo>
                <a:cubicBezTo>
                  <a:pt x="20066" y="1012"/>
                  <a:pt x="20312" y="1552"/>
                  <a:pt x="20557" y="1822"/>
                </a:cubicBezTo>
                <a:cubicBezTo>
                  <a:pt x="21539" y="5332"/>
                  <a:pt x="20557" y="9112"/>
                  <a:pt x="18348" y="11542"/>
                </a:cubicBezTo>
                <a:cubicBezTo>
                  <a:pt x="14666" y="15592"/>
                  <a:pt x="11966" y="16132"/>
                  <a:pt x="11966" y="16132"/>
                </a:cubicBezTo>
                <a:cubicBezTo>
                  <a:pt x="11475" y="16132"/>
                  <a:pt x="10984" y="15862"/>
                  <a:pt x="10739" y="15322"/>
                </a:cubicBezTo>
                <a:cubicBezTo>
                  <a:pt x="10739" y="14782"/>
                  <a:pt x="10984" y="14242"/>
                  <a:pt x="11475" y="13972"/>
                </a:cubicBezTo>
                <a:cubicBezTo>
                  <a:pt x="11475" y="13972"/>
                  <a:pt x="13684" y="13432"/>
                  <a:pt x="16875" y="9922"/>
                </a:cubicBezTo>
                <a:cubicBezTo>
                  <a:pt x="18348" y="8572"/>
                  <a:pt x="19084" y="6412"/>
                  <a:pt x="18839" y="4252"/>
                </a:cubicBezTo>
                <a:cubicBezTo>
                  <a:pt x="3621" y="21262"/>
                  <a:pt x="3621" y="21262"/>
                  <a:pt x="3621" y="21262"/>
                </a:cubicBezTo>
                <a:cubicBezTo>
                  <a:pt x="3375" y="21532"/>
                  <a:pt x="3130" y="21532"/>
                  <a:pt x="2884" y="21532"/>
                </a:cubicBezTo>
                <a:close/>
              </a:path>
            </a:pathLst>
          </a:custGeom>
          <a:solidFill>
            <a:srgbClr val="FFFFFF"/>
          </a:solidFill>
          <a:ln w="12700">
            <a:miter lim="400000"/>
          </a:ln>
        </p:spPr>
        <p:txBody>
          <a:bodyPr lIns="0" tIns="0" rIns="0" bIns="0"/>
          <a:lstStyle/>
          <a:p>
            <a:endParaRPr/>
          </a:p>
        </p:txBody>
      </p:sp>
      <p:sp>
        <p:nvSpPr>
          <p:cNvPr id="769" name="Shape 769"/>
          <p:cNvSpPr/>
          <p:nvPr/>
        </p:nvSpPr>
        <p:spPr>
          <a:xfrm>
            <a:off x="11461254" y="4983464"/>
            <a:ext cx="267692" cy="317728"/>
          </a:xfrm>
          <a:custGeom>
            <a:avLst/>
            <a:gdLst/>
            <a:ahLst/>
            <a:cxnLst>
              <a:cxn ang="0">
                <a:pos x="wd2" y="hd2"/>
              </a:cxn>
              <a:cxn ang="5400000">
                <a:pos x="wd2" y="hd2"/>
              </a:cxn>
              <a:cxn ang="10800000">
                <a:pos x="wd2" y="hd2"/>
              </a:cxn>
              <a:cxn ang="16200000">
                <a:pos x="wd2" y="hd2"/>
              </a:cxn>
            </a:cxnLst>
            <a:rect l="0" t="0" r="r" b="b"/>
            <a:pathLst>
              <a:path w="21600" h="21600" extrusionOk="0">
                <a:moveTo>
                  <a:pt x="20520" y="21600"/>
                </a:moveTo>
                <a:cubicBezTo>
                  <a:pt x="10800" y="21600"/>
                  <a:pt x="10800" y="21600"/>
                  <a:pt x="10800" y="21600"/>
                </a:cubicBezTo>
                <a:cubicBezTo>
                  <a:pt x="10260" y="21600"/>
                  <a:pt x="9720" y="21150"/>
                  <a:pt x="9720" y="20700"/>
                </a:cubicBezTo>
                <a:cubicBezTo>
                  <a:pt x="9720" y="17100"/>
                  <a:pt x="9720" y="17100"/>
                  <a:pt x="9720" y="17100"/>
                </a:cubicBezTo>
                <a:cubicBezTo>
                  <a:pt x="9720" y="16650"/>
                  <a:pt x="10260" y="16200"/>
                  <a:pt x="10800" y="16200"/>
                </a:cubicBezTo>
                <a:cubicBezTo>
                  <a:pt x="20520" y="16200"/>
                  <a:pt x="20520" y="16200"/>
                  <a:pt x="20520" y="16200"/>
                </a:cubicBezTo>
                <a:cubicBezTo>
                  <a:pt x="21060" y="16200"/>
                  <a:pt x="21600" y="16650"/>
                  <a:pt x="21600" y="17100"/>
                </a:cubicBezTo>
                <a:cubicBezTo>
                  <a:pt x="21600" y="20700"/>
                  <a:pt x="21600" y="20700"/>
                  <a:pt x="21600" y="20700"/>
                </a:cubicBezTo>
                <a:cubicBezTo>
                  <a:pt x="21600" y="21150"/>
                  <a:pt x="21060" y="21600"/>
                  <a:pt x="20520" y="21600"/>
                </a:cubicBezTo>
                <a:close/>
                <a:moveTo>
                  <a:pt x="11880" y="19800"/>
                </a:moveTo>
                <a:cubicBezTo>
                  <a:pt x="19440" y="19800"/>
                  <a:pt x="19440" y="19800"/>
                  <a:pt x="19440" y="19800"/>
                </a:cubicBezTo>
                <a:cubicBezTo>
                  <a:pt x="19440" y="18000"/>
                  <a:pt x="19440" y="18000"/>
                  <a:pt x="19440" y="18000"/>
                </a:cubicBezTo>
                <a:cubicBezTo>
                  <a:pt x="11880" y="18000"/>
                  <a:pt x="11880" y="18000"/>
                  <a:pt x="11880" y="18000"/>
                </a:cubicBezTo>
                <a:lnTo>
                  <a:pt x="11880" y="19800"/>
                </a:lnTo>
                <a:close/>
                <a:moveTo>
                  <a:pt x="20520" y="14400"/>
                </a:moveTo>
                <a:cubicBezTo>
                  <a:pt x="1080" y="14400"/>
                  <a:pt x="1080" y="14400"/>
                  <a:pt x="1080" y="14400"/>
                </a:cubicBezTo>
                <a:cubicBezTo>
                  <a:pt x="540" y="14400"/>
                  <a:pt x="0" y="13950"/>
                  <a:pt x="0" y="13500"/>
                </a:cubicBezTo>
                <a:cubicBezTo>
                  <a:pt x="0" y="900"/>
                  <a:pt x="0" y="900"/>
                  <a:pt x="0" y="900"/>
                </a:cubicBezTo>
                <a:cubicBezTo>
                  <a:pt x="0" y="450"/>
                  <a:pt x="540" y="0"/>
                  <a:pt x="1080" y="0"/>
                </a:cubicBezTo>
                <a:cubicBezTo>
                  <a:pt x="20520" y="0"/>
                  <a:pt x="20520" y="0"/>
                  <a:pt x="20520" y="0"/>
                </a:cubicBezTo>
                <a:cubicBezTo>
                  <a:pt x="21060" y="0"/>
                  <a:pt x="21600" y="450"/>
                  <a:pt x="21600" y="900"/>
                </a:cubicBezTo>
                <a:cubicBezTo>
                  <a:pt x="21600" y="13500"/>
                  <a:pt x="21600" y="13500"/>
                  <a:pt x="21600" y="13500"/>
                </a:cubicBezTo>
                <a:cubicBezTo>
                  <a:pt x="21600" y="13950"/>
                  <a:pt x="21060" y="14400"/>
                  <a:pt x="20520" y="14400"/>
                </a:cubicBezTo>
                <a:close/>
                <a:moveTo>
                  <a:pt x="2160" y="12600"/>
                </a:moveTo>
                <a:cubicBezTo>
                  <a:pt x="19440" y="12600"/>
                  <a:pt x="19440" y="12600"/>
                  <a:pt x="19440" y="12600"/>
                </a:cubicBezTo>
                <a:cubicBezTo>
                  <a:pt x="19440" y="5400"/>
                  <a:pt x="19440" y="5400"/>
                  <a:pt x="19440" y="5400"/>
                </a:cubicBezTo>
                <a:cubicBezTo>
                  <a:pt x="2160" y="5400"/>
                  <a:pt x="2160" y="5400"/>
                  <a:pt x="2160" y="5400"/>
                </a:cubicBezTo>
                <a:lnTo>
                  <a:pt x="2160" y="12600"/>
                </a:lnTo>
                <a:close/>
                <a:moveTo>
                  <a:pt x="2160" y="3600"/>
                </a:moveTo>
                <a:cubicBezTo>
                  <a:pt x="19440" y="3600"/>
                  <a:pt x="19440" y="3600"/>
                  <a:pt x="19440" y="3600"/>
                </a:cubicBezTo>
                <a:cubicBezTo>
                  <a:pt x="19440" y="1800"/>
                  <a:pt x="19440" y="1800"/>
                  <a:pt x="19440" y="1800"/>
                </a:cubicBezTo>
                <a:cubicBezTo>
                  <a:pt x="2160" y="1800"/>
                  <a:pt x="2160" y="1800"/>
                  <a:pt x="2160" y="1800"/>
                </a:cubicBezTo>
                <a:lnTo>
                  <a:pt x="2160" y="3600"/>
                </a:lnTo>
                <a:close/>
              </a:path>
            </a:pathLst>
          </a:custGeom>
          <a:solidFill>
            <a:srgbClr val="FFFFFF"/>
          </a:solidFill>
          <a:ln w="12700">
            <a:miter lim="400000"/>
          </a:ln>
        </p:spPr>
        <p:txBody>
          <a:bodyPr lIns="0" tIns="0" rIns="0" bIns="0"/>
          <a:lstStyle/>
          <a:p>
            <a:endParaRPr/>
          </a:p>
        </p:txBody>
      </p:sp>
      <p:grpSp>
        <p:nvGrpSpPr>
          <p:cNvPr id="772" name="Group 772"/>
          <p:cNvGrpSpPr/>
          <p:nvPr/>
        </p:nvGrpSpPr>
        <p:grpSpPr>
          <a:xfrm>
            <a:off x="11461469" y="2698368"/>
            <a:ext cx="267262" cy="317544"/>
            <a:chOff x="0" y="0"/>
            <a:chExt cx="267261" cy="317543"/>
          </a:xfrm>
        </p:grpSpPr>
        <p:sp>
          <p:nvSpPr>
            <p:cNvPr id="770" name="Shape 770"/>
            <p:cNvSpPr/>
            <p:nvPr/>
          </p:nvSpPr>
          <p:spPr>
            <a:xfrm>
              <a:off x="0" y="0"/>
              <a:ext cx="267262" cy="277699"/>
            </a:xfrm>
            <a:custGeom>
              <a:avLst/>
              <a:gdLst/>
              <a:ahLst/>
              <a:cxnLst>
                <a:cxn ang="0">
                  <a:pos x="wd2" y="hd2"/>
                </a:cxn>
                <a:cxn ang="5400000">
                  <a:pos x="wd2" y="hd2"/>
                </a:cxn>
                <a:cxn ang="10800000">
                  <a:pos x="wd2" y="hd2"/>
                </a:cxn>
                <a:cxn ang="16200000">
                  <a:pos x="wd2" y="hd2"/>
                </a:cxn>
              </a:cxnLst>
              <a:rect l="0" t="0" r="r" b="b"/>
              <a:pathLst>
                <a:path w="21465" h="21600" extrusionOk="0">
                  <a:moveTo>
                    <a:pt x="20452" y="21600"/>
                  </a:moveTo>
                  <a:cubicBezTo>
                    <a:pt x="1012" y="21600"/>
                    <a:pt x="1012" y="21600"/>
                    <a:pt x="1012" y="21600"/>
                  </a:cubicBezTo>
                  <a:cubicBezTo>
                    <a:pt x="742" y="21600"/>
                    <a:pt x="202" y="21343"/>
                    <a:pt x="202" y="21086"/>
                  </a:cubicBezTo>
                  <a:cubicBezTo>
                    <a:pt x="-68" y="20829"/>
                    <a:pt x="-68" y="20314"/>
                    <a:pt x="202" y="20057"/>
                  </a:cubicBezTo>
                  <a:cubicBezTo>
                    <a:pt x="1282" y="18000"/>
                    <a:pt x="2092" y="15686"/>
                    <a:pt x="2092" y="13371"/>
                  </a:cubicBezTo>
                  <a:cubicBezTo>
                    <a:pt x="2092" y="8229"/>
                    <a:pt x="2092" y="8229"/>
                    <a:pt x="2092" y="8229"/>
                  </a:cubicBezTo>
                  <a:cubicBezTo>
                    <a:pt x="2092" y="3600"/>
                    <a:pt x="5872" y="0"/>
                    <a:pt x="10732" y="0"/>
                  </a:cubicBezTo>
                  <a:cubicBezTo>
                    <a:pt x="15592" y="0"/>
                    <a:pt x="19372" y="3600"/>
                    <a:pt x="19372" y="8229"/>
                  </a:cubicBezTo>
                  <a:cubicBezTo>
                    <a:pt x="19372" y="13371"/>
                    <a:pt x="19372" y="13371"/>
                    <a:pt x="19372" y="13371"/>
                  </a:cubicBezTo>
                  <a:cubicBezTo>
                    <a:pt x="19372" y="15686"/>
                    <a:pt x="20182" y="18000"/>
                    <a:pt x="21262" y="20057"/>
                  </a:cubicBezTo>
                  <a:cubicBezTo>
                    <a:pt x="21532" y="20314"/>
                    <a:pt x="21532" y="20829"/>
                    <a:pt x="21262" y="21086"/>
                  </a:cubicBezTo>
                  <a:cubicBezTo>
                    <a:pt x="21262" y="21343"/>
                    <a:pt x="20722" y="21600"/>
                    <a:pt x="20452" y="21600"/>
                  </a:cubicBezTo>
                  <a:close/>
                  <a:moveTo>
                    <a:pt x="2902" y="19543"/>
                  </a:moveTo>
                  <a:cubicBezTo>
                    <a:pt x="18562" y="19543"/>
                    <a:pt x="18562" y="19543"/>
                    <a:pt x="18562" y="19543"/>
                  </a:cubicBezTo>
                  <a:cubicBezTo>
                    <a:pt x="17752" y="17486"/>
                    <a:pt x="17212" y="15429"/>
                    <a:pt x="17212" y="13371"/>
                  </a:cubicBezTo>
                  <a:cubicBezTo>
                    <a:pt x="17212" y="8229"/>
                    <a:pt x="17212" y="8229"/>
                    <a:pt x="17212" y="8229"/>
                  </a:cubicBezTo>
                  <a:cubicBezTo>
                    <a:pt x="17212" y="4886"/>
                    <a:pt x="14242" y="2057"/>
                    <a:pt x="10732" y="2057"/>
                  </a:cubicBezTo>
                  <a:cubicBezTo>
                    <a:pt x="7222" y="2057"/>
                    <a:pt x="4252" y="4886"/>
                    <a:pt x="4252" y="8229"/>
                  </a:cubicBezTo>
                  <a:cubicBezTo>
                    <a:pt x="4252" y="13371"/>
                    <a:pt x="4252" y="13371"/>
                    <a:pt x="4252" y="13371"/>
                  </a:cubicBezTo>
                  <a:cubicBezTo>
                    <a:pt x="4252" y="15429"/>
                    <a:pt x="3712" y="17486"/>
                    <a:pt x="2902" y="19543"/>
                  </a:cubicBezTo>
                  <a:close/>
                </a:path>
              </a:pathLst>
            </a:custGeom>
            <a:solidFill>
              <a:srgbClr val="FFFFFF"/>
            </a:solidFill>
            <a:ln w="12700" cap="flat">
              <a:noFill/>
              <a:miter lim="400000"/>
            </a:ln>
            <a:effectLst/>
          </p:spPr>
          <p:txBody>
            <a:bodyPr wrap="square" lIns="0" tIns="0" rIns="0" bIns="0" numCol="1" anchor="t">
              <a:noAutofit/>
            </a:bodyPr>
            <a:lstStyle/>
            <a:p>
              <a:endParaRPr/>
            </a:p>
          </p:txBody>
        </p:sp>
        <p:sp>
          <p:nvSpPr>
            <p:cNvPr id="771" name="Shape 771"/>
            <p:cNvSpPr/>
            <p:nvPr/>
          </p:nvSpPr>
          <p:spPr>
            <a:xfrm>
              <a:off x="96729" y="291458"/>
              <a:ext cx="73803" cy="26086"/>
            </a:xfrm>
            <a:custGeom>
              <a:avLst/>
              <a:gdLst/>
              <a:ahLst/>
              <a:cxnLst>
                <a:cxn ang="0">
                  <a:pos x="wd2" y="hd2"/>
                </a:cxn>
                <a:cxn ang="5400000">
                  <a:pos x="wd2" y="hd2"/>
                </a:cxn>
                <a:cxn ang="10800000">
                  <a:pos x="wd2" y="hd2"/>
                </a:cxn>
                <a:cxn ang="16200000">
                  <a:pos x="wd2" y="hd2"/>
                </a:cxn>
              </a:cxnLst>
              <a:rect l="0" t="0" r="r" b="b"/>
              <a:pathLst>
                <a:path w="21600" h="17324" extrusionOk="0">
                  <a:moveTo>
                    <a:pt x="0" y="0"/>
                  </a:moveTo>
                  <a:cubicBezTo>
                    <a:pt x="1964" y="12960"/>
                    <a:pt x="8836" y="21600"/>
                    <a:pt x="14727" y="15120"/>
                  </a:cubicBezTo>
                  <a:cubicBezTo>
                    <a:pt x="17673" y="12960"/>
                    <a:pt x="20618" y="6480"/>
                    <a:pt x="21600" y="0"/>
                  </a:cubicBezTo>
                  <a:lnTo>
                    <a:pt x="0" y="0"/>
                  </a:lnTo>
                  <a:close/>
                </a:path>
              </a:pathLst>
            </a:custGeom>
            <a:solidFill>
              <a:srgbClr val="FFFFFF"/>
            </a:solidFill>
            <a:ln w="12700" cap="flat">
              <a:noFill/>
              <a:miter lim="400000"/>
            </a:ln>
            <a:effectLst/>
          </p:spPr>
          <p:txBody>
            <a:bodyPr wrap="square" lIns="0" tIns="0" rIns="0" bIns="0" numCol="1" anchor="t">
              <a:noAutofit/>
            </a:bodyPr>
            <a:lstStyle/>
            <a:p>
              <a:endParaRPr/>
            </a:p>
          </p:txBody>
        </p:sp>
      </p:grpSp>
      <p:grpSp>
        <p:nvGrpSpPr>
          <p:cNvPr id="775" name="Group 775"/>
          <p:cNvGrpSpPr/>
          <p:nvPr/>
        </p:nvGrpSpPr>
        <p:grpSpPr>
          <a:xfrm>
            <a:off x="11461253" y="6127639"/>
            <a:ext cx="267693" cy="317728"/>
            <a:chOff x="0" y="0"/>
            <a:chExt cx="267691" cy="317726"/>
          </a:xfrm>
        </p:grpSpPr>
        <p:sp>
          <p:nvSpPr>
            <p:cNvPr id="773" name="Shape 773"/>
            <p:cNvSpPr/>
            <p:nvPr/>
          </p:nvSpPr>
          <p:spPr>
            <a:xfrm>
              <a:off x="-1" y="0"/>
              <a:ext cx="267693" cy="317727"/>
            </a:xfrm>
            <a:custGeom>
              <a:avLst/>
              <a:gdLst/>
              <a:ahLst/>
              <a:cxnLst>
                <a:cxn ang="0">
                  <a:pos x="wd2" y="hd2"/>
                </a:cxn>
                <a:cxn ang="5400000">
                  <a:pos x="wd2" y="hd2"/>
                </a:cxn>
                <a:cxn ang="10800000">
                  <a:pos x="wd2" y="hd2"/>
                </a:cxn>
                <a:cxn ang="16200000">
                  <a:pos x="wd2" y="hd2"/>
                </a:cxn>
              </a:cxnLst>
              <a:rect l="0" t="0" r="r" b="b"/>
              <a:pathLst>
                <a:path w="21600" h="21600" extrusionOk="0">
                  <a:moveTo>
                    <a:pt x="20520" y="21600"/>
                  </a:moveTo>
                  <a:cubicBezTo>
                    <a:pt x="1080" y="21600"/>
                    <a:pt x="1080" y="21600"/>
                    <a:pt x="1080" y="21600"/>
                  </a:cubicBezTo>
                  <a:cubicBezTo>
                    <a:pt x="540" y="21600"/>
                    <a:pt x="0" y="21150"/>
                    <a:pt x="0" y="20700"/>
                  </a:cubicBezTo>
                  <a:cubicBezTo>
                    <a:pt x="0" y="900"/>
                    <a:pt x="0" y="900"/>
                    <a:pt x="0" y="900"/>
                  </a:cubicBezTo>
                  <a:cubicBezTo>
                    <a:pt x="0" y="450"/>
                    <a:pt x="540" y="0"/>
                    <a:pt x="1080" y="0"/>
                  </a:cubicBezTo>
                  <a:cubicBezTo>
                    <a:pt x="20520" y="0"/>
                    <a:pt x="20520" y="0"/>
                    <a:pt x="20520" y="0"/>
                  </a:cubicBezTo>
                  <a:cubicBezTo>
                    <a:pt x="21060" y="0"/>
                    <a:pt x="21600" y="450"/>
                    <a:pt x="21600" y="900"/>
                  </a:cubicBezTo>
                  <a:cubicBezTo>
                    <a:pt x="21600" y="20700"/>
                    <a:pt x="21600" y="20700"/>
                    <a:pt x="21600" y="20700"/>
                  </a:cubicBezTo>
                  <a:cubicBezTo>
                    <a:pt x="21600" y="21150"/>
                    <a:pt x="21060" y="21600"/>
                    <a:pt x="20520" y="21600"/>
                  </a:cubicBezTo>
                  <a:close/>
                  <a:moveTo>
                    <a:pt x="2160" y="19800"/>
                  </a:moveTo>
                  <a:cubicBezTo>
                    <a:pt x="19440" y="19800"/>
                    <a:pt x="19440" y="19800"/>
                    <a:pt x="19440" y="19800"/>
                  </a:cubicBezTo>
                  <a:cubicBezTo>
                    <a:pt x="19440" y="1800"/>
                    <a:pt x="19440" y="1800"/>
                    <a:pt x="19440" y="1800"/>
                  </a:cubicBezTo>
                  <a:cubicBezTo>
                    <a:pt x="2160" y="1800"/>
                    <a:pt x="2160" y="1800"/>
                    <a:pt x="2160" y="1800"/>
                  </a:cubicBezTo>
                  <a:lnTo>
                    <a:pt x="2160" y="19800"/>
                  </a:lnTo>
                  <a:close/>
                  <a:moveTo>
                    <a:pt x="10800" y="18000"/>
                  </a:moveTo>
                  <a:cubicBezTo>
                    <a:pt x="10260" y="18000"/>
                    <a:pt x="9720" y="17550"/>
                    <a:pt x="9720" y="17100"/>
                  </a:cubicBezTo>
                  <a:cubicBezTo>
                    <a:pt x="9720" y="4500"/>
                    <a:pt x="9720" y="4500"/>
                    <a:pt x="9720" y="4500"/>
                  </a:cubicBezTo>
                  <a:cubicBezTo>
                    <a:pt x="9720" y="4050"/>
                    <a:pt x="10260" y="3600"/>
                    <a:pt x="10800" y="3600"/>
                  </a:cubicBezTo>
                  <a:cubicBezTo>
                    <a:pt x="11340" y="3600"/>
                    <a:pt x="11880" y="4050"/>
                    <a:pt x="11880" y="4500"/>
                  </a:cubicBezTo>
                  <a:cubicBezTo>
                    <a:pt x="11880" y="17100"/>
                    <a:pt x="11880" y="17100"/>
                    <a:pt x="11880" y="17100"/>
                  </a:cubicBezTo>
                  <a:cubicBezTo>
                    <a:pt x="11880" y="17550"/>
                    <a:pt x="11340" y="18000"/>
                    <a:pt x="10800" y="18000"/>
                  </a:cubicBezTo>
                  <a:close/>
                </a:path>
              </a:pathLst>
            </a:custGeom>
            <a:solidFill>
              <a:srgbClr val="FFFFFF"/>
            </a:solidFill>
            <a:ln w="12700" cap="flat">
              <a:noFill/>
              <a:miter lim="400000"/>
            </a:ln>
            <a:effectLst/>
          </p:spPr>
          <p:txBody>
            <a:bodyPr wrap="square" lIns="0" tIns="0" rIns="0" bIns="0" numCol="1" anchor="t">
              <a:noAutofit/>
            </a:bodyPr>
            <a:lstStyle/>
            <a:p>
              <a:endParaRPr/>
            </a:p>
          </p:txBody>
        </p:sp>
        <p:sp>
          <p:nvSpPr>
            <p:cNvPr id="774" name="Shape 774"/>
            <p:cNvSpPr/>
            <p:nvPr/>
          </p:nvSpPr>
          <p:spPr>
            <a:xfrm>
              <a:off x="69568" y="72140"/>
              <a:ext cx="122374" cy="166781"/>
            </a:xfrm>
            <a:custGeom>
              <a:avLst/>
              <a:gdLst/>
              <a:ahLst/>
              <a:cxnLst>
                <a:cxn ang="0">
                  <a:pos x="wd2" y="hd2"/>
                </a:cxn>
                <a:cxn ang="5400000">
                  <a:pos x="wd2" y="hd2"/>
                </a:cxn>
                <a:cxn ang="10800000">
                  <a:pos x="wd2" y="hd2"/>
                </a:cxn>
                <a:cxn ang="16200000">
                  <a:pos x="wd2" y="hd2"/>
                </a:cxn>
              </a:cxnLst>
              <a:rect l="0" t="0" r="r" b="b"/>
              <a:pathLst>
                <a:path w="20922" h="20869" extrusionOk="0">
                  <a:moveTo>
                    <a:pt x="10455" y="20869"/>
                  </a:moveTo>
                  <a:cubicBezTo>
                    <a:pt x="7613" y="20869"/>
                    <a:pt x="4202" y="20038"/>
                    <a:pt x="1360" y="19623"/>
                  </a:cubicBezTo>
                  <a:cubicBezTo>
                    <a:pt x="223" y="19207"/>
                    <a:pt x="-345" y="17961"/>
                    <a:pt x="223" y="17131"/>
                  </a:cubicBezTo>
                  <a:cubicBezTo>
                    <a:pt x="223" y="16300"/>
                    <a:pt x="1929" y="15884"/>
                    <a:pt x="3066" y="16300"/>
                  </a:cubicBezTo>
                  <a:cubicBezTo>
                    <a:pt x="7613" y="17546"/>
                    <a:pt x="12729" y="17961"/>
                    <a:pt x="15002" y="16715"/>
                  </a:cubicBezTo>
                  <a:cubicBezTo>
                    <a:pt x="15571" y="16300"/>
                    <a:pt x="16139" y="15884"/>
                    <a:pt x="16139" y="14638"/>
                  </a:cubicBezTo>
                  <a:cubicBezTo>
                    <a:pt x="16139" y="13392"/>
                    <a:pt x="14434" y="12977"/>
                    <a:pt x="10455" y="12146"/>
                  </a:cubicBezTo>
                  <a:cubicBezTo>
                    <a:pt x="6476" y="10900"/>
                    <a:pt x="1360" y="9654"/>
                    <a:pt x="1360" y="5500"/>
                  </a:cubicBezTo>
                  <a:cubicBezTo>
                    <a:pt x="1360" y="3423"/>
                    <a:pt x="2497" y="1761"/>
                    <a:pt x="4771" y="931"/>
                  </a:cubicBezTo>
                  <a:cubicBezTo>
                    <a:pt x="9318" y="-731"/>
                    <a:pt x="16708" y="100"/>
                    <a:pt x="20118" y="1346"/>
                  </a:cubicBezTo>
                  <a:cubicBezTo>
                    <a:pt x="20687" y="1761"/>
                    <a:pt x="21255" y="3007"/>
                    <a:pt x="20687" y="3838"/>
                  </a:cubicBezTo>
                  <a:cubicBezTo>
                    <a:pt x="20118" y="4669"/>
                    <a:pt x="18981" y="4669"/>
                    <a:pt x="17844" y="4254"/>
                  </a:cubicBezTo>
                  <a:cubicBezTo>
                    <a:pt x="15571" y="3423"/>
                    <a:pt x="9887" y="2592"/>
                    <a:pt x="7044" y="3838"/>
                  </a:cubicBezTo>
                  <a:cubicBezTo>
                    <a:pt x="5908" y="4254"/>
                    <a:pt x="5908" y="4669"/>
                    <a:pt x="5908" y="5500"/>
                  </a:cubicBezTo>
                  <a:cubicBezTo>
                    <a:pt x="5908" y="7161"/>
                    <a:pt x="7613" y="7992"/>
                    <a:pt x="12160" y="8823"/>
                  </a:cubicBezTo>
                  <a:cubicBezTo>
                    <a:pt x="15571" y="9654"/>
                    <a:pt x="20687" y="10900"/>
                    <a:pt x="20687" y="14638"/>
                  </a:cubicBezTo>
                  <a:cubicBezTo>
                    <a:pt x="20687" y="17131"/>
                    <a:pt x="18981" y="18792"/>
                    <a:pt x="17276" y="19623"/>
                  </a:cubicBezTo>
                  <a:cubicBezTo>
                    <a:pt x="15571" y="20454"/>
                    <a:pt x="13297" y="20869"/>
                    <a:pt x="10455" y="20869"/>
                  </a:cubicBezTo>
                  <a:close/>
                </a:path>
              </a:pathLst>
            </a:custGeom>
            <a:solidFill>
              <a:srgbClr val="FFFFFF"/>
            </a:solidFill>
            <a:ln w="12700" cap="flat">
              <a:noFill/>
              <a:miter lim="400000"/>
            </a:ln>
            <a:effectLst/>
          </p:spPr>
          <p:txBody>
            <a:bodyPr wrap="square" lIns="0" tIns="0" rIns="0" bIns="0" numCol="1" anchor="t">
              <a:noAutofit/>
            </a:bodyPr>
            <a:lstStyle/>
            <a:p>
              <a:endParaRPr/>
            </a:p>
          </p:txBody>
        </p:sp>
      </p:grpSp>
      <p:grpSp>
        <p:nvGrpSpPr>
          <p:cNvPr id="778" name="Group 778"/>
          <p:cNvGrpSpPr/>
          <p:nvPr/>
        </p:nvGrpSpPr>
        <p:grpSpPr>
          <a:xfrm>
            <a:off x="11434985" y="424645"/>
            <a:ext cx="320230" cy="292710"/>
            <a:chOff x="0" y="0"/>
            <a:chExt cx="320229" cy="292709"/>
          </a:xfrm>
        </p:grpSpPr>
        <p:sp>
          <p:nvSpPr>
            <p:cNvPr id="776" name="Shape 776"/>
            <p:cNvSpPr/>
            <p:nvPr/>
          </p:nvSpPr>
          <p:spPr>
            <a:xfrm>
              <a:off x="-1" y="-1"/>
              <a:ext cx="320231" cy="292710"/>
            </a:xfrm>
            <a:custGeom>
              <a:avLst/>
              <a:gdLst/>
              <a:ahLst/>
              <a:cxnLst>
                <a:cxn ang="0">
                  <a:pos x="wd2" y="hd2"/>
                </a:cxn>
                <a:cxn ang="5400000">
                  <a:pos x="wd2" y="hd2"/>
                </a:cxn>
                <a:cxn ang="10800000">
                  <a:pos x="wd2" y="hd2"/>
                </a:cxn>
                <a:cxn ang="16200000">
                  <a:pos x="wd2" y="hd2"/>
                </a:cxn>
              </a:cxnLst>
              <a:rect l="0" t="0" r="r" b="b"/>
              <a:pathLst>
                <a:path w="21600" h="21600" extrusionOk="0">
                  <a:moveTo>
                    <a:pt x="18900" y="21600"/>
                  </a:moveTo>
                  <a:cubicBezTo>
                    <a:pt x="14400" y="21600"/>
                    <a:pt x="14400" y="21600"/>
                    <a:pt x="14400" y="21600"/>
                  </a:cubicBezTo>
                  <a:cubicBezTo>
                    <a:pt x="13950" y="21600"/>
                    <a:pt x="13500" y="21109"/>
                    <a:pt x="13500" y="20618"/>
                  </a:cubicBezTo>
                  <a:cubicBezTo>
                    <a:pt x="13500" y="20127"/>
                    <a:pt x="13950" y="19636"/>
                    <a:pt x="14400" y="19636"/>
                  </a:cubicBezTo>
                  <a:cubicBezTo>
                    <a:pt x="18900" y="19636"/>
                    <a:pt x="18900" y="19636"/>
                    <a:pt x="18900" y="19636"/>
                  </a:cubicBezTo>
                  <a:cubicBezTo>
                    <a:pt x="19350" y="19636"/>
                    <a:pt x="19800" y="19145"/>
                    <a:pt x="19800" y="18655"/>
                  </a:cubicBezTo>
                  <a:cubicBezTo>
                    <a:pt x="19800" y="5891"/>
                    <a:pt x="19800" y="5891"/>
                    <a:pt x="19800" y="5891"/>
                  </a:cubicBezTo>
                  <a:cubicBezTo>
                    <a:pt x="10800" y="5891"/>
                    <a:pt x="10800" y="5891"/>
                    <a:pt x="10800" y="5891"/>
                  </a:cubicBezTo>
                  <a:cubicBezTo>
                    <a:pt x="10575" y="5891"/>
                    <a:pt x="10350" y="5645"/>
                    <a:pt x="10125" y="5400"/>
                  </a:cubicBezTo>
                  <a:cubicBezTo>
                    <a:pt x="7650" y="1964"/>
                    <a:pt x="7650" y="1964"/>
                    <a:pt x="7650" y="1964"/>
                  </a:cubicBezTo>
                  <a:cubicBezTo>
                    <a:pt x="1800" y="1964"/>
                    <a:pt x="1800" y="1964"/>
                    <a:pt x="1800" y="1964"/>
                  </a:cubicBezTo>
                  <a:cubicBezTo>
                    <a:pt x="1800" y="18655"/>
                    <a:pt x="1800" y="18655"/>
                    <a:pt x="1800" y="18655"/>
                  </a:cubicBezTo>
                  <a:cubicBezTo>
                    <a:pt x="1800" y="19145"/>
                    <a:pt x="2250" y="19636"/>
                    <a:pt x="2700" y="19636"/>
                  </a:cubicBezTo>
                  <a:cubicBezTo>
                    <a:pt x="3600" y="19636"/>
                    <a:pt x="3600" y="19636"/>
                    <a:pt x="3600" y="19636"/>
                  </a:cubicBezTo>
                  <a:cubicBezTo>
                    <a:pt x="4050" y="19636"/>
                    <a:pt x="4500" y="20127"/>
                    <a:pt x="4500" y="20618"/>
                  </a:cubicBezTo>
                  <a:cubicBezTo>
                    <a:pt x="4500" y="21109"/>
                    <a:pt x="4050" y="21600"/>
                    <a:pt x="3600" y="21600"/>
                  </a:cubicBezTo>
                  <a:cubicBezTo>
                    <a:pt x="2700" y="21600"/>
                    <a:pt x="2700" y="21600"/>
                    <a:pt x="2700" y="21600"/>
                  </a:cubicBezTo>
                  <a:cubicBezTo>
                    <a:pt x="1125" y="21600"/>
                    <a:pt x="0" y="20373"/>
                    <a:pt x="0" y="18655"/>
                  </a:cubicBezTo>
                  <a:cubicBezTo>
                    <a:pt x="0" y="982"/>
                    <a:pt x="0" y="982"/>
                    <a:pt x="0" y="982"/>
                  </a:cubicBezTo>
                  <a:cubicBezTo>
                    <a:pt x="0" y="491"/>
                    <a:pt x="450" y="0"/>
                    <a:pt x="900" y="0"/>
                  </a:cubicBezTo>
                  <a:cubicBezTo>
                    <a:pt x="8100" y="0"/>
                    <a:pt x="8100" y="0"/>
                    <a:pt x="8100" y="0"/>
                  </a:cubicBezTo>
                  <a:cubicBezTo>
                    <a:pt x="8325" y="0"/>
                    <a:pt x="8550" y="245"/>
                    <a:pt x="8775" y="491"/>
                  </a:cubicBezTo>
                  <a:cubicBezTo>
                    <a:pt x="11250" y="3927"/>
                    <a:pt x="11250" y="3927"/>
                    <a:pt x="11250" y="3927"/>
                  </a:cubicBezTo>
                  <a:cubicBezTo>
                    <a:pt x="20700" y="3927"/>
                    <a:pt x="20700" y="3927"/>
                    <a:pt x="20700" y="3927"/>
                  </a:cubicBezTo>
                  <a:cubicBezTo>
                    <a:pt x="21150" y="3927"/>
                    <a:pt x="21600" y="4418"/>
                    <a:pt x="21600" y="4909"/>
                  </a:cubicBezTo>
                  <a:cubicBezTo>
                    <a:pt x="21600" y="18655"/>
                    <a:pt x="21600" y="18655"/>
                    <a:pt x="21600" y="18655"/>
                  </a:cubicBezTo>
                  <a:cubicBezTo>
                    <a:pt x="21600" y="20373"/>
                    <a:pt x="20475" y="21600"/>
                    <a:pt x="18900" y="21600"/>
                  </a:cubicBezTo>
                  <a:close/>
                </a:path>
              </a:pathLst>
            </a:custGeom>
            <a:solidFill>
              <a:srgbClr val="FFFFFF"/>
            </a:solidFill>
            <a:ln w="12700" cap="flat">
              <a:noFill/>
              <a:miter lim="400000"/>
            </a:ln>
            <a:effectLst/>
          </p:spPr>
          <p:txBody>
            <a:bodyPr wrap="square" lIns="0" tIns="0" rIns="0" bIns="0" numCol="1" anchor="t">
              <a:noAutofit/>
            </a:bodyPr>
            <a:lstStyle/>
            <a:p>
              <a:endParaRPr/>
            </a:p>
          </p:txBody>
        </p:sp>
        <p:sp>
          <p:nvSpPr>
            <p:cNvPr id="777" name="Shape 777"/>
            <p:cNvSpPr/>
            <p:nvPr/>
          </p:nvSpPr>
          <p:spPr>
            <a:xfrm>
              <a:off x="93817" y="107157"/>
              <a:ext cx="185552" cy="185552"/>
            </a:xfrm>
            <a:custGeom>
              <a:avLst/>
              <a:gdLst/>
              <a:ahLst/>
              <a:cxnLst>
                <a:cxn ang="0">
                  <a:pos x="wd2" y="hd2"/>
                </a:cxn>
                <a:cxn ang="5400000">
                  <a:pos x="wd2" y="hd2"/>
                </a:cxn>
                <a:cxn ang="10800000">
                  <a:pos x="wd2" y="hd2"/>
                </a:cxn>
                <a:cxn ang="16200000">
                  <a:pos x="wd2" y="hd2"/>
                </a:cxn>
              </a:cxnLst>
              <a:rect l="0" t="0" r="r" b="b"/>
              <a:pathLst>
                <a:path w="21504" h="21504" extrusionOk="0">
                  <a:moveTo>
                    <a:pt x="1543" y="21504"/>
                  </a:moveTo>
                  <a:cubicBezTo>
                    <a:pt x="1157" y="21504"/>
                    <a:pt x="771" y="21504"/>
                    <a:pt x="386" y="21118"/>
                  </a:cubicBezTo>
                  <a:cubicBezTo>
                    <a:pt x="0" y="20733"/>
                    <a:pt x="0" y="19961"/>
                    <a:pt x="0" y="19575"/>
                  </a:cubicBezTo>
                  <a:cubicBezTo>
                    <a:pt x="1543" y="13404"/>
                    <a:pt x="1543" y="13404"/>
                    <a:pt x="1543" y="13404"/>
                  </a:cubicBezTo>
                  <a:cubicBezTo>
                    <a:pt x="1543" y="13018"/>
                    <a:pt x="1929" y="13018"/>
                    <a:pt x="1929" y="12633"/>
                  </a:cubicBezTo>
                  <a:cubicBezTo>
                    <a:pt x="14271" y="290"/>
                    <a:pt x="14271" y="290"/>
                    <a:pt x="14271" y="290"/>
                  </a:cubicBezTo>
                  <a:cubicBezTo>
                    <a:pt x="15043" y="-96"/>
                    <a:pt x="15814" y="-96"/>
                    <a:pt x="16586" y="290"/>
                  </a:cubicBezTo>
                  <a:cubicBezTo>
                    <a:pt x="21214" y="4918"/>
                    <a:pt x="21214" y="4918"/>
                    <a:pt x="21214" y="4918"/>
                  </a:cubicBezTo>
                  <a:cubicBezTo>
                    <a:pt x="21600" y="5690"/>
                    <a:pt x="21600" y="6461"/>
                    <a:pt x="21214" y="7233"/>
                  </a:cubicBezTo>
                  <a:cubicBezTo>
                    <a:pt x="8871" y="19575"/>
                    <a:pt x="8871" y="19575"/>
                    <a:pt x="8871" y="19575"/>
                  </a:cubicBezTo>
                  <a:cubicBezTo>
                    <a:pt x="8486" y="19575"/>
                    <a:pt x="8486" y="19961"/>
                    <a:pt x="8100" y="19961"/>
                  </a:cubicBezTo>
                  <a:cubicBezTo>
                    <a:pt x="1929" y="21504"/>
                    <a:pt x="1929" y="21504"/>
                    <a:pt x="1929" y="21504"/>
                  </a:cubicBezTo>
                  <a:cubicBezTo>
                    <a:pt x="1929" y="21504"/>
                    <a:pt x="1543" y="21504"/>
                    <a:pt x="1543" y="21504"/>
                  </a:cubicBezTo>
                  <a:close/>
                  <a:moveTo>
                    <a:pt x="7714" y="18418"/>
                  </a:moveTo>
                  <a:cubicBezTo>
                    <a:pt x="7714" y="18418"/>
                    <a:pt x="7714" y="18418"/>
                    <a:pt x="7714" y="18418"/>
                  </a:cubicBezTo>
                  <a:close/>
                  <a:moveTo>
                    <a:pt x="4629" y="14561"/>
                  </a:moveTo>
                  <a:cubicBezTo>
                    <a:pt x="3471" y="18033"/>
                    <a:pt x="3471" y="18033"/>
                    <a:pt x="3471" y="18033"/>
                  </a:cubicBezTo>
                  <a:cubicBezTo>
                    <a:pt x="6943" y="16875"/>
                    <a:pt x="6943" y="16875"/>
                    <a:pt x="6943" y="16875"/>
                  </a:cubicBezTo>
                  <a:cubicBezTo>
                    <a:pt x="17743" y="6075"/>
                    <a:pt x="17743" y="6075"/>
                    <a:pt x="17743" y="6075"/>
                  </a:cubicBezTo>
                  <a:cubicBezTo>
                    <a:pt x="15429" y="3761"/>
                    <a:pt x="15429" y="3761"/>
                    <a:pt x="15429" y="3761"/>
                  </a:cubicBezTo>
                  <a:lnTo>
                    <a:pt x="4629" y="14561"/>
                  </a:lnTo>
                  <a:close/>
                </a:path>
              </a:pathLst>
            </a:custGeom>
            <a:solidFill>
              <a:srgbClr val="FFFFFF"/>
            </a:solidFill>
            <a:ln w="12700" cap="flat">
              <a:noFill/>
              <a:miter lim="400000"/>
            </a:ln>
            <a:effectLst/>
          </p:spPr>
          <p:txBody>
            <a:bodyPr wrap="square" lIns="0" tIns="0" rIns="0" bIns="0" numCol="1" anchor="t">
              <a:noAutofit/>
            </a:bodyPr>
            <a:lstStyle/>
            <a:p>
              <a:endParaRPr/>
            </a:p>
          </p:txBody>
        </p:sp>
      </p:grpSp>
      <p:sp>
        <p:nvSpPr>
          <p:cNvPr id="779" name="Shape 779"/>
          <p:cNvSpPr/>
          <p:nvPr/>
        </p:nvSpPr>
        <p:spPr>
          <a:xfrm>
            <a:off x="11443117" y="3855341"/>
            <a:ext cx="303968" cy="290350"/>
          </a:xfrm>
          <a:custGeom>
            <a:avLst/>
            <a:gdLst/>
            <a:ahLst/>
            <a:cxnLst>
              <a:cxn ang="0">
                <a:pos x="wd2" y="hd2"/>
              </a:cxn>
              <a:cxn ang="5400000">
                <a:pos x="wd2" y="hd2"/>
              </a:cxn>
              <a:cxn ang="10800000">
                <a:pos x="wd2" y="hd2"/>
              </a:cxn>
              <a:cxn ang="16200000">
                <a:pos x="wd2" y="hd2"/>
              </a:cxn>
            </a:cxnLst>
            <a:rect l="0" t="0" r="r" b="b"/>
            <a:pathLst>
              <a:path w="21600" h="21426" extrusionOk="0">
                <a:moveTo>
                  <a:pt x="20700" y="21426"/>
                </a:moveTo>
                <a:cubicBezTo>
                  <a:pt x="900" y="21426"/>
                  <a:pt x="900" y="21426"/>
                  <a:pt x="900" y="21426"/>
                </a:cubicBezTo>
                <a:cubicBezTo>
                  <a:pt x="450" y="21426"/>
                  <a:pt x="0" y="20961"/>
                  <a:pt x="0" y="20497"/>
                </a:cubicBezTo>
                <a:cubicBezTo>
                  <a:pt x="0" y="18174"/>
                  <a:pt x="0" y="18174"/>
                  <a:pt x="0" y="18174"/>
                </a:cubicBezTo>
                <a:cubicBezTo>
                  <a:pt x="0" y="16781"/>
                  <a:pt x="900" y="15852"/>
                  <a:pt x="2025" y="15387"/>
                </a:cubicBezTo>
                <a:cubicBezTo>
                  <a:pt x="3375" y="15155"/>
                  <a:pt x="6300" y="14226"/>
                  <a:pt x="6975" y="14226"/>
                </a:cubicBezTo>
                <a:cubicBezTo>
                  <a:pt x="7650" y="13994"/>
                  <a:pt x="7875" y="13529"/>
                  <a:pt x="7875" y="13529"/>
                </a:cubicBezTo>
                <a:cubicBezTo>
                  <a:pt x="8100" y="12600"/>
                  <a:pt x="7875" y="12136"/>
                  <a:pt x="7650" y="11903"/>
                </a:cubicBezTo>
                <a:cubicBezTo>
                  <a:pt x="6300" y="10974"/>
                  <a:pt x="5400" y="9349"/>
                  <a:pt x="5400" y="7491"/>
                </a:cubicBezTo>
                <a:cubicBezTo>
                  <a:pt x="5400" y="5632"/>
                  <a:pt x="5400" y="5632"/>
                  <a:pt x="5400" y="5632"/>
                </a:cubicBezTo>
                <a:cubicBezTo>
                  <a:pt x="5400" y="4007"/>
                  <a:pt x="6075" y="2613"/>
                  <a:pt x="7200" y="1452"/>
                </a:cubicBezTo>
                <a:cubicBezTo>
                  <a:pt x="8325" y="291"/>
                  <a:pt x="9900" y="-174"/>
                  <a:pt x="11250" y="58"/>
                </a:cubicBezTo>
                <a:cubicBezTo>
                  <a:pt x="14175" y="291"/>
                  <a:pt x="16200" y="2845"/>
                  <a:pt x="16200" y="5865"/>
                </a:cubicBezTo>
                <a:cubicBezTo>
                  <a:pt x="16200" y="7491"/>
                  <a:pt x="16200" y="7491"/>
                  <a:pt x="16200" y="7491"/>
                </a:cubicBezTo>
                <a:cubicBezTo>
                  <a:pt x="16200" y="9349"/>
                  <a:pt x="15525" y="10974"/>
                  <a:pt x="13950" y="11903"/>
                </a:cubicBezTo>
                <a:cubicBezTo>
                  <a:pt x="13725" y="12136"/>
                  <a:pt x="13500" y="12368"/>
                  <a:pt x="13725" y="13297"/>
                </a:cubicBezTo>
                <a:cubicBezTo>
                  <a:pt x="13950" y="13761"/>
                  <a:pt x="14175" y="13994"/>
                  <a:pt x="14625" y="14226"/>
                </a:cubicBezTo>
                <a:cubicBezTo>
                  <a:pt x="14625" y="14226"/>
                  <a:pt x="14850" y="14226"/>
                  <a:pt x="14850" y="14226"/>
                </a:cubicBezTo>
                <a:cubicBezTo>
                  <a:pt x="15075" y="14226"/>
                  <a:pt x="15975" y="14458"/>
                  <a:pt x="16650" y="14691"/>
                </a:cubicBezTo>
                <a:cubicBezTo>
                  <a:pt x="17775" y="14923"/>
                  <a:pt x="18675" y="15387"/>
                  <a:pt x="19575" y="15620"/>
                </a:cubicBezTo>
                <a:cubicBezTo>
                  <a:pt x="20700" y="15852"/>
                  <a:pt x="21600" y="17013"/>
                  <a:pt x="21600" y="18174"/>
                </a:cubicBezTo>
                <a:cubicBezTo>
                  <a:pt x="21600" y="20497"/>
                  <a:pt x="21600" y="20497"/>
                  <a:pt x="21600" y="20497"/>
                </a:cubicBezTo>
                <a:cubicBezTo>
                  <a:pt x="21600" y="20961"/>
                  <a:pt x="21150" y="21426"/>
                  <a:pt x="20700" y="21426"/>
                </a:cubicBezTo>
                <a:close/>
                <a:moveTo>
                  <a:pt x="1800" y="19568"/>
                </a:moveTo>
                <a:cubicBezTo>
                  <a:pt x="19800" y="19568"/>
                  <a:pt x="19800" y="19568"/>
                  <a:pt x="19800" y="19568"/>
                </a:cubicBezTo>
                <a:cubicBezTo>
                  <a:pt x="19800" y="18174"/>
                  <a:pt x="19800" y="18174"/>
                  <a:pt x="19800" y="18174"/>
                </a:cubicBezTo>
                <a:cubicBezTo>
                  <a:pt x="19800" y="17710"/>
                  <a:pt x="19575" y="17478"/>
                  <a:pt x="19125" y="17245"/>
                </a:cubicBezTo>
                <a:cubicBezTo>
                  <a:pt x="19125" y="17245"/>
                  <a:pt x="19125" y="17245"/>
                  <a:pt x="19125" y="17245"/>
                </a:cubicBezTo>
                <a:cubicBezTo>
                  <a:pt x="18225" y="17013"/>
                  <a:pt x="17325" y="16781"/>
                  <a:pt x="16200" y="16549"/>
                </a:cubicBezTo>
                <a:cubicBezTo>
                  <a:pt x="15300" y="16316"/>
                  <a:pt x="14625" y="16084"/>
                  <a:pt x="14175" y="16084"/>
                </a:cubicBezTo>
                <a:cubicBezTo>
                  <a:pt x="13050" y="15620"/>
                  <a:pt x="12375" y="14923"/>
                  <a:pt x="11925" y="13994"/>
                </a:cubicBezTo>
                <a:cubicBezTo>
                  <a:pt x="11700" y="12368"/>
                  <a:pt x="11925" y="11207"/>
                  <a:pt x="13050" y="10510"/>
                </a:cubicBezTo>
                <a:cubicBezTo>
                  <a:pt x="13950" y="9813"/>
                  <a:pt x="14400" y="8652"/>
                  <a:pt x="14400" y="7491"/>
                </a:cubicBezTo>
                <a:cubicBezTo>
                  <a:pt x="14400" y="5865"/>
                  <a:pt x="14400" y="5865"/>
                  <a:pt x="14400" y="5865"/>
                </a:cubicBezTo>
                <a:cubicBezTo>
                  <a:pt x="14400" y="3774"/>
                  <a:pt x="13050" y="2149"/>
                  <a:pt x="11250" y="1916"/>
                </a:cubicBezTo>
                <a:cubicBezTo>
                  <a:pt x="10125" y="1916"/>
                  <a:pt x="9225" y="2149"/>
                  <a:pt x="8325" y="2845"/>
                </a:cubicBezTo>
                <a:cubicBezTo>
                  <a:pt x="7650" y="3542"/>
                  <a:pt x="7200" y="4471"/>
                  <a:pt x="7200" y="5632"/>
                </a:cubicBezTo>
                <a:cubicBezTo>
                  <a:pt x="7200" y="7491"/>
                  <a:pt x="7200" y="7491"/>
                  <a:pt x="7200" y="7491"/>
                </a:cubicBezTo>
                <a:cubicBezTo>
                  <a:pt x="7200" y="8652"/>
                  <a:pt x="7650" y="9813"/>
                  <a:pt x="8550" y="10510"/>
                </a:cubicBezTo>
                <a:cubicBezTo>
                  <a:pt x="9450" y="10974"/>
                  <a:pt x="10125" y="12136"/>
                  <a:pt x="9675" y="13994"/>
                </a:cubicBezTo>
                <a:cubicBezTo>
                  <a:pt x="9450" y="14923"/>
                  <a:pt x="8550" y="15620"/>
                  <a:pt x="7200" y="16084"/>
                </a:cubicBezTo>
                <a:cubicBezTo>
                  <a:pt x="6750" y="16084"/>
                  <a:pt x="4275" y="16781"/>
                  <a:pt x="2475" y="17245"/>
                </a:cubicBezTo>
                <a:cubicBezTo>
                  <a:pt x="2025" y="17478"/>
                  <a:pt x="1800" y="17710"/>
                  <a:pt x="1800" y="18174"/>
                </a:cubicBezTo>
                <a:lnTo>
                  <a:pt x="1800" y="19568"/>
                </a:lnTo>
                <a:close/>
              </a:path>
            </a:pathLst>
          </a:custGeom>
          <a:solidFill>
            <a:srgbClr val="FFFFFF"/>
          </a:solidFill>
          <a:ln w="12700">
            <a:miter lim="400000"/>
          </a:ln>
        </p:spPr>
        <p:txBody>
          <a:bodyPr lIns="0" tIns="0" rIns="0" bIns="0"/>
          <a:lstStyle/>
          <a:p>
            <a:endParaRPr/>
          </a:p>
        </p:txBody>
      </p:sp>
      <p:sp>
        <p:nvSpPr>
          <p:cNvPr id="780" name="Shape 780"/>
          <p:cNvSpPr/>
          <p:nvPr/>
        </p:nvSpPr>
        <p:spPr>
          <a:xfrm>
            <a:off x="11239500" y="1145869"/>
            <a:ext cx="711200" cy="1"/>
          </a:xfrm>
          <a:prstGeom prst="line">
            <a:avLst/>
          </a:prstGeom>
          <a:ln w="12700">
            <a:solidFill>
              <a:srgbClr val="009DE0"/>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781" name="Shape 781"/>
          <p:cNvSpPr/>
          <p:nvPr/>
        </p:nvSpPr>
        <p:spPr>
          <a:xfrm>
            <a:off x="11239500" y="2297641"/>
            <a:ext cx="711200" cy="1"/>
          </a:xfrm>
          <a:prstGeom prst="line">
            <a:avLst/>
          </a:prstGeom>
          <a:ln w="12700">
            <a:solidFill>
              <a:srgbClr val="009DE0"/>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782" name="Shape 782"/>
          <p:cNvSpPr/>
          <p:nvPr/>
        </p:nvSpPr>
        <p:spPr>
          <a:xfrm>
            <a:off x="11239500" y="3433550"/>
            <a:ext cx="711200" cy="1"/>
          </a:xfrm>
          <a:prstGeom prst="line">
            <a:avLst/>
          </a:prstGeom>
          <a:ln w="12700">
            <a:solidFill>
              <a:srgbClr val="009DE0"/>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783" name="Shape 783"/>
          <p:cNvSpPr/>
          <p:nvPr/>
        </p:nvSpPr>
        <p:spPr>
          <a:xfrm>
            <a:off x="11239500" y="4559336"/>
            <a:ext cx="711200" cy="1"/>
          </a:xfrm>
          <a:prstGeom prst="line">
            <a:avLst/>
          </a:prstGeom>
          <a:ln w="12700">
            <a:solidFill>
              <a:srgbClr val="009DE0"/>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784" name="Shape 784"/>
          <p:cNvSpPr/>
          <p:nvPr/>
        </p:nvSpPr>
        <p:spPr>
          <a:xfrm>
            <a:off x="11239500" y="5713824"/>
            <a:ext cx="711200" cy="1"/>
          </a:xfrm>
          <a:prstGeom prst="line">
            <a:avLst/>
          </a:prstGeom>
          <a:ln w="12700">
            <a:solidFill>
              <a:srgbClr val="009DE0"/>
            </a:solidFill>
          </a:ln>
        </p:spPr>
        <p:txBody>
          <a:bodyPr lIns="0" tIns="0" rIns="0" bIns="0"/>
          <a:lstStyle/>
          <a:p>
            <a:pPr>
              <a:defRPr sz="1200">
                <a:solidFill>
                  <a:srgbClr val="000000"/>
                </a:solidFill>
                <a:latin typeface="Helvetica"/>
                <a:ea typeface="Helvetica"/>
                <a:cs typeface="Helvetica"/>
                <a:sym typeface="Helvetica"/>
              </a:defRPr>
            </a:pPr>
            <a:endParaRPr/>
          </a:p>
        </p:txBody>
      </p:sp>
      <p:sp>
        <p:nvSpPr>
          <p:cNvPr id="785" name="Shape 785"/>
          <p:cNvSpPr/>
          <p:nvPr/>
        </p:nvSpPr>
        <p:spPr>
          <a:xfrm>
            <a:off x="482600" y="3069021"/>
            <a:ext cx="4533900" cy="9779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a:defRPr sz="1000">
                <a:solidFill>
                  <a:srgbClr val="FF2600"/>
                </a:solidFill>
              </a:defRPr>
            </a:pPr>
            <a:r>
              <a:t>These slides provide options to create a clickable navigation elements to jump to different sections of your presentation. To create clickable elements (and to remove this note) choose “Slide Master” from the “View” tab.</a:t>
            </a:r>
          </a:p>
          <a:p>
            <a:pPr>
              <a:defRPr sz="1000">
                <a:solidFill>
                  <a:srgbClr val="FF2600"/>
                </a:solidFill>
              </a:defRPr>
            </a:pPr>
            <a:endParaRPr/>
          </a:p>
          <a:p>
            <a:pPr>
              <a:defRPr sz="1000">
                <a:solidFill>
                  <a:srgbClr val="FF2600"/>
                </a:solidFill>
              </a:defRPr>
            </a:pPr>
            <a:r>
              <a:t>To create hyperlinks on the navigation elements, select the element and choose “Hyperlink” from the “Insert” tab. Then choose “Place in This Document” from the dialog box and select a slide.</a:t>
            </a:r>
          </a:p>
        </p:txBody>
      </p:sp>
      <p:sp>
        <p:nvSpPr>
          <p:cNvPr id="786" name="Shape 786"/>
          <p:cNvSpPr>
            <a:spLocks noGrp="1"/>
          </p:cNvSpPr>
          <p:nvPr>
            <p:ph type="body" sz="quarter" idx="13"/>
          </p:nvPr>
        </p:nvSpPr>
        <p:spPr>
          <a:xfrm>
            <a:off x="485775" y="806807"/>
            <a:ext cx="9509126" cy="318477"/>
          </a:xfrm>
          <a:prstGeom prst="rect">
            <a:avLst/>
          </a:prstGeom>
        </p:spPr>
        <p:txBody>
          <a:bodyPr/>
          <a:lstStyle>
            <a:lvl1pPr>
              <a:defRPr sz="2000" b="1">
                <a:solidFill>
                  <a:srgbClr val="002C77"/>
                </a:solidFill>
              </a:defRPr>
            </a:lvl1pPr>
          </a:lstStyle>
          <a:p>
            <a:r>
              <a:t> </a:t>
            </a:r>
          </a:p>
        </p:txBody>
      </p:sp>
      <p:sp>
        <p:nvSpPr>
          <p:cNvPr id="787" name="Shape 787"/>
          <p:cNvSpPr>
            <a:spLocks noGrp="1"/>
          </p:cNvSpPr>
          <p:nvPr>
            <p:ph type="title"/>
          </p:nvPr>
        </p:nvSpPr>
        <p:spPr>
          <a:xfrm>
            <a:off x="485776" y="361950"/>
            <a:ext cx="9509125" cy="504825"/>
          </a:xfrm>
          <a:prstGeom prst="rect">
            <a:avLst/>
          </a:prstGeom>
        </p:spPr>
        <p:txBody>
          <a:bodyPr>
            <a:normAutofit/>
          </a:bodyPr>
          <a:lstStyle/>
          <a:p>
            <a:r>
              <a:t>Texto del título</a:t>
            </a:r>
          </a:p>
        </p:txBody>
      </p:sp>
      <p:sp>
        <p:nvSpPr>
          <p:cNvPr id="788" name="Shape 788"/>
          <p:cNvSpPr>
            <a:spLocks noGrp="1"/>
          </p:cNvSpPr>
          <p:nvPr>
            <p:ph type="body" sz="quarter" idx="1"/>
          </p:nvPr>
        </p:nvSpPr>
        <p:spPr>
          <a:xfrm>
            <a:off x="6162923" y="6388100"/>
            <a:ext cx="4603751" cy="247650"/>
          </a:xfrm>
          <a:prstGeom prst="rect">
            <a:avLst/>
          </a:prstGeom>
        </p:spPr>
        <p:txBody>
          <a:bodyPr anchor="b">
            <a:normAutofit/>
          </a:bodyPr>
          <a:lstStyle>
            <a:lvl1pPr algn="r">
              <a:spcBef>
                <a:spcPts val="0"/>
              </a:spcBef>
              <a:defRPr sz="800"/>
            </a:lvl1pPr>
            <a:lvl2pPr marL="0" indent="457200" algn="r">
              <a:spcBef>
                <a:spcPts val="0"/>
              </a:spcBef>
              <a:buSzTx/>
              <a:buNone/>
              <a:defRPr sz="800"/>
            </a:lvl2pPr>
            <a:lvl3pPr marL="0" indent="914400" algn="r">
              <a:spcBef>
                <a:spcPts val="0"/>
              </a:spcBef>
              <a:buSzTx/>
              <a:buNone/>
              <a:defRPr sz="800"/>
            </a:lvl3pPr>
            <a:lvl4pPr marL="0" indent="1371600" algn="r">
              <a:spcBef>
                <a:spcPts val="0"/>
              </a:spcBef>
              <a:buSzTx/>
              <a:buNone/>
              <a:defRPr sz="800"/>
            </a:lvl4pPr>
            <a:lvl5pPr marL="0" indent="1828800" algn="r">
              <a:spcBef>
                <a:spcPts val="0"/>
              </a:spcBef>
              <a:buSzTx/>
              <a:buNone/>
              <a:defRPr sz="800"/>
            </a:lvl5pPr>
          </a:lstStyle>
          <a:p>
            <a:r>
              <a:t>Nivel de texto 1</a:t>
            </a:r>
          </a:p>
          <a:p>
            <a:pPr lvl="1"/>
            <a:r>
              <a:t>Nivel de texto 2</a:t>
            </a:r>
          </a:p>
          <a:p>
            <a:pPr lvl="2"/>
            <a:r>
              <a:t>Nivel de texto 3</a:t>
            </a:r>
          </a:p>
          <a:p>
            <a:pPr lvl="3"/>
            <a:r>
              <a:t>Nivel de texto 4</a:t>
            </a:r>
          </a:p>
          <a:p>
            <a:pPr lvl="4"/>
            <a:r>
              <a:t>Nivel de texto 5</a:t>
            </a:r>
          </a:p>
        </p:txBody>
      </p:sp>
      <p:sp>
        <p:nvSpPr>
          <p:cNvPr id="789" name="Shape 789"/>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x">
  <p:cSld name="BACK PAGES">
    <p:spTree>
      <p:nvGrpSpPr>
        <p:cNvPr id="1" name=""/>
        <p:cNvGrpSpPr/>
        <p:nvPr/>
      </p:nvGrpSpPr>
      <p:grpSpPr>
        <a:xfrm>
          <a:off x="0" y="0"/>
          <a:ext cx="0" cy="0"/>
          <a:chOff x="0" y="0"/>
          <a:chExt cx="0" cy="0"/>
        </a:xfrm>
      </p:grpSpPr>
      <p:sp>
        <p:nvSpPr>
          <p:cNvPr id="796" name="Shape 796"/>
          <p:cNvSpPr/>
          <p:nvPr/>
        </p:nvSpPr>
        <p:spPr>
          <a:xfrm>
            <a:off x="374977" y="2577629"/>
            <a:ext cx="8483998" cy="1702744"/>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lvl1pPr>
              <a:defRPr sz="12000" b="1">
                <a:solidFill>
                  <a:srgbClr val="FFFFFF"/>
                </a:solidFill>
              </a:defRPr>
            </a:lvl1pPr>
          </a:lstStyle>
          <a:p>
            <a:r>
              <a:t>Back pages</a:t>
            </a:r>
          </a:p>
        </p:txBody>
      </p:sp>
      <p:sp>
        <p:nvSpPr>
          <p:cNvPr id="797" name="Shape 797"/>
          <p:cNvSpPr>
            <a:spLocks noGrp="1"/>
          </p:cNvSpPr>
          <p:nvPr>
            <p:ph type="sldNum" sz="quarter" idx="2"/>
          </p:nvPr>
        </p:nvSpPr>
        <p:spPr>
          <a:prstGeom prst="rect">
            <a:avLst/>
          </a:prstGeom>
        </p:spPr>
        <p:txBody>
          <a:bodyPr/>
          <a:lstStyle/>
          <a:p>
            <a:fld id="{86CB4B4D-7CA3-9044-876B-883B54F8677D}" type="slidenum">
              <a:t>‹Nº›</a:t>
            </a:fld>
            <a:endParaRPr/>
          </a:p>
        </p:txBody>
      </p:sp>
    </p:spTree>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x">
  <p:cSld name="Back page">
    <p:bg>
      <p:bgPr>
        <a:solidFill>
          <a:srgbClr val="FFFFFF"/>
        </a:solidFill>
        <a:effectLst/>
      </p:bgPr>
    </p:bg>
    <p:spTree>
      <p:nvGrpSpPr>
        <p:cNvPr id="1" name=""/>
        <p:cNvGrpSpPr/>
        <p:nvPr/>
      </p:nvGrpSpPr>
      <p:grpSpPr>
        <a:xfrm>
          <a:off x="0" y="0"/>
          <a:ext cx="0" cy="0"/>
          <a:chOff x="0" y="0"/>
          <a:chExt cx="0" cy="0"/>
        </a:xfrm>
      </p:grpSpPr>
      <p:sp>
        <p:nvSpPr>
          <p:cNvPr id="804" name="Shape 804"/>
          <p:cNvSpPr/>
          <p:nvPr/>
        </p:nvSpPr>
        <p:spPr>
          <a:xfrm>
            <a:off x="485775" y="6207380"/>
            <a:ext cx="2493392" cy="2032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lvl1pPr>
              <a:defRPr sz="1400">
                <a:solidFill>
                  <a:srgbClr val="002C77"/>
                </a:solidFill>
              </a:defRPr>
            </a:lvl1pPr>
          </a:lstStyle>
          <a:p>
            <a:r>
              <a:t>A business of Marsh McLennan</a:t>
            </a:r>
          </a:p>
        </p:txBody>
      </p:sp>
      <p:pic>
        <p:nvPicPr>
          <p:cNvPr id="805" name="image7.png"/>
          <p:cNvPicPr>
            <a:picLocks noChangeAspect="1"/>
          </p:cNvPicPr>
          <p:nvPr/>
        </p:nvPicPr>
        <p:blipFill>
          <a:blip r:embed="rId2"/>
          <a:stretch>
            <a:fillRect/>
          </a:stretch>
        </p:blipFill>
        <p:spPr>
          <a:xfrm>
            <a:off x="453671" y="3257184"/>
            <a:ext cx="3816325" cy="343632"/>
          </a:xfrm>
          <a:prstGeom prst="rect">
            <a:avLst/>
          </a:prstGeom>
          <a:ln w="12700">
            <a:miter lim="400000"/>
          </a:ln>
        </p:spPr>
      </p:pic>
      <p:sp>
        <p:nvSpPr>
          <p:cNvPr id="806" name="Shape 806"/>
          <p:cNvSpPr>
            <a:spLocks noGrp="1"/>
          </p:cNvSpPr>
          <p:nvPr>
            <p:ph type="sldNum" sz="quarter" idx="2"/>
          </p:nvPr>
        </p:nvSpPr>
        <p:spPr>
          <a:prstGeom prst="rect">
            <a:avLst/>
          </a:prstGeom>
        </p:spPr>
        <p:txBody>
          <a:bodyPr/>
          <a:lstStyle/>
          <a:p>
            <a:fld id="{86CB4B4D-7CA3-9044-876B-883B54F8677D}" type="slidenum">
              <a:t>‹Nº›</a:t>
            </a:fld>
            <a:endParaRPr/>
          </a:p>
        </p:txBody>
      </p:sp>
    </p:spTree>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x">
  <p:cSld name="Back page blue">
    <p:bg>
      <p:bgPr>
        <a:solidFill>
          <a:srgbClr val="002C77"/>
        </a:solidFill>
        <a:effectLst/>
      </p:bgPr>
    </p:bg>
    <p:spTree>
      <p:nvGrpSpPr>
        <p:cNvPr id="1" name=""/>
        <p:cNvGrpSpPr/>
        <p:nvPr/>
      </p:nvGrpSpPr>
      <p:grpSpPr>
        <a:xfrm>
          <a:off x="0" y="0"/>
          <a:ext cx="0" cy="0"/>
          <a:chOff x="0" y="0"/>
          <a:chExt cx="0" cy="0"/>
        </a:xfrm>
      </p:grpSpPr>
      <p:pic>
        <p:nvPicPr>
          <p:cNvPr id="813" name="image11.png"/>
          <p:cNvPicPr>
            <a:picLocks noChangeAspect="1"/>
          </p:cNvPicPr>
          <p:nvPr/>
        </p:nvPicPr>
        <p:blipFill>
          <a:blip r:embed="rId2"/>
          <a:stretch>
            <a:fillRect/>
          </a:stretch>
        </p:blipFill>
        <p:spPr>
          <a:xfrm>
            <a:off x="486802" y="2984401"/>
            <a:ext cx="2615184" cy="544831"/>
          </a:xfrm>
          <a:prstGeom prst="rect">
            <a:avLst/>
          </a:prstGeom>
          <a:ln w="12700">
            <a:miter lim="400000"/>
          </a:ln>
        </p:spPr>
      </p:pic>
      <p:sp>
        <p:nvSpPr>
          <p:cNvPr id="814" name="Shape 814"/>
          <p:cNvSpPr/>
          <p:nvPr/>
        </p:nvSpPr>
        <p:spPr>
          <a:xfrm>
            <a:off x="485775" y="6207380"/>
            <a:ext cx="2493392" cy="2032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lvl1pPr>
              <a:defRPr sz="1400">
                <a:solidFill>
                  <a:srgbClr val="FFFFFF"/>
                </a:solidFill>
              </a:defRPr>
            </a:lvl1pPr>
          </a:lstStyle>
          <a:p>
            <a:r>
              <a:t>A business of Marsh McLennan</a:t>
            </a:r>
          </a:p>
        </p:txBody>
      </p:sp>
      <p:sp>
        <p:nvSpPr>
          <p:cNvPr id="815" name="Shape 815"/>
          <p:cNvSpPr>
            <a:spLocks noGrp="1"/>
          </p:cNvSpPr>
          <p:nvPr>
            <p:ph type="sldNum" sz="quarter" idx="2"/>
          </p:nvPr>
        </p:nvSpPr>
        <p:spPr>
          <a:prstGeom prst="rect">
            <a:avLst/>
          </a:prstGeom>
        </p:spPr>
        <p:txBody>
          <a:bodyPr/>
          <a:lstStyle/>
          <a:p>
            <a:fld id="{86CB4B4D-7CA3-9044-876B-883B54F8677D}" type="slidenum">
              <a:t>‹Nº›</a:t>
            </a:fld>
            <a:endParaRPr/>
          </a:p>
        </p:txBody>
      </p:sp>
    </p:spTree>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x">
  <p:cSld name="Back page + disclaimer">
    <p:bg>
      <p:bgPr>
        <a:solidFill>
          <a:srgbClr val="FFFFFF"/>
        </a:solidFill>
        <a:effectLst/>
      </p:bgPr>
    </p:bg>
    <p:spTree>
      <p:nvGrpSpPr>
        <p:cNvPr id="1" name=""/>
        <p:cNvGrpSpPr/>
        <p:nvPr/>
      </p:nvGrpSpPr>
      <p:grpSpPr>
        <a:xfrm>
          <a:off x="0" y="0"/>
          <a:ext cx="0" cy="0"/>
          <a:chOff x="0" y="0"/>
          <a:chExt cx="0" cy="0"/>
        </a:xfrm>
      </p:grpSpPr>
      <p:pic>
        <p:nvPicPr>
          <p:cNvPr id="822" name="image2.png"/>
          <p:cNvPicPr>
            <a:picLocks noChangeAspect="1"/>
          </p:cNvPicPr>
          <p:nvPr/>
        </p:nvPicPr>
        <p:blipFill>
          <a:blip r:embed="rId2"/>
          <a:stretch>
            <a:fillRect/>
          </a:stretch>
        </p:blipFill>
        <p:spPr>
          <a:xfrm>
            <a:off x="486802" y="554728"/>
            <a:ext cx="1857072" cy="386891"/>
          </a:xfrm>
          <a:prstGeom prst="rect">
            <a:avLst/>
          </a:prstGeom>
          <a:ln w="12700">
            <a:miter lim="400000"/>
          </a:ln>
        </p:spPr>
      </p:pic>
      <p:sp>
        <p:nvSpPr>
          <p:cNvPr id="823" name="Shape 823"/>
          <p:cNvSpPr/>
          <p:nvPr/>
        </p:nvSpPr>
        <p:spPr>
          <a:xfrm>
            <a:off x="485775" y="6207380"/>
            <a:ext cx="2493392" cy="2032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lvl1pPr>
              <a:defRPr sz="1400">
                <a:solidFill>
                  <a:srgbClr val="002C77"/>
                </a:solidFill>
              </a:defRPr>
            </a:lvl1pPr>
          </a:lstStyle>
          <a:p>
            <a:r>
              <a:t>A business of Marsh McLennan</a:t>
            </a:r>
          </a:p>
        </p:txBody>
      </p:sp>
      <p:sp>
        <p:nvSpPr>
          <p:cNvPr id="824" name="Shape 824"/>
          <p:cNvSpPr>
            <a:spLocks noGrp="1"/>
          </p:cNvSpPr>
          <p:nvPr>
            <p:ph type="body" idx="1"/>
          </p:nvPr>
        </p:nvSpPr>
        <p:spPr>
          <a:xfrm>
            <a:off x="485775" y="1609725"/>
            <a:ext cx="11223625" cy="3703321"/>
          </a:xfrm>
          <a:prstGeom prst="rect">
            <a:avLst/>
          </a:prstGeom>
        </p:spPr>
        <p:txBody>
          <a:bodyPr>
            <a:normAutofit/>
          </a:bodyPr>
          <a:lstStyle>
            <a:lvl1pPr>
              <a:spcBef>
                <a:spcPts val="600"/>
              </a:spcBef>
              <a:defRPr sz="800">
                <a:solidFill>
                  <a:srgbClr val="002C77"/>
                </a:solidFill>
              </a:defRPr>
            </a:lvl1pPr>
            <a:lvl2pPr marL="123401" indent="-120226">
              <a:spcBef>
                <a:spcPts val="600"/>
              </a:spcBef>
              <a:defRPr sz="800">
                <a:solidFill>
                  <a:srgbClr val="002C77"/>
                </a:solidFill>
              </a:defRPr>
            </a:lvl2pPr>
            <a:lvl3pPr marL="381000" indent="-152400">
              <a:spcBef>
                <a:spcPts val="600"/>
              </a:spcBef>
              <a:defRPr sz="800">
                <a:solidFill>
                  <a:srgbClr val="002C77"/>
                </a:solidFill>
              </a:defRPr>
            </a:lvl3pPr>
            <a:lvl4pPr marL="609600" indent="-152400">
              <a:spcBef>
                <a:spcPts val="600"/>
              </a:spcBef>
              <a:defRPr sz="800">
                <a:solidFill>
                  <a:srgbClr val="002C77"/>
                </a:solidFill>
              </a:defRPr>
            </a:lvl4pPr>
            <a:lvl5pPr marL="838200" indent="-152400">
              <a:spcBef>
                <a:spcPts val="600"/>
              </a:spcBef>
              <a:defRPr sz="800">
                <a:solidFill>
                  <a:srgbClr val="002C77"/>
                </a:solidFill>
              </a:defRPr>
            </a:lvl5pPr>
          </a:lstStyle>
          <a:p>
            <a:r>
              <a:t>Nivel de texto 1</a:t>
            </a:r>
          </a:p>
          <a:p>
            <a:pPr lvl="1"/>
            <a:r>
              <a:t>Nivel de texto 2</a:t>
            </a:r>
          </a:p>
          <a:p>
            <a:pPr lvl="2"/>
            <a:r>
              <a:t>Nivel de texto 3</a:t>
            </a:r>
          </a:p>
          <a:p>
            <a:pPr lvl="3"/>
            <a:r>
              <a:t>Nivel de texto 4</a:t>
            </a:r>
          </a:p>
          <a:p>
            <a:pPr lvl="4"/>
            <a:r>
              <a:t>Nivel de texto 5</a:t>
            </a:r>
          </a:p>
        </p:txBody>
      </p:sp>
      <p:sp>
        <p:nvSpPr>
          <p:cNvPr id="825" name="Shape 825"/>
          <p:cNvSpPr>
            <a:spLocks noGrp="1"/>
          </p:cNvSpPr>
          <p:nvPr>
            <p:ph type="sldNum" sz="quarter" idx="2"/>
          </p:nvPr>
        </p:nvSpPr>
        <p:spPr>
          <a:prstGeom prst="rect">
            <a:avLst/>
          </a:prstGeom>
        </p:spPr>
        <p:txBody>
          <a:bodyPr/>
          <a:lstStyle/>
          <a:p>
            <a:fld id="{86CB4B4D-7CA3-9044-876B-883B54F8677D}" type="slidenum">
              <a:t>‹Nº›</a:t>
            </a:fld>
            <a:endParaRPr/>
          </a:p>
        </p:txBody>
      </p:sp>
    </p:spTree>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x">
  <p:cSld name="Back page blue + disclaimer">
    <p:bg>
      <p:bgPr>
        <a:solidFill>
          <a:srgbClr val="002C77"/>
        </a:solidFill>
        <a:effectLst/>
      </p:bgPr>
    </p:bg>
    <p:spTree>
      <p:nvGrpSpPr>
        <p:cNvPr id="1" name=""/>
        <p:cNvGrpSpPr/>
        <p:nvPr/>
      </p:nvGrpSpPr>
      <p:grpSpPr>
        <a:xfrm>
          <a:off x="0" y="0"/>
          <a:ext cx="0" cy="0"/>
          <a:chOff x="0" y="0"/>
          <a:chExt cx="0" cy="0"/>
        </a:xfrm>
      </p:grpSpPr>
      <p:sp>
        <p:nvSpPr>
          <p:cNvPr id="832" name="Shape 832"/>
          <p:cNvSpPr/>
          <p:nvPr/>
        </p:nvSpPr>
        <p:spPr>
          <a:xfrm>
            <a:off x="474201" y="5585605"/>
            <a:ext cx="5874842" cy="3556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defRPr sz="1200">
                <a:solidFill>
                  <a:srgbClr val="002C77"/>
                </a:solidFill>
              </a:defRPr>
            </a:lvl1pPr>
          </a:lstStyle>
          <a:p>
            <a:r>
              <a:t>We are leaders in risk, strategy and people. One company, with four global businesses, united by a shared purpose to make a difference in the moments that matter.</a:t>
            </a:r>
          </a:p>
        </p:txBody>
      </p:sp>
      <p:pic>
        <p:nvPicPr>
          <p:cNvPr id="833" name="image11.png"/>
          <p:cNvPicPr>
            <a:picLocks noChangeAspect="1"/>
          </p:cNvPicPr>
          <p:nvPr/>
        </p:nvPicPr>
        <p:blipFill>
          <a:blip r:embed="rId2"/>
          <a:stretch>
            <a:fillRect/>
          </a:stretch>
        </p:blipFill>
        <p:spPr>
          <a:xfrm>
            <a:off x="486802" y="554728"/>
            <a:ext cx="1857072" cy="386891"/>
          </a:xfrm>
          <a:prstGeom prst="rect">
            <a:avLst/>
          </a:prstGeom>
          <a:ln w="12700">
            <a:miter lim="400000"/>
          </a:ln>
        </p:spPr>
      </p:pic>
      <p:sp>
        <p:nvSpPr>
          <p:cNvPr id="834" name="Shape 834"/>
          <p:cNvSpPr/>
          <p:nvPr/>
        </p:nvSpPr>
        <p:spPr>
          <a:xfrm>
            <a:off x="485775" y="6207380"/>
            <a:ext cx="2493392" cy="2032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lvl1pPr>
              <a:defRPr sz="1400">
                <a:solidFill>
                  <a:srgbClr val="FFFFFF"/>
                </a:solidFill>
              </a:defRPr>
            </a:lvl1pPr>
          </a:lstStyle>
          <a:p>
            <a:r>
              <a:t>A business of Marsh McLennan</a:t>
            </a:r>
          </a:p>
        </p:txBody>
      </p:sp>
      <p:sp>
        <p:nvSpPr>
          <p:cNvPr id="835" name="Shape 835"/>
          <p:cNvSpPr>
            <a:spLocks noGrp="1"/>
          </p:cNvSpPr>
          <p:nvPr>
            <p:ph type="body" idx="1"/>
          </p:nvPr>
        </p:nvSpPr>
        <p:spPr>
          <a:xfrm>
            <a:off x="485775" y="1609725"/>
            <a:ext cx="11223625" cy="3703805"/>
          </a:xfrm>
          <a:prstGeom prst="rect">
            <a:avLst/>
          </a:prstGeom>
        </p:spPr>
        <p:txBody>
          <a:bodyPr>
            <a:normAutofit/>
          </a:bodyPr>
          <a:lstStyle>
            <a:lvl1pPr>
              <a:spcBef>
                <a:spcPts val="600"/>
              </a:spcBef>
              <a:defRPr sz="800">
                <a:solidFill>
                  <a:srgbClr val="FFFFFF"/>
                </a:solidFill>
              </a:defRPr>
            </a:lvl1pPr>
            <a:lvl2pPr marL="123401" indent="-120226">
              <a:spcBef>
                <a:spcPts val="600"/>
              </a:spcBef>
              <a:defRPr sz="800">
                <a:solidFill>
                  <a:srgbClr val="FFFFFF"/>
                </a:solidFill>
              </a:defRPr>
            </a:lvl2pPr>
            <a:lvl3pPr marL="381000" indent="-152400">
              <a:spcBef>
                <a:spcPts val="600"/>
              </a:spcBef>
              <a:defRPr sz="800">
                <a:solidFill>
                  <a:srgbClr val="FFFFFF"/>
                </a:solidFill>
              </a:defRPr>
            </a:lvl3pPr>
            <a:lvl4pPr marL="609600" indent="-152400">
              <a:spcBef>
                <a:spcPts val="600"/>
              </a:spcBef>
              <a:defRPr sz="800">
                <a:solidFill>
                  <a:srgbClr val="FFFFFF"/>
                </a:solidFill>
              </a:defRPr>
            </a:lvl4pPr>
            <a:lvl5pPr marL="838200" indent="-152400">
              <a:spcBef>
                <a:spcPts val="600"/>
              </a:spcBef>
              <a:defRPr sz="800">
                <a:solidFill>
                  <a:srgbClr val="FFFFFF"/>
                </a:solidFill>
              </a:defRPr>
            </a:lvl5pPr>
          </a:lstStyle>
          <a:p>
            <a:r>
              <a:t>Nivel de texto 1</a:t>
            </a:r>
          </a:p>
          <a:p>
            <a:pPr lvl="1"/>
            <a:r>
              <a:t>Nivel de texto 2</a:t>
            </a:r>
          </a:p>
          <a:p>
            <a:pPr lvl="2"/>
            <a:r>
              <a:t>Nivel de texto 3</a:t>
            </a:r>
          </a:p>
          <a:p>
            <a:pPr lvl="3"/>
            <a:r>
              <a:t>Nivel de texto 4</a:t>
            </a:r>
          </a:p>
          <a:p>
            <a:pPr lvl="4"/>
            <a:r>
              <a:t>Nivel de texto 5</a:t>
            </a:r>
          </a:p>
        </p:txBody>
      </p:sp>
      <p:sp>
        <p:nvSpPr>
          <p:cNvPr id="836" name="Shape 836"/>
          <p:cNvSpPr>
            <a:spLocks noGrp="1"/>
          </p:cNvSpPr>
          <p:nvPr>
            <p:ph type="sldNum" sz="quarter" idx="2"/>
          </p:nvPr>
        </p:nvSpPr>
        <p:spPr>
          <a:prstGeom prst="rect">
            <a:avLst/>
          </a:prstGeom>
        </p:spPr>
        <p:txBody>
          <a:bodyPr/>
          <a:lstStyle/>
          <a:p>
            <a:fld id="{86CB4B4D-7CA3-9044-876B-883B54F8677D}" type="slidenum">
              <a:t>‹Nº›</a:t>
            </a:fld>
            <a:endParaRPr/>
          </a:p>
        </p:txBody>
      </p:sp>
    </p:spTree>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x">
  <p:cSld name="Title Slide">
    <p:bg>
      <p:bgPr>
        <a:solidFill>
          <a:srgbClr val="FFFFFF"/>
        </a:solidFill>
        <a:effectLst/>
      </p:bgPr>
    </p:bg>
    <p:spTree>
      <p:nvGrpSpPr>
        <p:cNvPr id="1" name=""/>
        <p:cNvGrpSpPr/>
        <p:nvPr/>
      </p:nvGrpSpPr>
      <p:grpSpPr>
        <a:xfrm>
          <a:off x="0" y="0"/>
          <a:ext cx="0" cy="0"/>
          <a:chOff x="0" y="0"/>
          <a:chExt cx="0" cy="0"/>
        </a:xfrm>
      </p:grpSpPr>
      <p:pic>
        <p:nvPicPr>
          <p:cNvPr id="843" name="image18.png"/>
          <p:cNvPicPr>
            <a:picLocks noChangeAspect="1"/>
          </p:cNvPicPr>
          <p:nvPr/>
        </p:nvPicPr>
        <p:blipFill>
          <a:blip r:embed="rId2"/>
          <a:stretch>
            <a:fillRect/>
          </a:stretch>
        </p:blipFill>
        <p:spPr>
          <a:xfrm>
            <a:off x="338178" y="6613462"/>
            <a:ext cx="908605" cy="136589"/>
          </a:xfrm>
          <a:prstGeom prst="rect">
            <a:avLst/>
          </a:prstGeom>
          <a:ln w="12700">
            <a:miter lim="400000"/>
          </a:ln>
        </p:spPr>
      </p:pic>
      <p:sp>
        <p:nvSpPr>
          <p:cNvPr id="844" name="Shape 844"/>
          <p:cNvSpPr>
            <a:spLocks noGrp="1"/>
          </p:cNvSpPr>
          <p:nvPr>
            <p:ph type="title"/>
          </p:nvPr>
        </p:nvSpPr>
        <p:spPr>
          <a:xfrm>
            <a:off x="1524000" y="1122362"/>
            <a:ext cx="9144000" cy="2387601"/>
          </a:xfrm>
          <a:prstGeom prst="rect">
            <a:avLst/>
          </a:prstGeom>
        </p:spPr>
        <p:txBody>
          <a:bodyPr lIns="45719" tIns="45719" rIns="45719" bIns="45719" anchor="b">
            <a:normAutofit/>
          </a:bodyPr>
          <a:lstStyle>
            <a:lvl1pPr algn="ctr" defTabSz="914400">
              <a:lnSpc>
                <a:spcPct val="90000"/>
              </a:lnSpc>
              <a:defRPr sz="4800">
                <a:solidFill>
                  <a:srgbClr val="000000"/>
                </a:solidFill>
                <a:latin typeface="Helvetica"/>
                <a:ea typeface="Helvetica"/>
                <a:cs typeface="Helvetica"/>
                <a:sym typeface="Helvetica"/>
              </a:defRPr>
            </a:lvl1pPr>
          </a:lstStyle>
          <a:p>
            <a:r>
              <a:t>Texto del título</a:t>
            </a:r>
          </a:p>
        </p:txBody>
      </p:sp>
      <p:sp>
        <p:nvSpPr>
          <p:cNvPr id="845" name="Shape 845"/>
          <p:cNvSpPr>
            <a:spLocks noGrp="1"/>
          </p:cNvSpPr>
          <p:nvPr>
            <p:ph type="body" sz="quarter" idx="1"/>
          </p:nvPr>
        </p:nvSpPr>
        <p:spPr>
          <a:xfrm>
            <a:off x="1524000" y="3602037"/>
            <a:ext cx="9144000" cy="1655763"/>
          </a:xfrm>
          <a:prstGeom prst="rect">
            <a:avLst/>
          </a:prstGeom>
        </p:spPr>
        <p:txBody>
          <a:bodyPr lIns="45719" tIns="45719" rIns="45719" bIns="45719">
            <a:normAutofit/>
          </a:bodyPr>
          <a:lstStyle>
            <a:lvl1pPr algn="ctr" defTabSz="914400">
              <a:lnSpc>
                <a:spcPct val="90000"/>
              </a:lnSpc>
              <a:spcBef>
                <a:spcPts val="1000"/>
              </a:spcBef>
              <a:defRPr sz="2400">
                <a:solidFill>
                  <a:srgbClr val="000000"/>
                </a:solidFill>
                <a:latin typeface="Helvetica"/>
                <a:ea typeface="Helvetica"/>
                <a:cs typeface="Helvetica"/>
                <a:sym typeface="Helvetica"/>
              </a:defRPr>
            </a:lvl1pPr>
            <a:lvl2pPr marL="0" indent="457200" algn="ctr" defTabSz="914400">
              <a:lnSpc>
                <a:spcPct val="90000"/>
              </a:lnSpc>
              <a:spcBef>
                <a:spcPts val="1000"/>
              </a:spcBef>
              <a:buSzTx/>
              <a:buNone/>
              <a:defRPr sz="2400">
                <a:solidFill>
                  <a:srgbClr val="000000"/>
                </a:solidFill>
                <a:latin typeface="Helvetica"/>
                <a:ea typeface="Helvetica"/>
                <a:cs typeface="Helvetica"/>
                <a:sym typeface="Helvetica"/>
              </a:defRPr>
            </a:lvl2pPr>
            <a:lvl3pPr marL="0" indent="914400" algn="ctr" defTabSz="914400">
              <a:lnSpc>
                <a:spcPct val="90000"/>
              </a:lnSpc>
              <a:spcBef>
                <a:spcPts val="1000"/>
              </a:spcBef>
              <a:buSzTx/>
              <a:buNone/>
              <a:defRPr sz="2400">
                <a:solidFill>
                  <a:srgbClr val="000000"/>
                </a:solidFill>
                <a:latin typeface="Helvetica"/>
                <a:ea typeface="Helvetica"/>
                <a:cs typeface="Helvetica"/>
                <a:sym typeface="Helvetica"/>
              </a:defRPr>
            </a:lvl3pPr>
            <a:lvl4pPr marL="0" indent="1371600" algn="ctr" defTabSz="914400">
              <a:lnSpc>
                <a:spcPct val="90000"/>
              </a:lnSpc>
              <a:spcBef>
                <a:spcPts val="1000"/>
              </a:spcBef>
              <a:buSzTx/>
              <a:buNone/>
              <a:defRPr sz="2400">
                <a:solidFill>
                  <a:srgbClr val="000000"/>
                </a:solidFill>
                <a:latin typeface="Helvetica"/>
                <a:ea typeface="Helvetica"/>
                <a:cs typeface="Helvetica"/>
                <a:sym typeface="Helvetica"/>
              </a:defRPr>
            </a:lvl4pPr>
            <a:lvl5pPr marL="0" indent="1828800" algn="ctr" defTabSz="914400">
              <a:lnSpc>
                <a:spcPct val="90000"/>
              </a:lnSpc>
              <a:spcBef>
                <a:spcPts val="1000"/>
              </a:spcBef>
              <a:buSzTx/>
              <a:buNone/>
              <a:defRPr sz="2400">
                <a:solidFill>
                  <a:srgbClr val="000000"/>
                </a:solidFill>
                <a:latin typeface="Helvetica"/>
                <a:ea typeface="Helvetica"/>
                <a:cs typeface="Helvetica"/>
                <a:sym typeface="Helvetica"/>
              </a:defRPr>
            </a:lvl5pPr>
          </a:lstStyle>
          <a:p>
            <a:r>
              <a:t>Nivel de texto 1</a:t>
            </a:r>
          </a:p>
          <a:p>
            <a:pPr lvl="1"/>
            <a:r>
              <a:t>Nivel de texto 2</a:t>
            </a:r>
          </a:p>
          <a:p>
            <a:pPr lvl="2"/>
            <a:r>
              <a:t>Nivel de texto 3</a:t>
            </a:r>
          </a:p>
          <a:p>
            <a:pPr lvl="3"/>
            <a:r>
              <a:t>Nivel de texto 4</a:t>
            </a:r>
          </a:p>
          <a:p>
            <a:pPr lvl="4"/>
            <a:r>
              <a:t>Nivel de texto 5</a:t>
            </a:r>
          </a:p>
        </p:txBody>
      </p:sp>
      <p:sp>
        <p:nvSpPr>
          <p:cNvPr id="846" name="Shape 846"/>
          <p:cNvSpPr>
            <a:spLocks noGrp="1"/>
          </p:cNvSpPr>
          <p:nvPr>
            <p:ph type="sldNum" sz="quarter" idx="2"/>
          </p:nvPr>
        </p:nvSpPr>
        <p:spPr>
          <a:xfrm>
            <a:off x="10556240" y="5437188"/>
            <a:ext cx="1270001" cy="1270001"/>
          </a:xfrm>
          <a:prstGeom prst="rect">
            <a:avLst/>
          </a:prstGeom>
        </p:spPr>
        <p:txBody>
          <a:bodyPr/>
          <a:lstStyle>
            <a:lvl1pPr>
              <a:defRPr sz="800">
                <a:solidFill>
                  <a:srgbClr val="888888"/>
                </a:solidFill>
                <a:latin typeface="Helvetica"/>
                <a:ea typeface="Helvetica"/>
                <a:cs typeface="Helvetica"/>
                <a:sym typeface="Helvetica"/>
              </a:defRPr>
            </a:lvl1pPr>
          </a:lstStyle>
          <a:p>
            <a:fld id="{86CB4B4D-7CA3-9044-876B-883B54F8677D}" type="slidenum">
              <a:t>‹Nº›</a:t>
            </a:fld>
            <a:endParaRPr/>
          </a:p>
        </p:txBody>
      </p:sp>
    </p:spTree>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x">
  <p:cSld name="Section Header">
    <p:bg>
      <p:bgPr>
        <a:solidFill>
          <a:srgbClr val="FFFFFF"/>
        </a:solidFill>
        <a:effectLst/>
      </p:bgPr>
    </p:bg>
    <p:spTree>
      <p:nvGrpSpPr>
        <p:cNvPr id="1" name=""/>
        <p:cNvGrpSpPr/>
        <p:nvPr/>
      </p:nvGrpSpPr>
      <p:grpSpPr>
        <a:xfrm>
          <a:off x="0" y="0"/>
          <a:ext cx="0" cy="0"/>
          <a:chOff x="0" y="0"/>
          <a:chExt cx="0" cy="0"/>
        </a:xfrm>
      </p:grpSpPr>
      <p:pic>
        <p:nvPicPr>
          <p:cNvPr id="863" name="image18.tif"/>
          <p:cNvPicPr>
            <a:picLocks noChangeAspect="1"/>
          </p:cNvPicPr>
          <p:nvPr/>
        </p:nvPicPr>
        <p:blipFill>
          <a:blip r:embed="rId2"/>
          <a:stretch>
            <a:fillRect/>
          </a:stretch>
        </p:blipFill>
        <p:spPr>
          <a:xfrm>
            <a:off x="338178" y="6613462"/>
            <a:ext cx="908605" cy="136589"/>
          </a:xfrm>
          <a:prstGeom prst="rect">
            <a:avLst/>
          </a:prstGeom>
          <a:ln w="12700">
            <a:miter lim="400000"/>
          </a:ln>
        </p:spPr>
      </p:pic>
      <p:sp>
        <p:nvSpPr>
          <p:cNvPr id="864" name="Shape 864"/>
          <p:cNvSpPr>
            <a:spLocks noGrp="1"/>
          </p:cNvSpPr>
          <p:nvPr>
            <p:ph type="title"/>
          </p:nvPr>
        </p:nvSpPr>
        <p:spPr>
          <a:xfrm>
            <a:off x="831850" y="1709739"/>
            <a:ext cx="10515600" cy="2852737"/>
          </a:xfrm>
          <a:prstGeom prst="rect">
            <a:avLst/>
          </a:prstGeom>
        </p:spPr>
        <p:txBody>
          <a:bodyPr lIns="45719" tIns="45719" rIns="45719" bIns="45719" anchor="b">
            <a:normAutofit/>
          </a:bodyPr>
          <a:lstStyle>
            <a:lvl1pPr defTabSz="914400">
              <a:lnSpc>
                <a:spcPct val="90000"/>
              </a:lnSpc>
              <a:defRPr sz="4800">
                <a:solidFill>
                  <a:srgbClr val="000000"/>
                </a:solidFill>
                <a:latin typeface="Helvetica"/>
                <a:ea typeface="Helvetica"/>
                <a:cs typeface="Helvetica"/>
                <a:sym typeface="Helvetica"/>
              </a:defRPr>
            </a:lvl1pPr>
          </a:lstStyle>
          <a:p>
            <a:r>
              <a:t>Texto del título</a:t>
            </a:r>
          </a:p>
        </p:txBody>
      </p:sp>
      <p:sp>
        <p:nvSpPr>
          <p:cNvPr id="865" name="Shape 865"/>
          <p:cNvSpPr>
            <a:spLocks noGrp="1"/>
          </p:cNvSpPr>
          <p:nvPr>
            <p:ph type="body" sz="quarter" idx="1"/>
          </p:nvPr>
        </p:nvSpPr>
        <p:spPr>
          <a:xfrm>
            <a:off x="831850" y="4589464"/>
            <a:ext cx="10515600" cy="1500188"/>
          </a:xfrm>
          <a:prstGeom prst="rect">
            <a:avLst/>
          </a:prstGeom>
        </p:spPr>
        <p:txBody>
          <a:bodyPr lIns="45719" tIns="45719" rIns="45719" bIns="45719">
            <a:normAutofit/>
          </a:bodyPr>
          <a:lstStyle>
            <a:lvl1pPr defTabSz="914400">
              <a:lnSpc>
                <a:spcPct val="90000"/>
              </a:lnSpc>
              <a:spcBef>
                <a:spcPts val="1000"/>
              </a:spcBef>
              <a:defRPr sz="2400">
                <a:solidFill>
                  <a:srgbClr val="888888"/>
                </a:solidFill>
                <a:latin typeface="Helvetica"/>
                <a:ea typeface="Helvetica"/>
                <a:cs typeface="Helvetica"/>
                <a:sym typeface="Helvetica"/>
              </a:defRPr>
            </a:lvl1pPr>
            <a:lvl2pPr marL="0" indent="457200" defTabSz="914400">
              <a:lnSpc>
                <a:spcPct val="90000"/>
              </a:lnSpc>
              <a:spcBef>
                <a:spcPts val="1000"/>
              </a:spcBef>
              <a:buSzTx/>
              <a:buNone/>
              <a:defRPr sz="2400">
                <a:solidFill>
                  <a:srgbClr val="888888"/>
                </a:solidFill>
                <a:latin typeface="Helvetica"/>
                <a:ea typeface="Helvetica"/>
                <a:cs typeface="Helvetica"/>
                <a:sym typeface="Helvetica"/>
              </a:defRPr>
            </a:lvl2pPr>
            <a:lvl3pPr marL="0" indent="914400" defTabSz="914400">
              <a:lnSpc>
                <a:spcPct val="90000"/>
              </a:lnSpc>
              <a:spcBef>
                <a:spcPts val="1000"/>
              </a:spcBef>
              <a:buSzTx/>
              <a:buNone/>
              <a:defRPr sz="2400">
                <a:solidFill>
                  <a:srgbClr val="888888"/>
                </a:solidFill>
                <a:latin typeface="Helvetica"/>
                <a:ea typeface="Helvetica"/>
                <a:cs typeface="Helvetica"/>
                <a:sym typeface="Helvetica"/>
              </a:defRPr>
            </a:lvl3pPr>
            <a:lvl4pPr marL="0" indent="1371600" defTabSz="914400">
              <a:lnSpc>
                <a:spcPct val="90000"/>
              </a:lnSpc>
              <a:spcBef>
                <a:spcPts val="1000"/>
              </a:spcBef>
              <a:buSzTx/>
              <a:buNone/>
              <a:defRPr sz="2400">
                <a:solidFill>
                  <a:srgbClr val="888888"/>
                </a:solidFill>
                <a:latin typeface="Helvetica"/>
                <a:ea typeface="Helvetica"/>
                <a:cs typeface="Helvetica"/>
                <a:sym typeface="Helvetica"/>
              </a:defRPr>
            </a:lvl4pPr>
            <a:lvl5pPr marL="0" indent="1828800" defTabSz="914400">
              <a:lnSpc>
                <a:spcPct val="90000"/>
              </a:lnSpc>
              <a:spcBef>
                <a:spcPts val="1000"/>
              </a:spcBef>
              <a:buSzTx/>
              <a:buNone/>
              <a:defRPr sz="2400">
                <a:solidFill>
                  <a:srgbClr val="888888"/>
                </a:solidFill>
                <a:latin typeface="Helvetica"/>
                <a:ea typeface="Helvetica"/>
                <a:cs typeface="Helvetica"/>
                <a:sym typeface="Helvetica"/>
              </a:defRPr>
            </a:lvl5pPr>
          </a:lstStyle>
          <a:p>
            <a:r>
              <a:t>Nivel de texto 1</a:t>
            </a:r>
          </a:p>
          <a:p>
            <a:pPr lvl="1"/>
            <a:r>
              <a:t>Nivel de texto 2</a:t>
            </a:r>
          </a:p>
          <a:p>
            <a:pPr lvl="2"/>
            <a:r>
              <a:t>Nivel de texto 3</a:t>
            </a:r>
          </a:p>
          <a:p>
            <a:pPr lvl="3"/>
            <a:r>
              <a:t>Nivel de texto 4</a:t>
            </a:r>
          </a:p>
          <a:p>
            <a:pPr lvl="4"/>
            <a:r>
              <a:t>Nivel de texto 5</a:t>
            </a:r>
          </a:p>
        </p:txBody>
      </p:sp>
      <p:sp>
        <p:nvSpPr>
          <p:cNvPr id="866" name="Shape 866"/>
          <p:cNvSpPr>
            <a:spLocks noGrp="1"/>
          </p:cNvSpPr>
          <p:nvPr>
            <p:ph type="sldNum" sz="quarter" idx="2"/>
          </p:nvPr>
        </p:nvSpPr>
        <p:spPr>
          <a:xfrm>
            <a:off x="10556240" y="5437188"/>
            <a:ext cx="1270001" cy="1270001"/>
          </a:xfrm>
          <a:prstGeom prst="rect">
            <a:avLst/>
          </a:prstGeom>
        </p:spPr>
        <p:txBody>
          <a:bodyPr/>
          <a:lstStyle>
            <a:lvl1pPr>
              <a:defRPr sz="800">
                <a:solidFill>
                  <a:srgbClr val="888888"/>
                </a:solidFill>
                <a:latin typeface="Helvetica"/>
                <a:ea typeface="Helvetica"/>
                <a:cs typeface="Helvetica"/>
                <a:sym typeface="Helvetica"/>
              </a:defRPr>
            </a:lvl1pPr>
          </a:lstStyle>
          <a:p>
            <a:fld id="{86CB4B4D-7CA3-9044-876B-883B54F8677D}" type="slidenum">
              <a:t>‹Nº›</a:t>
            </a:fld>
            <a:endParaRPr/>
          </a:p>
        </p:txBody>
      </p:sp>
    </p:spTree>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x">
  <p:cSld name="Two Content">
    <p:bg>
      <p:bgPr>
        <a:solidFill>
          <a:srgbClr val="FFFFFF"/>
        </a:solidFill>
        <a:effectLst/>
      </p:bgPr>
    </p:bg>
    <p:spTree>
      <p:nvGrpSpPr>
        <p:cNvPr id="1" name=""/>
        <p:cNvGrpSpPr/>
        <p:nvPr/>
      </p:nvGrpSpPr>
      <p:grpSpPr>
        <a:xfrm>
          <a:off x="0" y="0"/>
          <a:ext cx="0" cy="0"/>
          <a:chOff x="0" y="0"/>
          <a:chExt cx="0" cy="0"/>
        </a:xfrm>
      </p:grpSpPr>
      <p:pic>
        <p:nvPicPr>
          <p:cNvPr id="873" name="image18.tif"/>
          <p:cNvPicPr>
            <a:picLocks noChangeAspect="1"/>
          </p:cNvPicPr>
          <p:nvPr/>
        </p:nvPicPr>
        <p:blipFill>
          <a:blip r:embed="rId2"/>
          <a:stretch>
            <a:fillRect/>
          </a:stretch>
        </p:blipFill>
        <p:spPr>
          <a:xfrm>
            <a:off x="338178" y="6613462"/>
            <a:ext cx="908605" cy="136589"/>
          </a:xfrm>
          <a:prstGeom prst="rect">
            <a:avLst/>
          </a:prstGeom>
          <a:ln w="12700">
            <a:miter lim="400000"/>
          </a:ln>
        </p:spPr>
      </p:pic>
      <p:sp>
        <p:nvSpPr>
          <p:cNvPr id="874" name="Shape 874"/>
          <p:cNvSpPr>
            <a:spLocks noGrp="1"/>
          </p:cNvSpPr>
          <p:nvPr>
            <p:ph type="title"/>
          </p:nvPr>
        </p:nvSpPr>
        <p:spPr>
          <a:xfrm>
            <a:off x="838200" y="365125"/>
            <a:ext cx="10515600" cy="1325564"/>
          </a:xfrm>
          <a:prstGeom prst="rect">
            <a:avLst/>
          </a:prstGeom>
        </p:spPr>
        <p:txBody>
          <a:bodyPr lIns="45719" tIns="45719" rIns="45719" bIns="45719" anchor="ctr">
            <a:normAutofit/>
          </a:bodyPr>
          <a:lstStyle>
            <a:lvl1pPr defTabSz="914400">
              <a:lnSpc>
                <a:spcPct val="90000"/>
              </a:lnSpc>
              <a:defRPr sz="4400">
                <a:solidFill>
                  <a:srgbClr val="000000"/>
                </a:solidFill>
                <a:latin typeface="Helvetica"/>
                <a:ea typeface="Helvetica"/>
                <a:cs typeface="Helvetica"/>
                <a:sym typeface="Helvetica"/>
              </a:defRPr>
            </a:lvl1pPr>
          </a:lstStyle>
          <a:p>
            <a:r>
              <a:t>Texto del título</a:t>
            </a:r>
          </a:p>
        </p:txBody>
      </p:sp>
      <p:sp>
        <p:nvSpPr>
          <p:cNvPr id="875" name="Shape 875"/>
          <p:cNvSpPr>
            <a:spLocks noGrp="1"/>
          </p:cNvSpPr>
          <p:nvPr>
            <p:ph type="body" sz="half" idx="1"/>
          </p:nvPr>
        </p:nvSpPr>
        <p:spPr>
          <a:xfrm>
            <a:off x="838200" y="1825625"/>
            <a:ext cx="5181600" cy="4351338"/>
          </a:xfrm>
          <a:prstGeom prst="rect">
            <a:avLst/>
          </a:prstGeom>
        </p:spPr>
        <p:txBody>
          <a:bodyPr lIns="45719" tIns="45719" rIns="45719" bIns="45719">
            <a:normAutofit/>
          </a:bodyPr>
          <a:lstStyle>
            <a:lvl1pPr marL="228600" indent="-228600" defTabSz="914400">
              <a:lnSpc>
                <a:spcPct val="90000"/>
              </a:lnSpc>
              <a:spcBef>
                <a:spcPts val="1000"/>
              </a:spcBef>
              <a:buSzPct val="100000"/>
              <a:buFont typeface="Arial"/>
              <a:buChar char="•"/>
              <a:defRPr sz="2800">
                <a:solidFill>
                  <a:srgbClr val="000000"/>
                </a:solidFill>
                <a:latin typeface="Helvetica"/>
                <a:ea typeface="Helvetica"/>
                <a:cs typeface="Helvetica"/>
                <a:sym typeface="Helvetica"/>
              </a:defRPr>
            </a:lvl1pPr>
            <a:lvl2pPr marL="723900" indent="-266700" defTabSz="914400">
              <a:lnSpc>
                <a:spcPct val="90000"/>
              </a:lnSpc>
              <a:spcBef>
                <a:spcPts val="1000"/>
              </a:spcBef>
              <a:buFont typeface="Arial"/>
              <a:defRPr sz="2800">
                <a:solidFill>
                  <a:srgbClr val="000000"/>
                </a:solidFill>
                <a:latin typeface="Helvetica"/>
                <a:ea typeface="Helvetica"/>
                <a:cs typeface="Helvetica"/>
                <a:sym typeface="Helvetica"/>
              </a:defRPr>
            </a:lvl2pPr>
            <a:lvl3pPr marL="1234439" indent="-320039" defTabSz="914400">
              <a:lnSpc>
                <a:spcPct val="90000"/>
              </a:lnSpc>
              <a:spcBef>
                <a:spcPts val="1000"/>
              </a:spcBef>
              <a:buFont typeface="Arial"/>
              <a:buChar char="•"/>
              <a:defRPr sz="2800">
                <a:solidFill>
                  <a:srgbClr val="000000"/>
                </a:solidFill>
                <a:latin typeface="Helvetica"/>
                <a:ea typeface="Helvetica"/>
                <a:cs typeface="Helvetica"/>
                <a:sym typeface="Helvetica"/>
              </a:defRPr>
            </a:lvl3pPr>
            <a:lvl4pPr marL="1727200" indent="-355600" defTabSz="914400">
              <a:lnSpc>
                <a:spcPct val="90000"/>
              </a:lnSpc>
              <a:spcBef>
                <a:spcPts val="1000"/>
              </a:spcBef>
              <a:buFont typeface="Arial"/>
              <a:defRPr sz="2800">
                <a:solidFill>
                  <a:srgbClr val="000000"/>
                </a:solidFill>
                <a:latin typeface="Helvetica"/>
                <a:ea typeface="Helvetica"/>
                <a:cs typeface="Helvetica"/>
                <a:sym typeface="Helvetica"/>
              </a:defRPr>
            </a:lvl4pPr>
            <a:lvl5pPr marL="2184400" indent="-355600" defTabSz="914400">
              <a:lnSpc>
                <a:spcPct val="90000"/>
              </a:lnSpc>
              <a:spcBef>
                <a:spcPts val="1000"/>
              </a:spcBef>
              <a:buFont typeface="Arial"/>
              <a:buChar char="•"/>
              <a:defRPr sz="2800">
                <a:solidFill>
                  <a:srgbClr val="000000"/>
                </a:solidFill>
                <a:latin typeface="Helvetica"/>
                <a:ea typeface="Helvetica"/>
                <a:cs typeface="Helvetica"/>
                <a:sym typeface="Helvetica"/>
              </a:defRPr>
            </a:lvl5pPr>
          </a:lstStyle>
          <a:p>
            <a:r>
              <a:t>Nivel de texto 1</a:t>
            </a:r>
          </a:p>
          <a:p>
            <a:pPr lvl="1"/>
            <a:r>
              <a:t>Nivel de texto 2</a:t>
            </a:r>
          </a:p>
          <a:p>
            <a:pPr lvl="2"/>
            <a:r>
              <a:t>Nivel de texto 3</a:t>
            </a:r>
          </a:p>
          <a:p>
            <a:pPr lvl="3"/>
            <a:r>
              <a:t>Nivel de texto 4</a:t>
            </a:r>
          </a:p>
          <a:p>
            <a:pPr lvl="4"/>
            <a:r>
              <a:t>Nivel de texto 5</a:t>
            </a:r>
          </a:p>
        </p:txBody>
      </p:sp>
      <p:sp>
        <p:nvSpPr>
          <p:cNvPr id="876" name="Shape 876"/>
          <p:cNvSpPr>
            <a:spLocks noGrp="1"/>
          </p:cNvSpPr>
          <p:nvPr>
            <p:ph type="sldNum" sz="quarter" idx="2"/>
          </p:nvPr>
        </p:nvSpPr>
        <p:spPr>
          <a:xfrm>
            <a:off x="10556240" y="5437188"/>
            <a:ext cx="1270001" cy="1270001"/>
          </a:xfrm>
          <a:prstGeom prst="rect">
            <a:avLst/>
          </a:prstGeom>
        </p:spPr>
        <p:txBody>
          <a:bodyPr/>
          <a:lstStyle>
            <a:lvl1pPr>
              <a:defRPr sz="800">
                <a:solidFill>
                  <a:srgbClr val="888888"/>
                </a:solidFill>
                <a:latin typeface="Helvetica"/>
                <a:ea typeface="Helvetica"/>
                <a:cs typeface="Helvetica"/>
                <a:sym typeface="Helvetica"/>
              </a:defRPr>
            </a:lvl1pPr>
          </a:lstStyle>
          <a:p>
            <a:fld id="{86CB4B4D-7CA3-9044-876B-883B54F8677D}" type="slidenum">
              <a:t>‹Nº›</a:t>
            </a:fld>
            <a:endParaRPr/>
          </a:p>
        </p:txBody>
      </p:sp>
    </p:spTree>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x">
  <p:cSld name="Three content">
    <p:bg>
      <p:bgPr>
        <a:solidFill>
          <a:srgbClr val="FFFFFF"/>
        </a:solidFill>
        <a:effectLst/>
      </p:bgPr>
    </p:bg>
    <p:spTree>
      <p:nvGrpSpPr>
        <p:cNvPr id="1" name=""/>
        <p:cNvGrpSpPr/>
        <p:nvPr/>
      </p:nvGrpSpPr>
      <p:grpSpPr>
        <a:xfrm>
          <a:off x="0" y="0"/>
          <a:ext cx="0" cy="0"/>
          <a:chOff x="0" y="0"/>
          <a:chExt cx="0" cy="0"/>
        </a:xfrm>
      </p:grpSpPr>
      <p:pic>
        <p:nvPicPr>
          <p:cNvPr id="64"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65" name="Shape 65"/>
          <p:cNvSpPr>
            <a:spLocks noGrp="1"/>
          </p:cNvSpPr>
          <p:nvPr>
            <p:ph type="body" sz="quarter" idx="13"/>
          </p:nvPr>
        </p:nvSpPr>
        <p:spPr>
          <a:xfrm>
            <a:off x="6210301" y="6388100"/>
            <a:ext cx="4546601" cy="247650"/>
          </a:xfrm>
          <a:prstGeom prst="rect">
            <a:avLst/>
          </a:prstGeom>
        </p:spPr>
        <p:txBody>
          <a:bodyPr anchor="b"/>
          <a:lstStyle>
            <a:lvl1pPr algn="r">
              <a:spcBef>
                <a:spcPts val="0"/>
              </a:spcBef>
              <a:defRPr sz="800"/>
            </a:lvl1pPr>
          </a:lstStyle>
          <a:p>
            <a:r>
              <a:t> </a:t>
            </a:r>
          </a:p>
        </p:txBody>
      </p:sp>
      <p:sp>
        <p:nvSpPr>
          <p:cNvPr id="66" name="Shape 66"/>
          <p:cNvSpPr>
            <a:spLocks noGrp="1"/>
          </p:cNvSpPr>
          <p:nvPr>
            <p:ph type="body" sz="quarter" idx="14"/>
          </p:nvPr>
        </p:nvSpPr>
        <p:spPr>
          <a:xfrm>
            <a:off x="485775" y="806807"/>
            <a:ext cx="11223626" cy="318477"/>
          </a:xfrm>
          <a:prstGeom prst="rect">
            <a:avLst/>
          </a:prstGeom>
        </p:spPr>
        <p:txBody>
          <a:bodyPr/>
          <a:lstStyle>
            <a:lvl1pPr>
              <a:defRPr b="1">
                <a:solidFill>
                  <a:srgbClr val="002C77"/>
                </a:solidFill>
              </a:defRPr>
            </a:lvl1pPr>
          </a:lstStyle>
          <a:p>
            <a:r>
              <a:t> </a:t>
            </a:r>
          </a:p>
        </p:txBody>
      </p:sp>
      <p:sp>
        <p:nvSpPr>
          <p:cNvPr id="67" name="Shape 67"/>
          <p:cNvSpPr>
            <a:spLocks noGrp="1"/>
          </p:cNvSpPr>
          <p:nvPr>
            <p:ph type="title"/>
          </p:nvPr>
        </p:nvSpPr>
        <p:spPr>
          <a:xfrm>
            <a:off x="457200" y="355600"/>
            <a:ext cx="11252200" cy="495300"/>
          </a:xfrm>
          <a:prstGeom prst="rect">
            <a:avLst/>
          </a:prstGeom>
        </p:spPr>
        <p:txBody>
          <a:bodyPr>
            <a:normAutofit/>
          </a:bodyPr>
          <a:lstStyle/>
          <a:p>
            <a:r>
              <a:t>Texto del título</a:t>
            </a:r>
          </a:p>
        </p:txBody>
      </p:sp>
      <p:sp>
        <p:nvSpPr>
          <p:cNvPr id="68" name="Shape 68"/>
          <p:cNvSpPr>
            <a:spLocks noGrp="1"/>
          </p:cNvSpPr>
          <p:nvPr>
            <p:ph type="body" sz="quarter" idx="1"/>
          </p:nvPr>
        </p:nvSpPr>
        <p:spPr>
          <a:xfrm>
            <a:off x="485776" y="1616075"/>
            <a:ext cx="3578225" cy="4505325"/>
          </a:xfrm>
          <a:prstGeom prst="rect">
            <a:avLst/>
          </a:prstGeom>
        </p:spPr>
        <p:txBody>
          <a:bodyPr>
            <a:normAutofit/>
          </a:bodyPr>
          <a:lstStyle>
            <a:lvl1pPr>
              <a:defRPr sz="1500"/>
            </a:lvl1pPr>
            <a:lvl2pPr marL="284956" indent="-281781">
              <a:defRPr sz="1500"/>
            </a:lvl2pPr>
            <a:lvl3pPr marL="514350" indent="-285750">
              <a:defRPr sz="1500"/>
            </a:lvl3pPr>
            <a:lvl4pPr marL="742950" indent="-285750">
              <a:defRPr sz="1500"/>
            </a:lvl4pPr>
            <a:lvl5pPr marL="971550" indent="-285750">
              <a:defRPr sz="1500"/>
            </a:lvl5pPr>
          </a:lstStyle>
          <a:p>
            <a:r>
              <a:t>Nivel de texto 1</a:t>
            </a:r>
          </a:p>
          <a:p>
            <a:pPr lvl="1"/>
            <a:r>
              <a:t>Nivel de texto 2</a:t>
            </a:r>
          </a:p>
          <a:p>
            <a:pPr lvl="2"/>
            <a:r>
              <a:t>Nivel de texto 3</a:t>
            </a:r>
          </a:p>
          <a:p>
            <a:pPr lvl="3"/>
            <a:r>
              <a:t>Nivel de texto 4</a:t>
            </a:r>
          </a:p>
          <a:p>
            <a:pPr lvl="4"/>
            <a:r>
              <a:t>Nivel de texto 5</a:t>
            </a:r>
          </a:p>
        </p:txBody>
      </p:sp>
      <p:sp>
        <p:nvSpPr>
          <p:cNvPr id="69" name="Shape 69"/>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x">
  <p:cSld name="Comparison">
    <p:bg>
      <p:bgPr>
        <a:solidFill>
          <a:srgbClr val="FFFFFF"/>
        </a:solidFill>
        <a:effectLst/>
      </p:bgPr>
    </p:bg>
    <p:spTree>
      <p:nvGrpSpPr>
        <p:cNvPr id="1" name=""/>
        <p:cNvGrpSpPr/>
        <p:nvPr/>
      </p:nvGrpSpPr>
      <p:grpSpPr>
        <a:xfrm>
          <a:off x="0" y="0"/>
          <a:ext cx="0" cy="0"/>
          <a:chOff x="0" y="0"/>
          <a:chExt cx="0" cy="0"/>
        </a:xfrm>
      </p:grpSpPr>
      <p:pic>
        <p:nvPicPr>
          <p:cNvPr id="883" name="image18.tif"/>
          <p:cNvPicPr>
            <a:picLocks noChangeAspect="1"/>
          </p:cNvPicPr>
          <p:nvPr/>
        </p:nvPicPr>
        <p:blipFill>
          <a:blip r:embed="rId2"/>
          <a:stretch>
            <a:fillRect/>
          </a:stretch>
        </p:blipFill>
        <p:spPr>
          <a:xfrm>
            <a:off x="338178" y="6613462"/>
            <a:ext cx="908605" cy="136589"/>
          </a:xfrm>
          <a:prstGeom prst="rect">
            <a:avLst/>
          </a:prstGeom>
          <a:ln w="12700">
            <a:miter lim="400000"/>
          </a:ln>
        </p:spPr>
      </p:pic>
      <p:sp>
        <p:nvSpPr>
          <p:cNvPr id="884" name="Shape 884"/>
          <p:cNvSpPr>
            <a:spLocks noGrp="1"/>
          </p:cNvSpPr>
          <p:nvPr>
            <p:ph type="body" sz="quarter" idx="13"/>
          </p:nvPr>
        </p:nvSpPr>
        <p:spPr>
          <a:xfrm>
            <a:off x="6172200" y="1681163"/>
            <a:ext cx="5183188" cy="823913"/>
          </a:xfrm>
          <a:prstGeom prst="rect">
            <a:avLst/>
          </a:prstGeom>
        </p:spPr>
        <p:txBody>
          <a:bodyPr lIns="45719" tIns="45719" rIns="45719" bIns="45719" anchor="b"/>
          <a:lstStyle>
            <a:lvl1pPr defTabSz="914400">
              <a:lnSpc>
                <a:spcPct val="90000"/>
              </a:lnSpc>
              <a:spcBef>
                <a:spcPts val="1000"/>
              </a:spcBef>
              <a:defRPr sz="2400" b="1">
                <a:solidFill>
                  <a:srgbClr val="000000"/>
                </a:solidFill>
                <a:latin typeface="Helvetica"/>
                <a:ea typeface="Helvetica"/>
                <a:cs typeface="Helvetica"/>
                <a:sym typeface="Helvetica"/>
              </a:defRPr>
            </a:lvl1pPr>
          </a:lstStyle>
          <a:p>
            <a:r>
              <a:t> </a:t>
            </a:r>
          </a:p>
        </p:txBody>
      </p:sp>
      <p:sp>
        <p:nvSpPr>
          <p:cNvPr id="885" name="Shape 885"/>
          <p:cNvSpPr>
            <a:spLocks noGrp="1"/>
          </p:cNvSpPr>
          <p:nvPr>
            <p:ph type="title"/>
          </p:nvPr>
        </p:nvSpPr>
        <p:spPr>
          <a:xfrm>
            <a:off x="839787" y="365125"/>
            <a:ext cx="10515601" cy="1325564"/>
          </a:xfrm>
          <a:prstGeom prst="rect">
            <a:avLst/>
          </a:prstGeom>
        </p:spPr>
        <p:txBody>
          <a:bodyPr lIns="45719" tIns="45719" rIns="45719" bIns="45719" anchor="ctr">
            <a:normAutofit/>
          </a:bodyPr>
          <a:lstStyle>
            <a:lvl1pPr defTabSz="914400">
              <a:lnSpc>
                <a:spcPct val="90000"/>
              </a:lnSpc>
              <a:defRPr sz="4400">
                <a:solidFill>
                  <a:srgbClr val="000000"/>
                </a:solidFill>
                <a:latin typeface="Helvetica"/>
                <a:ea typeface="Helvetica"/>
                <a:cs typeface="Helvetica"/>
                <a:sym typeface="Helvetica"/>
              </a:defRPr>
            </a:lvl1pPr>
          </a:lstStyle>
          <a:p>
            <a:r>
              <a:t>Texto del título</a:t>
            </a:r>
          </a:p>
        </p:txBody>
      </p:sp>
      <p:sp>
        <p:nvSpPr>
          <p:cNvPr id="886" name="Shape 886"/>
          <p:cNvSpPr>
            <a:spLocks noGrp="1"/>
          </p:cNvSpPr>
          <p:nvPr>
            <p:ph type="body" sz="quarter" idx="1"/>
          </p:nvPr>
        </p:nvSpPr>
        <p:spPr>
          <a:xfrm>
            <a:off x="839788" y="1681163"/>
            <a:ext cx="5157789" cy="823913"/>
          </a:xfrm>
          <a:prstGeom prst="rect">
            <a:avLst/>
          </a:prstGeom>
        </p:spPr>
        <p:txBody>
          <a:bodyPr lIns="45719" tIns="45719" rIns="45719" bIns="45719" anchor="b">
            <a:normAutofit/>
          </a:bodyPr>
          <a:lstStyle>
            <a:lvl1pPr defTabSz="914400">
              <a:lnSpc>
                <a:spcPct val="90000"/>
              </a:lnSpc>
              <a:spcBef>
                <a:spcPts val="1000"/>
              </a:spcBef>
              <a:defRPr sz="2400" b="1">
                <a:solidFill>
                  <a:srgbClr val="000000"/>
                </a:solidFill>
                <a:latin typeface="Helvetica"/>
                <a:ea typeface="Helvetica"/>
                <a:cs typeface="Helvetica"/>
                <a:sym typeface="Helvetica"/>
              </a:defRPr>
            </a:lvl1pPr>
            <a:lvl2pPr marL="0" indent="457200" defTabSz="914400">
              <a:lnSpc>
                <a:spcPct val="90000"/>
              </a:lnSpc>
              <a:spcBef>
                <a:spcPts val="1000"/>
              </a:spcBef>
              <a:buSzTx/>
              <a:buNone/>
              <a:defRPr sz="2400" b="1">
                <a:solidFill>
                  <a:srgbClr val="000000"/>
                </a:solidFill>
                <a:latin typeface="Helvetica"/>
                <a:ea typeface="Helvetica"/>
                <a:cs typeface="Helvetica"/>
                <a:sym typeface="Helvetica"/>
              </a:defRPr>
            </a:lvl2pPr>
            <a:lvl3pPr marL="0" indent="914400" defTabSz="914400">
              <a:lnSpc>
                <a:spcPct val="90000"/>
              </a:lnSpc>
              <a:spcBef>
                <a:spcPts val="1000"/>
              </a:spcBef>
              <a:buSzTx/>
              <a:buNone/>
              <a:defRPr sz="2400" b="1">
                <a:solidFill>
                  <a:srgbClr val="000000"/>
                </a:solidFill>
                <a:latin typeface="Helvetica"/>
                <a:ea typeface="Helvetica"/>
                <a:cs typeface="Helvetica"/>
                <a:sym typeface="Helvetica"/>
              </a:defRPr>
            </a:lvl3pPr>
            <a:lvl4pPr marL="0" indent="1371600" defTabSz="914400">
              <a:lnSpc>
                <a:spcPct val="90000"/>
              </a:lnSpc>
              <a:spcBef>
                <a:spcPts val="1000"/>
              </a:spcBef>
              <a:buSzTx/>
              <a:buNone/>
              <a:defRPr sz="2400" b="1">
                <a:solidFill>
                  <a:srgbClr val="000000"/>
                </a:solidFill>
                <a:latin typeface="Helvetica"/>
                <a:ea typeface="Helvetica"/>
                <a:cs typeface="Helvetica"/>
                <a:sym typeface="Helvetica"/>
              </a:defRPr>
            </a:lvl4pPr>
            <a:lvl5pPr marL="0" indent="1828800" defTabSz="914400">
              <a:lnSpc>
                <a:spcPct val="90000"/>
              </a:lnSpc>
              <a:spcBef>
                <a:spcPts val="1000"/>
              </a:spcBef>
              <a:buSzTx/>
              <a:buNone/>
              <a:defRPr sz="2400" b="1">
                <a:solidFill>
                  <a:srgbClr val="000000"/>
                </a:solidFill>
                <a:latin typeface="Helvetica"/>
                <a:ea typeface="Helvetica"/>
                <a:cs typeface="Helvetica"/>
                <a:sym typeface="Helvetica"/>
              </a:defRPr>
            </a:lvl5pPr>
          </a:lstStyle>
          <a:p>
            <a:r>
              <a:t>Nivel de texto 1</a:t>
            </a:r>
          </a:p>
          <a:p>
            <a:pPr lvl="1"/>
            <a:r>
              <a:t>Nivel de texto 2</a:t>
            </a:r>
          </a:p>
          <a:p>
            <a:pPr lvl="2"/>
            <a:r>
              <a:t>Nivel de texto 3</a:t>
            </a:r>
          </a:p>
          <a:p>
            <a:pPr lvl="3"/>
            <a:r>
              <a:t>Nivel de texto 4</a:t>
            </a:r>
          </a:p>
          <a:p>
            <a:pPr lvl="4"/>
            <a:r>
              <a:t>Nivel de texto 5</a:t>
            </a:r>
          </a:p>
        </p:txBody>
      </p:sp>
      <p:sp>
        <p:nvSpPr>
          <p:cNvPr id="887" name="Shape 887"/>
          <p:cNvSpPr>
            <a:spLocks noGrp="1"/>
          </p:cNvSpPr>
          <p:nvPr>
            <p:ph type="sldNum" sz="quarter" idx="2"/>
          </p:nvPr>
        </p:nvSpPr>
        <p:spPr>
          <a:xfrm>
            <a:off x="10556240" y="5437188"/>
            <a:ext cx="1270001" cy="1270001"/>
          </a:xfrm>
          <a:prstGeom prst="rect">
            <a:avLst/>
          </a:prstGeom>
        </p:spPr>
        <p:txBody>
          <a:bodyPr/>
          <a:lstStyle>
            <a:lvl1pPr>
              <a:defRPr sz="800">
                <a:solidFill>
                  <a:srgbClr val="888888"/>
                </a:solidFill>
                <a:latin typeface="Helvetica"/>
                <a:ea typeface="Helvetica"/>
                <a:cs typeface="Helvetica"/>
                <a:sym typeface="Helvetica"/>
              </a:defRPr>
            </a:lvl1pPr>
          </a:lstStyle>
          <a:p>
            <a:fld id="{86CB4B4D-7CA3-9044-876B-883B54F8677D}" type="slidenum">
              <a:t>‹Nº›</a:t>
            </a:fld>
            <a:endParaRPr/>
          </a:p>
        </p:txBody>
      </p:sp>
    </p:spTree>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x">
  <p:cSld name="Title Only">
    <p:bg>
      <p:bgPr>
        <a:solidFill>
          <a:srgbClr val="FFFFFF"/>
        </a:solidFill>
        <a:effectLst/>
      </p:bgPr>
    </p:bg>
    <p:spTree>
      <p:nvGrpSpPr>
        <p:cNvPr id="1" name=""/>
        <p:cNvGrpSpPr/>
        <p:nvPr/>
      </p:nvGrpSpPr>
      <p:grpSpPr>
        <a:xfrm>
          <a:off x="0" y="0"/>
          <a:ext cx="0" cy="0"/>
          <a:chOff x="0" y="0"/>
          <a:chExt cx="0" cy="0"/>
        </a:xfrm>
      </p:grpSpPr>
      <p:pic>
        <p:nvPicPr>
          <p:cNvPr id="894" name="image18.tif"/>
          <p:cNvPicPr>
            <a:picLocks noChangeAspect="1"/>
          </p:cNvPicPr>
          <p:nvPr/>
        </p:nvPicPr>
        <p:blipFill>
          <a:blip r:embed="rId2"/>
          <a:stretch>
            <a:fillRect/>
          </a:stretch>
        </p:blipFill>
        <p:spPr>
          <a:xfrm>
            <a:off x="338178" y="6613462"/>
            <a:ext cx="908605" cy="136589"/>
          </a:xfrm>
          <a:prstGeom prst="rect">
            <a:avLst/>
          </a:prstGeom>
          <a:ln w="12700">
            <a:miter lim="400000"/>
          </a:ln>
        </p:spPr>
      </p:pic>
      <p:sp>
        <p:nvSpPr>
          <p:cNvPr id="895" name="Shape 895"/>
          <p:cNvSpPr>
            <a:spLocks noGrp="1"/>
          </p:cNvSpPr>
          <p:nvPr>
            <p:ph type="title"/>
          </p:nvPr>
        </p:nvSpPr>
        <p:spPr>
          <a:xfrm>
            <a:off x="838200" y="365125"/>
            <a:ext cx="10515600" cy="1325564"/>
          </a:xfrm>
          <a:prstGeom prst="rect">
            <a:avLst/>
          </a:prstGeom>
        </p:spPr>
        <p:txBody>
          <a:bodyPr lIns="45719" tIns="45719" rIns="45719" bIns="45719" anchor="ctr">
            <a:normAutofit/>
          </a:bodyPr>
          <a:lstStyle>
            <a:lvl1pPr defTabSz="914400">
              <a:lnSpc>
                <a:spcPct val="90000"/>
              </a:lnSpc>
              <a:defRPr sz="4400">
                <a:solidFill>
                  <a:srgbClr val="000000"/>
                </a:solidFill>
                <a:latin typeface="Helvetica"/>
                <a:ea typeface="Helvetica"/>
                <a:cs typeface="Helvetica"/>
                <a:sym typeface="Helvetica"/>
              </a:defRPr>
            </a:lvl1pPr>
          </a:lstStyle>
          <a:p>
            <a:r>
              <a:t>Texto del título</a:t>
            </a:r>
          </a:p>
        </p:txBody>
      </p:sp>
      <p:sp>
        <p:nvSpPr>
          <p:cNvPr id="896" name="Shape 896"/>
          <p:cNvSpPr>
            <a:spLocks noGrp="1"/>
          </p:cNvSpPr>
          <p:nvPr>
            <p:ph type="sldNum" sz="quarter" idx="2"/>
          </p:nvPr>
        </p:nvSpPr>
        <p:spPr>
          <a:xfrm>
            <a:off x="10556240" y="5437188"/>
            <a:ext cx="1270001" cy="1270001"/>
          </a:xfrm>
          <a:prstGeom prst="rect">
            <a:avLst/>
          </a:prstGeom>
        </p:spPr>
        <p:txBody>
          <a:bodyPr/>
          <a:lstStyle>
            <a:lvl1pPr>
              <a:defRPr sz="800">
                <a:solidFill>
                  <a:srgbClr val="888888"/>
                </a:solidFill>
                <a:latin typeface="Helvetica"/>
                <a:ea typeface="Helvetica"/>
                <a:cs typeface="Helvetica"/>
                <a:sym typeface="Helvetica"/>
              </a:defRPr>
            </a:lvl1pPr>
          </a:lstStyle>
          <a:p>
            <a:fld id="{86CB4B4D-7CA3-9044-876B-883B54F8677D}" type="slidenum">
              <a:t>‹Nº›</a:t>
            </a:fld>
            <a:endParaRPr/>
          </a:p>
        </p:txBody>
      </p:sp>
    </p:spTree>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x">
  <p:cSld name="Blank">
    <p:bg>
      <p:bgPr>
        <a:solidFill>
          <a:srgbClr val="FFFFFF"/>
        </a:solidFill>
        <a:effectLst/>
      </p:bgPr>
    </p:bg>
    <p:spTree>
      <p:nvGrpSpPr>
        <p:cNvPr id="1" name=""/>
        <p:cNvGrpSpPr/>
        <p:nvPr/>
      </p:nvGrpSpPr>
      <p:grpSpPr>
        <a:xfrm>
          <a:off x="0" y="0"/>
          <a:ext cx="0" cy="0"/>
          <a:chOff x="0" y="0"/>
          <a:chExt cx="0" cy="0"/>
        </a:xfrm>
      </p:grpSpPr>
      <p:pic>
        <p:nvPicPr>
          <p:cNvPr id="903" name="image18.tif"/>
          <p:cNvPicPr>
            <a:picLocks noChangeAspect="1"/>
          </p:cNvPicPr>
          <p:nvPr/>
        </p:nvPicPr>
        <p:blipFill>
          <a:blip r:embed="rId2"/>
          <a:stretch>
            <a:fillRect/>
          </a:stretch>
        </p:blipFill>
        <p:spPr>
          <a:xfrm>
            <a:off x="338178" y="6613462"/>
            <a:ext cx="908605" cy="136589"/>
          </a:xfrm>
          <a:prstGeom prst="rect">
            <a:avLst/>
          </a:prstGeom>
          <a:ln w="12700">
            <a:miter lim="400000"/>
          </a:ln>
        </p:spPr>
      </p:pic>
      <p:sp>
        <p:nvSpPr>
          <p:cNvPr id="904" name="Shape 904"/>
          <p:cNvSpPr>
            <a:spLocks noGrp="1"/>
          </p:cNvSpPr>
          <p:nvPr>
            <p:ph type="sldNum" sz="quarter" idx="2"/>
          </p:nvPr>
        </p:nvSpPr>
        <p:spPr>
          <a:xfrm>
            <a:off x="10556240" y="5437188"/>
            <a:ext cx="1270001" cy="1270001"/>
          </a:xfrm>
          <a:prstGeom prst="rect">
            <a:avLst/>
          </a:prstGeom>
        </p:spPr>
        <p:txBody>
          <a:bodyPr/>
          <a:lstStyle>
            <a:lvl1pPr>
              <a:defRPr sz="800">
                <a:solidFill>
                  <a:srgbClr val="888888"/>
                </a:solidFill>
                <a:latin typeface="Helvetica"/>
                <a:ea typeface="Helvetica"/>
                <a:cs typeface="Helvetica"/>
                <a:sym typeface="Helvetica"/>
              </a:defRPr>
            </a:lvl1pPr>
          </a:lstStyle>
          <a:p>
            <a:fld id="{86CB4B4D-7CA3-9044-876B-883B54F8677D}" type="slidenum">
              <a:t>‹Nº›</a:t>
            </a:fld>
            <a:endParaRPr/>
          </a:p>
        </p:txBody>
      </p:sp>
    </p:spTree>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x">
  <p:cSld name="Content with Caption">
    <p:bg>
      <p:bgPr>
        <a:solidFill>
          <a:srgbClr val="FFFFFF"/>
        </a:solidFill>
        <a:effectLst/>
      </p:bgPr>
    </p:bg>
    <p:spTree>
      <p:nvGrpSpPr>
        <p:cNvPr id="1" name=""/>
        <p:cNvGrpSpPr/>
        <p:nvPr/>
      </p:nvGrpSpPr>
      <p:grpSpPr>
        <a:xfrm>
          <a:off x="0" y="0"/>
          <a:ext cx="0" cy="0"/>
          <a:chOff x="0" y="0"/>
          <a:chExt cx="0" cy="0"/>
        </a:xfrm>
      </p:grpSpPr>
      <p:pic>
        <p:nvPicPr>
          <p:cNvPr id="911" name="image18.tif"/>
          <p:cNvPicPr>
            <a:picLocks noChangeAspect="1"/>
          </p:cNvPicPr>
          <p:nvPr/>
        </p:nvPicPr>
        <p:blipFill>
          <a:blip r:embed="rId2"/>
          <a:stretch>
            <a:fillRect/>
          </a:stretch>
        </p:blipFill>
        <p:spPr>
          <a:xfrm>
            <a:off x="338178" y="6613462"/>
            <a:ext cx="908605" cy="136589"/>
          </a:xfrm>
          <a:prstGeom prst="rect">
            <a:avLst/>
          </a:prstGeom>
          <a:ln w="12700">
            <a:miter lim="400000"/>
          </a:ln>
        </p:spPr>
      </p:pic>
      <p:sp>
        <p:nvSpPr>
          <p:cNvPr id="912" name="Shape 912"/>
          <p:cNvSpPr>
            <a:spLocks noGrp="1"/>
          </p:cNvSpPr>
          <p:nvPr>
            <p:ph type="body" sz="quarter" idx="13"/>
          </p:nvPr>
        </p:nvSpPr>
        <p:spPr>
          <a:xfrm>
            <a:off x="839788" y="2057400"/>
            <a:ext cx="3932238" cy="3811588"/>
          </a:xfrm>
          <a:prstGeom prst="rect">
            <a:avLst/>
          </a:prstGeom>
        </p:spPr>
        <p:txBody>
          <a:bodyPr lIns="45719" tIns="45719" rIns="45719" bIns="45719"/>
          <a:lstStyle>
            <a:lvl1pPr defTabSz="914400">
              <a:lnSpc>
                <a:spcPct val="90000"/>
              </a:lnSpc>
              <a:spcBef>
                <a:spcPts val="1000"/>
              </a:spcBef>
              <a:defRPr sz="1600">
                <a:solidFill>
                  <a:srgbClr val="000000"/>
                </a:solidFill>
                <a:latin typeface="Helvetica"/>
                <a:ea typeface="Helvetica"/>
                <a:cs typeface="Helvetica"/>
                <a:sym typeface="Helvetica"/>
              </a:defRPr>
            </a:lvl1pPr>
          </a:lstStyle>
          <a:p>
            <a:r>
              <a:t> </a:t>
            </a:r>
          </a:p>
        </p:txBody>
      </p:sp>
      <p:sp>
        <p:nvSpPr>
          <p:cNvPr id="913" name="Shape 913"/>
          <p:cNvSpPr>
            <a:spLocks noGrp="1"/>
          </p:cNvSpPr>
          <p:nvPr>
            <p:ph type="title"/>
          </p:nvPr>
        </p:nvSpPr>
        <p:spPr>
          <a:xfrm>
            <a:off x="839788" y="457200"/>
            <a:ext cx="3932239" cy="1600200"/>
          </a:xfrm>
          <a:prstGeom prst="rect">
            <a:avLst/>
          </a:prstGeom>
        </p:spPr>
        <p:txBody>
          <a:bodyPr lIns="45719" tIns="45719" rIns="45719" bIns="45719" anchor="b">
            <a:normAutofit/>
          </a:bodyPr>
          <a:lstStyle>
            <a:lvl1pPr defTabSz="914400">
              <a:lnSpc>
                <a:spcPct val="90000"/>
              </a:lnSpc>
              <a:defRPr sz="3200">
                <a:solidFill>
                  <a:srgbClr val="000000"/>
                </a:solidFill>
                <a:latin typeface="Helvetica"/>
                <a:ea typeface="Helvetica"/>
                <a:cs typeface="Helvetica"/>
                <a:sym typeface="Helvetica"/>
              </a:defRPr>
            </a:lvl1pPr>
          </a:lstStyle>
          <a:p>
            <a:r>
              <a:t>Texto del título</a:t>
            </a:r>
          </a:p>
        </p:txBody>
      </p:sp>
      <p:sp>
        <p:nvSpPr>
          <p:cNvPr id="914" name="Shape 914"/>
          <p:cNvSpPr>
            <a:spLocks noGrp="1"/>
          </p:cNvSpPr>
          <p:nvPr>
            <p:ph type="body" sz="half" idx="1"/>
          </p:nvPr>
        </p:nvSpPr>
        <p:spPr>
          <a:xfrm>
            <a:off x="5183187" y="987425"/>
            <a:ext cx="6172201" cy="4873626"/>
          </a:xfrm>
          <a:prstGeom prst="rect">
            <a:avLst/>
          </a:prstGeom>
        </p:spPr>
        <p:txBody>
          <a:bodyPr lIns="45719" tIns="45719" rIns="45719" bIns="45719">
            <a:normAutofit/>
          </a:bodyPr>
          <a:lstStyle>
            <a:lvl1pPr marL="228600" indent="-228600" defTabSz="914400">
              <a:lnSpc>
                <a:spcPct val="90000"/>
              </a:lnSpc>
              <a:spcBef>
                <a:spcPts val="1000"/>
              </a:spcBef>
              <a:buSzPct val="100000"/>
              <a:buFont typeface="Arial"/>
              <a:buChar char="•"/>
              <a:defRPr sz="3200">
                <a:solidFill>
                  <a:srgbClr val="000000"/>
                </a:solidFill>
                <a:latin typeface="Helvetica"/>
                <a:ea typeface="Helvetica"/>
                <a:cs typeface="Helvetica"/>
                <a:sym typeface="Helvetica"/>
              </a:defRPr>
            </a:lvl1pPr>
            <a:lvl2pPr marL="718457" indent="-261257" defTabSz="914400">
              <a:lnSpc>
                <a:spcPct val="90000"/>
              </a:lnSpc>
              <a:spcBef>
                <a:spcPts val="1000"/>
              </a:spcBef>
              <a:buFont typeface="Arial"/>
              <a:defRPr sz="3200">
                <a:solidFill>
                  <a:srgbClr val="000000"/>
                </a:solidFill>
                <a:latin typeface="Helvetica"/>
                <a:ea typeface="Helvetica"/>
                <a:cs typeface="Helvetica"/>
                <a:sym typeface="Helvetica"/>
              </a:defRPr>
            </a:lvl2pPr>
            <a:lvl3pPr marL="1219200" indent="-304800" defTabSz="914400">
              <a:lnSpc>
                <a:spcPct val="90000"/>
              </a:lnSpc>
              <a:spcBef>
                <a:spcPts val="1000"/>
              </a:spcBef>
              <a:buFont typeface="Arial"/>
              <a:buChar char="•"/>
              <a:defRPr sz="3200">
                <a:solidFill>
                  <a:srgbClr val="000000"/>
                </a:solidFill>
                <a:latin typeface="Helvetica"/>
                <a:ea typeface="Helvetica"/>
                <a:cs typeface="Helvetica"/>
                <a:sym typeface="Helvetica"/>
              </a:defRPr>
            </a:lvl3pPr>
            <a:lvl4pPr marL="1737360" indent="-365760" defTabSz="914400">
              <a:lnSpc>
                <a:spcPct val="90000"/>
              </a:lnSpc>
              <a:spcBef>
                <a:spcPts val="1000"/>
              </a:spcBef>
              <a:buFont typeface="Arial"/>
              <a:defRPr sz="3200">
                <a:solidFill>
                  <a:srgbClr val="000000"/>
                </a:solidFill>
                <a:latin typeface="Helvetica"/>
                <a:ea typeface="Helvetica"/>
                <a:cs typeface="Helvetica"/>
                <a:sym typeface="Helvetica"/>
              </a:defRPr>
            </a:lvl4pPr>
            <a:lvl5pPr marL="2194560" indent="-365760" defTabSz="914400">
              <a:lnSpc>
                <a:spcPct val="90000"/>
              </a:lnSpc>
              <a:spcBef>
                <a:spcPts val="1000"/>
              </a:spcBef>
              <a:buFont typeface="Arial"/>
              <a:buChar char="•"/>
              <a:defRPr sz="3200">
                <a:solidFill>
                  <a:srgbClr val="000000"/>
                </a:solidFill>
                <a:latin typeface="Helvetica"/>
                <a:ea typeface="Helvetica"/>
                <a:cs typeface="Helvetica"/>
                <a:sym typeface="Helvetica"/>
              </a:defRPr>
            </a:lvl5pPr>
          </a:lstStyle>
          <a:p>
            <a:r>
              <a:t>Nivel de texto 1</a:t>
            </a:r>
          </a:p>
          <a:p>
            <a:pPr lvl="1"/>
            <a:r>
              <a:t>Nivel de texto 2</a:t>
            </a:r>
          </a:p>
          <a:p>
            <a:pPr lvl="2"/>
            <a:r>
              <a:t>Nivel de texto 3</a:t>
            </a:r>
          </a:p>
          <a:p>
            <a:pPr lvl="3"/>
            <a:r>
              <a:t>Nivel de texto 4</a:t>
            </a:r>
          </a:p>
          <a:p>
            <a:pPr lvl="4"/>
            <a:r>
              <a:t>Nivel de texto 5</a:t>
            </a:r>
          </a:p>
        </p:txBody>
      </p:sp>
      <p:sp>
        <p:nvSpPr>
          <p:cNvPr id="915" name="Shape 915"/>
          <p:cNvSpPr>
            <a:spLocks noGrp="1"/>
          </p:cNvSpPr>
          <p:nvPr>
            <p:ph type="sldNum" sz="quarter" idx="2"/>
          </p:nvPr>
        </p:nvSpPr>
        <p:spPr>
          <a:xfrm>
            <a:off x="10556240" y="5437188"/>
            <a:ext cx="1270001" cy="1270001"/>
          </a:xfrm>
          <a:prstGeom prst="rect">
            <a:avLst/>
          </a:prstGeom>
        </p:spPr>
        <p:txBody>
          <a:bodyPr/>
          <a:lstStyle>
            <a:lvl1pPr>
              <a:defRPr sz="800">
                <a:solidFill>
                  <a:srgbClr val="888888"/>
                </a:solidFill>
                <a:latin typeface="Helvetica"/>
                <a:ea typeface="Helvetica"/>
                <a:cs typeface="Helvetica"/>
                <a:sym typeface="Helvetica"/>
              </a:defRPr>
            </a:lvl1pPr>
          </a:lstStyle>
          <a:p>
            <a:fld id="{86CB4B4D-7CA3-9044-876B-883B54F8677D}" type="slidenum">
              <a:t>‹Nº›</a:t>
            </a:fld>
            <a:endParaRPr/>
          </a:p>
        </p:txBody>
      </p:sp>
    </p:spTree>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x">
  <p:cSld name="Picture with Caption">
    <p:bg>
      <p:bgPr>
        <a:solidFill>
          <a:srgbClr val="FFFFFF"/>
        </a:solidFill>
        <a:effectLst/>
      </p:bgPr>
    </p:bg>
    <p:spTree>
      <p:nvGrpSpPr>
        <p:cNvPr id="1" name=""/>
        <p:cNvGrpSpPr/>
        <p:nvPr/>
      </p:nvGrpSpPr>
      <p:grpSpPr>
        <a:xfrm>
          <a:off x="0" y="0"/>
          <a:ext cx="0" cy="0"/>
          <a:chOff x="0" y="0"/>
          <a:chExt cx="0" cy="0"/>
        </a:xfrm>
      </p:grpSpPr>
      <p:pic>
        <p:nvPicPr>
          <p:cNvPr id="922" name="image18.tif"/>
          <p:cNvPicPr>
            <a:picLocks noChangeAspect="1"/>
          </p:cNvPicPr>
          <p:nvPr/>
        </p:nvPicPr>
        <p:blipFill>
          <a:blip r:embed="rId2"/>
          <a:stretch>
            <a:fillRect/>
          </a:stretch>
        </p:blipFill>
        <p:spPr>
          <a:xfrm>
            <a:off x="338178" y="6613462"/>
            <a:ext cx="908605" cy="136589"/>
          </a:xfrm>
          <a:prstGeom prst="rect">
            <a:avLst/>
          </a:prstGeom>
          <a:ln w="12700">
            <a:miter lim="400000"/>
          </a:ln>
        </p:spPr>
      </p:pic>
      <p:sp>
        <p:nvSpPr>
          <p:cNvPr id="923" name="Shape 923"/>
          <p:cNvSpPr>
            <a:spLocks noGrp="1"/>
          </p:cNvSpPr>
          <p:nvPr>
            <p:ph type="pic" sz="half" idx="13"/>
          </p:nvPr>
        </p:nvSpPr>
        <p:spPr>
          <a:xfrm>
            <a:off x="5183187" y="987425"/>
            <a:ext cx="6172201" cy="4873626"/>
          </a:xfrm>
          <a:prstGeom prst="rect">
            <a:avLst/>
          </a:prstGeom>
        </p:spPr>
        <p:txBody>
          <a:bodyPr lIns="91439" tIns="45719" rIns="91439" bIns="45719"/>
          <a:lstStyle/>
          <a:p>
            <a:endParaRPr/>
          </a:p>
        </p:txBody>
      </p:sp>
      <p:sp>
        <p:nvSpPr>
          <p:cNvPr id="924" name="Shape 924"/>
          <p:cNvSpPr>
            <a:spLocks noGrp="1"/>
          </p:cNvSpPr>
          <p:nvPr>
            <p:ph type="title"/>
          </p:nvPr>
        </p:nvSpPr>
        <p:spPr>
          <a:xfrm>
            <a:off x="839788" y="457200"/>
            <a:ext cx="3932239" cy="1600200"/>
          </a:xfrm>
          <a:prstGeom prst="rect">
            <a:avLst/>
          </a:prstGeom>
        </p:spPr>
        <p:txBody>
          <a:bodyPr lIns="45719" tIns="45719" rIns="45719" bIns="45719" anchor="b">
            <a:normAutofit/>
          </a:bodyPr>
          <a:lstStyle>
            <a:lvl1pPr defTabSz="914400">
              <a:lnSpc>
                <a:spcPct val="90000"/>
              </a:lnSpc>
              <a:defRPr sz="3200">
                <a:solidFill>
                  <a:srgbClr val="000000"/>
                </a:solidFill>
                <a:latin typeface="Helvetica"/>
                <a:ea typeface="Helvetica"/>
                <a:cs typeface="Helvetica"/>
                <a:sym typeface="Helvetica"/>
              </a:defRPr>
            </a:lvl1pPr>
          </a:lstStyle>
          <a:p>
            <a:r>
              <a:t>Texto del título</a:t>
            </a:r>
          </a:p>
        </p:txBody>
      </p:sp>
      <p:sp>
        <p:nvSpPr>
          <p:cNvPr id="925" name="Shape 925"/>
          <p:cNvSpPr>
            <a:spLocks noGrp="1"/>
          </p:cNvSpPr>
          <p:nvPr>
            <p:ph type="body" sz="quarter" idx="1"/>
          </p:nvPr>
        </p:nvSpPr>
        <p:spPr>
          <a:xfrm>
            <a:off x="839788" y="2057400"/>
            <a:ext cx="3932239" cy="3811588"/>
          </a:xfrm>
          <a:prstGeom prst="rect">
            <a:avLst/>
          </a:prstGeom>
        </p:spPr>
        <p:txBody>
          <a:bodyPr lIns="45719" tIns="45719" rIns="45719" bIns="45719">
            <a:normAutofit/>
          </a:bodyPr>
          <a:lstStyle>
            <a:lvl1pPr defTabSz="914400">
              <a:lnSpc>
                <a:spcPct val="90000"/>
              </a:lnSpc>
              <a:spcBef>
                <a:spcPts val="1000"/>
              </a:spcBef>
              <a:defRPr sz="1600">
                <a:solidFill>
                  <a:srgbClr val="000000"/>
                </a:solidFill>
                <a:latin typeface="Helvetica"/>
                <a:ea typeface="Helvetica"/>
                <a:cs typeface="Helvetica"/>
                <a:sym typeface="Helvetica"/>
              </a:defRPr>
            </a:lvl1pPr>
            <a:lvl2pPr marL="0" indent="457200" defTabSz="914400">
              <a:lnSpc>
                <a:spcPct val="90000"/>
              </a:lnSpc>
              <a:spcBef>
                <a:spcPts val="1000"/>
              </a:spcBef>
              <a:buSzTx/>
              <a:buNone/>
              <a:defRPr sz="1600">
                <a:solidFill>
                  <a:srgbClr val="000000"/>
                </a:solidFill>
                <a:latin typeface="Helvetica"/>
                <a:ea typeface="Helvetica"/>
                <a:cs typeface="Helvetica"/>
                <a:sym typeface="Helvetica"/>
              </a:defRPr>
            </a:lvl2pPr>
            <a:lvl3pPr marL="0" indent="914400" defTabSz="914400">
              <a:lnSpc>
                <a:spcPct val="90000"/>
              </a:lnSpc>
              <a:spcBef>
                <a:spcPts val="1000"/>
              </a:spcBef>
              <a:buSzTx/>
              <a:buNone/>
              <a:defRPr sz="1600">
                <a:solidFill>
                  <a:srgbClr val="000000"/>
                </a:solidFill>
                <a:latin typeface="Helvetica"/>
                <a:ea typeface="Helvetica"/>
                <a:cs typeface="Helvetica"/>
                <a:sym typeface="Helvetica"/>
              </a:defRPr>
            </a:lvl3pPr>
            <a:lvl4pPr marL="0" indent="1371600" defTabSz="914400">
              <a:lnSpc>
                <a:spcPct val="90000"/>
              </a:lnSpc>
              <a:spcBef>
                <a:spcPts val="1000"/>
              </a:spcBef>
              <a:buSzTx/>
              <a:buNone/>
              <a:defRPr sz="1600">
                <a:solidFill>
                  <a:srgbClr val="000000"/>
                </a:solidFill>
                <a:latin typeface="Helvetica"/>
                <a:ea typeface="Helvetica"/>
                <a:cs typeface="Helvetica"/>
                <a:sym typeface="Helvetica"/>
              </a:defRPr>
            </a:lvl4pPr>
            <a:lvl5pPr marL="0" indent="1828800" defTabSz="914400">
              <a:lnSpc>
                <a:spcPct val="90000"/>
              </a:lnSpc>
              <a:spcBef>
                <a:spcPts val="1000"/>
              </a:spcBef>
              <a:buSzTx/>
              <a:buNone/>
              <a:defRPr sz="1600">
                <a:solidFill>
                  <a:srgbClr val="000000"/>
                </a:solidFill>
                <a:latin typeface="Helvetica"/>
                <a:ea typeface="Helvetica"/>
                <a:cs typeface="Helvetica"/>
                <a:sym typeface="Helvetica"/>
              </a:defRPr>
            </a:lvl5pPr>
          </a:lstStyle>
          <a:p>
            <a:r>
              <a:t>Nivel de texto 1</a:t>
            </a:r>
          </a:p>
          <a:p>
            <a:pPr lvl="1"/>
            <a:r>
              <a:t>Nivel de texto 2</a:t>
            </a:r>
          </a:p>
          <a:p>
            <a:pPr lvl="2"/>
            <a:r>
              <a:t>Nivel de texto 3</a:t>
            </a:r>
          </a:p>
          <a:p>
            <a:pPr lvl="3"/>
            <a:r>
              <a:t>Nivel de texto 4</a:t>
            </a:r>
          </a:p>
          <a:p>
            <a:pPr lvl="4"/>
            <a:r>
              <a:t>Nivel de texto 5</a:t>
            </a:r>
          </a:p>
        </p:txBody>
      </p:sp>
      <p:sp>
        <p:nvSpPr>
          <p:cNvPr id="926" name="Shape 926"/>
          <p:cNvSpPr>
            <a:spLocks noGrp="1"/>
          </p:cNvSpPr>
          <p:nvPr>
            <p:ph type="sldNum" sz="quarter" idx="2"/>
          </p:nvPr>
        </p:nvSpPr>
        <p:spPr>
          <a:xfrm>
            <a:off x="10556240" y="5437188"/>
            <a:ext cx="1270001" cy="1270001"/>
          </a:xfrm>
          <a:prstGeom prst="rect">
            <a:avLst/>
          </a:prstGeom>
        </p:spPr>
        <p:txBody>
          <a:bodyPr/>
          <a:lstStyle>
            <a:lvl1pPr>
              <a:defRPr sz="800">
                <a:solidFill>
                  <a:srgbClr val="888888"/>
                </a:solidFill>
                <a:latin typeface="Helvetica"/>
                <a:ea typeface="Helvetica"/>
                <a:cs typeface="Helvetica"/>
                <a:sym typeface="Helvetica"/>
              </a:defRPr>
            </a:lvl1pPr>
          </a:lstStyle>
          <a:p>
            <a:fld id="{86CB4B4D-7CA3-9044-876B-883B54F8677D}" type="slidenum">
              <a:t>‹Nº›</a:t>
            </a:fld>
            <a:endParaRPr/>
          </a:p>
        </p:txBody>
      </p:sp>
    </p:spTree>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x">
  <p:cSld name="Title and Vertical Text">
    <p:bg>
      <p:bgPr>
        <a:solidFill>
          <a:srgbClr val="FFFFFF"/>
        </a:solidFill>
        <a:effectLst/>
      </p:bgPr>
    </p:bg>
    <p:spTree>
      <p:nvGrpSpPr>
        <p:cNvPr id="1" name=""/>
        <p:cNvGrpSpPr/>
        <p:nvPr/>
      </p:nvGrpSpPr>
      <p:grpSpPr>
        <a:xfrm>
          <a:off x="0" y="0"/>
          <a:ext cx="0" cy="0"/>
          <a:chOff x="0" y="0"/>
          <a:chExt cx="0" cy="0"/>
        </a:xfrm>
      </p:grpSpPr>
      <p:pic>
        <p:nvPicPr>
          <p:cNvPr id="933" name="image18.tif"/>
          <p:cNvPicPr>
            <a:picLocks noChangeAspect="1"/>
          </p:cNvPicPr>
          <p:nvPr/>
        </p:nvPicPr>
        <p:blipFill>
          <a:blip r:embed="rId2"/>
          <a:stretch>
            <a:fillRect/>
          </a:stretch>
        </p:blipFill>
        <p:spPr>
          <a:xfrm>
            <a:off x="338178" y="6613462"/>
            <a:ext cx="908605" cy="136589"/>
          </a:xfrm>
          <a:prstGeom prst="rect">
            <a:avLst/>
          </a:prstGeom>
          <a:ln w="12700">
            <a:miter lim="400000"/>
          </a:ln>
        </p:spPr>
      </p:pic>
      <p:sp>
        <p:nvSpPr>
          <p:cNvPr id="934" name="Shape 934"/>
          <p:cNvSpPr>
            <a:spLocks noGrp="1"/>
          </p:cNvSpPr>
          <p:nvPr>
            <p:ph type="title"/>
          </p:nvPr>
        </p:nvSpPr>
        <p:spPr>
          <a:xfrm>
            <a:off x="838200" y="365125"/>
            <a:ext cx="10515600" cy="1325564"/>
          </a:xfrm>
          <a:prstGeom prst="rect">
            <a:avLst/>
          </a:prstGeom>
        </p:spPr>
        <p:txBody>
          <a:bodyPr lIns="45719" tIns="45719" rIns="45719" bIns="45719" anchor="ctr">
            <a:normAutofit/>
          </a:bodyPr>
          <a:lstStyle>
            <a:lvl1pPr defTabSz="914400">
              <a:lnSpc>
                <a:spcPct val="90000"/>
              </a:lnSpc>
              <a:defRPr sz="4400">
                <a:solidFill>
                  <a:srgbClr val="000000"/>
                </a:solidFill>
                <a:latin typeface="Helvetica"/>
                <a:ea typeface="Helvetica"/>
                <a:cs typeface="Helvetica"/>
                <a:sym typeface="Helvetica"/>
              </a:defRPr>
            </a:lvl1pPr>
          </a:lstStyle>
          <a:p>
            <a:r>
              <a:t>Texto del título</a:t>
            </a:r>
          </a:p>
        </p:txBody>
      </p:sp>
      <p:sp>
        <p:nvSpPr>
          <p:cNvPr id="935" name="Shape 935"/>
          <p:cNvSpPr>
            <a:spLocks noGrp="1"/>
          </p:cNvSpPr>
          <p:nvPr>
            <p:ph type="body" idx="1"/>
          </p:nvPr>
        </p:nvSpPr>
        <p:spPr>
          <a:xfrm>
            <a:off x="838200" y="1825625"/>
            <a:ext cx="10515600" cy="4351338"/>
          </a:xfrm>
          <a:prstGeom prst="rect">
            <a:avLst/>
          </a:prstGeom>
        </p:spPr>
        <p:txBody>
          <a:bodyPr lIns="45719" tIns="45719" rIns="45719" bIns="45719">
            <a:normAutofit/>
          </a:bodyPr>
          <a:lstStyle>
            <a:lvl1pPr marL="228600" indent="-228600" defTabSz="914400">
              <a:lnSpc>
                <a:spcPct val="90000"/>
              </a:lnSpc>
              <a:spcBef>
                <a:spcPts val="1000"/>
              </a:spcBef>
              <a:buSzPct val="100000"/>
              <a:buFont typeface="Arial"/>
              <a:buChar char="•"/>
              <a:defRPr sz="2800">
                <a:solidFill>
                  <a:srgbClr val="000000"/>
                </a:solidFill>
                <a:latin typeface="Helvetica"/>
                <a:ea typeface="Helvetica"/>
                <a:cs typeface="Helvetica"/>
                <a:sym typeface="Helvetica"/>
              </a:defRPr>
            </a:lvl1pPr>
            <a:lvl2pPr marL="723900" indent="-266700" defTabSz="914400">
              <a:lnSpc>
                <a:spcPct val="90000"/>
              </a:lnSpc>
              <a:spcBef>
                <a:spcPts val="1000"/>
              </a:spcBef>
              <a:buFont typeface="Arial"/>
              <a:defRPr sz="2800">
                <a:solidFill>
                  <a:srgbClr val="000000"/>
                </a:solidFill>
                <a:latin typeface="Helvetica"/>
                <a:ea typeface="Helvetica"/>
                <a:cs typeface="Helvetica"/>
                <a:sym typeface="Helvetica"/>
              </a:defRPr>
            </a:lvl2pPr>
            <a:lvl3pPr marL="1234439" indent="-320039" defTabSz="914400">
              <a:lnSpc>
                <a:spcPct val="90000"/>
              </a:lnSpc>
              <a:spcBef>
                <a:spcPts val="1000"/>
              </a:spcBef>
              <a:buFont typeface="Arial"/>
              <a:buChar char="•"/>
              <a:defRPr sz="2800">
                <a:solidFill>
                  <a:srgbClr val="000000"/>
                </a:solidFill>
                <a:latin typeface="Helvetica"/>
                <a:ea typeface="Helvetica"/>
                <a:cs typeface="Helvetica"/>
                <a:sym typeface="Helvetica"/>
              </a:defRPr>
            </a:lvl3pPr>
            <a:lvl4pPr marL="1727200" indent="-355600" defTabSz="914400">
              <a:lnSpc>
                <a:spcPct val="90000"/>
              </a:lnSpc>
              <a:spcBef>
                <a:spcPts val="1000"/>
              </a:spcBef>
              <a:buFont typeface="Arial"/>
              <a:defRPr sz="2800">
                <a:solidFill>
                  <a:srgbClr val="000000"/>
                </a:solidFill>
                <a:latin typeface="Helvetica"/>
                <a:ea typeface="Helvetica"/>
                <a:cs typeface="Helvetica"/>
                <a:sym typeface="Helvetica"/>
              </a:defRPr>
            </a:lvl4pPr>
            <a:lvl5pPr marL="2184400" indent="-355600" defTabSz="914400">
              <a:lnSpc>
                <a:spcPct val="90000"/>
              </a:lnSpc>
              <a:spcBef>
                <a:spcPts val="1000"/>
              </a:spcBef>
              <a:buFont typeface="Arial"/>
              <a:buChar char="•"/>
              <a:defRPr sz="2800">
                <a:solidFill>
                  <a:srgbClr val="000000"/>
                </a:solidFill>
                <a:latin typeface="Helvetica"/>
                <a:ea typeface="Helvetica"/>
                <a:cs typeface="Helvetica"/>
                <a:sym typeface="Helvetica"/>
              </a:defRPr>
            </a:lvl5pPr>
          </a:lstStyle>
          <a:p>
            <a:r>
              <a:t>Nivel de texto 1</a:t>
            </a:r>
          </a:p>
          <a:p>
            <a:pPr lvl="1"/>
            <a:r>
              <a:t>Nivel de texto 2</a:t>
            </a:r>
          </a:p>
          <a:p>
            <a:pPr lvl="2"/>
            <a:r>
              <a:t>Nivel de texto 3</a:t>
            </a:r>
          </a:p>
          <a:p>
            <a:pPr lvl="3"/>
            <a:r>
              <a:t>Nivel de texto 4</a:t>
            </a:r>
          </a:p>
          <a:p>
            <a:pPr lvl="4"/>
            <a:r>
              <a:t>Nivel de texto 5</a:t>
            </a:r>
          </a:p>
        </p:txBody>
      </p:sp>
      <p:sp>
        <p:nvSpPr>
          <p:cNvPr id="936" name="Shape 936"/>
          <p:cNvSpPr>
            <a:spLocks noGrp="1"/>
          </p:cNvSpPr>
          <p:nvPr>
            <p:ph type="sldNum" sz="quarter" idx="2"/>
          </p:nvPr>
        </p:nvSpPr>
        <p:spPr>
          <a:xfrm>
            <a:off x="10556240" y="5437188"/>
            <a:ext cx="1270001" cy="1270001"/>
          </a:xfrm>
          <a:prstGeom prst="rect">
            <a:avLst/>
          </a:prstGeom>
        </p:spPr>
        <p:txBody>
          <a:bodyPr/>
          <a:lstStyle>
            <a:lvl1pPr>
              <a:defRPr sz="800">
                <a:solidFill>
                  <a:srgbClr val="888888"/>
                </a:solidFill>
                <a:latin typeface="Helvetica"/>
                <a:ea typeface="Helvetica"/>
                <a:cs typeface="Helvetica"/>
                <a:sym typeface="Helvetica"/>
              </a:defRPr>
            </a:lvl1pPr>
          </a:lstStyle>
          <a:p>
            <a:fld id="{86CB4B4D-7CA3-9044-876B-883B54F8677D}" type="slidenum">
              <a:t>‹Nº›</a:t>
            </a:fld>
            <a:endParaRPr/>
          </a:p>
        </p:txBody>
      </p:sp>
    </p:spTree>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x">
  <p:cSld name="Vertical Title and Text">
    <p:bg>
      <p:bgPr>
        <a:solidFill>
          <a:srgbClr val="FFFFFF"/>
        </a:solidFill>
        <a:effectLst/>
      </p:bgPr>
    </p:bg>
    <p:spTree>
      <p:nvGrpSpPr>
        <p:cNvPr id="1" name=""/>
        <p:cNvGrpSpPr/>
        <p:nvPr/>
      </p:nvGrpSpPr>
      <p:grpSpPr>
        <a:xfrm>
          <a:off x="0" y="0"/>
          <a:ext cx="0" cy="0"/>
          <a:chOff x="0" y="0"/>
          <a:chExt cx="0" cy="0"/>
        </a:xfrm>
      </p:grpSpPr>
      <p:pic>
        <p:nvPicPr>
          <p:cNvPr id="943" name="image18.tif"/>
          <p:cNvPicPr>
            <a:picLocks noChangeAspect="1"/>
          </p:cNvPicPr>
          <p:nvPr/>
        </p:nvPicPr>
        <p:blipFill>
          <a:blip r:embed="rId2"/>
          <a:stretch>
            <a:fillRect/>
          </a:stretch>
        </p:blipFill>
        <p:spPr>
          <a:xfrm>
            <a:off x="338178" y="6613462"/>
            <a:ext cx="908605" cy="136589"/>
          </a:xfrm>
          <a:prstGeom prst="rect">
            <a:avLst/>
          </a:prstGeom>
          <a:ln w="12700">
            <a:miter lim="400000"/>
          </a:ln>
        </p:spPr>
      </p:pic>
      <p:sp>
        <p:nvSpPr>
          <p:cNvPr id="944" name="Shape 944"/>
          <p:cNvSpPr>
            <a:spLocks noGrp="1"/>
          </p:cNvSpPr>
          <p:nvPr>
            <p:ph type="title"/>
          </p:nvPr>
        </p:nvSpPr>
        <p:spPr>
          <a:xfrm>
            <a:off x="8724900" y="365125"/>
            <a:ext cx="2628900" cy="5811838"/>
          </a:xfrm>
          <a:prstGeom prst="rect">
            <a:avLst/>
          </a:prstGeom>
        </p:spPr>
        <p:txBody>
          <a:bodyPr lIns="45719" tIns="45719" rIns="45719" bIns="45719" anchor="ctr">
            <a:normAutofit/>
          </a:bodyPr>
          <a:lstStyle>
            <a:lvl1pPr defTabSz="914400">
              <a:lnSpc>
                <a:spcPct val="90000"/>
              </a:lnSpc>
              <a:defRPr sz="4400">
                <a:solidFill>
                  <a:srgbClr val="000000"/>
                </a:solidFill>
                <a:latin typeface="Helvetica"/>
                <a:ea typeface="Helvetica"/>
                <a:cs typeface="Helvetica"/>
                <a:sym typeface="Helvetica"/>
              </a:defRPr>
            </a:lvl1pPr>
          </a:lstStyle>
          <a:p>
            <a:r>
              <a:t>Texto del título</a:t>
            </a:r>
          </a:p>
        </p:txBody>
      </p:sp>
      <p:sp>
        <p:nvSpPr>
          <p:cNvPr id="945" name="Shape 945"/>
          <p:cNvSpPr>
            <a:spLocks noGrp="1"/>
          </p:cNvSpPr>
          <p:nvPr>
            <p:ph type="body" idx="1"/>
          </p:nvPr>
        </p:nvSpPr>
        <p:spPr>
          <a:xfrm>
            <a:off x="838200" y="365125"/>
            <a:ext cx="7734300" cy="5811838"/>
          </a:xfrm>
          <a:prstGeom prst="rect">
            <a:avLst/>
          </a:prstGeom>
        </p:spPr>
        <p:txBody>
          <a:bodyPr lIns="45719" tIns="45719" rIns="45719" bIns="45719">
            <a:normAutofit/>
          </a:bodyPr>
          <a:lstStyle>
            <a:lvl1pPr marL="228600" indent="-228600" defTabSz="914400">
              <a:lnSpc>
                <a:spcPct val="90000"/>
              </a:lnSpc>
              <a:spcBef>
                <a:spcPts val="1000"/>
              </a:spcBef>
              <a:buSzPct val="100000"/>
              <a:buFont typeface="Arial"/>
              <a:buChar char="•"/>
              <a:defRPr sz="2800">
                <a:solidFill>
                  <a:srgbClr val="000000"/>
                </a:solidFill>
                <a:latin typeface="Helvetica"/>
                <a:ea typeface="Helvetica"/>
                <a:cs typeface="Helvetica"/>
                <a:sym typeface="Helvetica"/>
              </a:defRPr>
            </a:lvl1pPr>
            <a:lvl2pPr marL="723900" indent="-266700" defTabSz="914400">
              <a:lnSpc>
                <a:spcPct val="90000"/>
              </a:lnSpc>
              <a:spcBef>
                <a:spcPts val="1000"/>
              </a:spcBef>
              <a:buFont typeface="Arial"/>
              <a:defRPr sz="2800">
                <a:solidFill>
                  <a:srgbClr val="000000"/>
                </a:solidFill>
                <a:latin typeface="Helvetica"/>
                <a:ea typeface="Helvetica"/>
                <a:cs typeface="Helvetica"/>
                <a:sym typeface="Helvetica"/>
              </a:defRPr>
            </a:lvl2pPr>
            <a:lvl3pPr marL="1234439" indent="-320039" defTabSz="914400">
              <a:lnSpc>
                <a:spcPct val="90000"/>
              </a:lnSpc>
              <a:spcBef>
                <a:spcPts val="1000"/>
              </a:spcBef>
              <a:buFont typeface="Arial"/>
              <a:buChar char="•"/>
              <a:defRPr sz="2800">
                <a:solidFill>
                  <a:srgbClr val="000000"/>
                </a:solidFill>
                <a:latin typeface="Helvetica"/>
                <a:ea typeface="Helvetica"/>
                <a:cs typeface="Helvetica"/>
                <a:sym typeface="Helvetica"/>
              </a:defRPr>
            </a:lvl3pPr>
            <a:lvl4pPr marL="1727200" indent="-355600" defTabSz="914400">
              <a:lnSpc>
                <a:spcPct val="90000"/>
              </a:lnSpc>
              <a:spcBef>
                <a:spcPts val="1000"/>
              </a:spcBef>
              <a:buFont typeface="Arial"/>
              <a:defRPr sz="2800">
                <a:solidFill>
                  <a:srgbClr val="000000"/>
                </a:solidFill>
                <a:latin typeface="Helvetica"/>
                <a:ea typeface="Helvetica"/>
                <a:cs typeface="Helvetica"/>
                <a:sym typeface="Helvetica"/>
              </a:defRPr>
            </a:lvl4pPr>
            <a:lvl5pPr marL="2184400" indent="-355600" defTabSz="914400">
              <a:lnSpc>
                <a:spcPct val="90000"/>
              </a:lnSpc>
              <a:spcBef>
                <a:spcPts val="1000"/>
              </a:spcBef>
              <a:buFont typeface="Arial"/>
              <a:buChar char="•"/>
              <a:defRPr sz="2800">
                <a:solidFill>
                  <a:srgbClr val="000000"/>
                </a:solidFill>
                <a:latin typeface="Helvetica"/>
                <a:ea typeface="Helvetica"/>
                <a:cs typeface="Helvetica"/>
                <a:sym typeface="Helvetica"/>
              </a:defRPr>
            </a:lvl5pPr>
          </a:lstStyle>
          <a:p>
            <a:r>
              <a:t>Nivel de texto 1</a:t>
            </a:r>
          </a:p>
          <a:p>
            <a:pPr lvl="1"/>
            <a:r>
              <a:t>Nivel de texto 2</a:t>
            </a:r>
          </a:p>
          <a:p>
            <a:pPr lvl="2"/>
            <a:r>
              <a:t>Nivel de texto 3</a:t>
            </a:r>
          </a:p>
          <a:p>
            <a:pPr lvl="3"/>
            <a:r>
              <a:t>Nivel de texto 4</a:t>
            </a:r>
          </a:p>
          <a:p>
            <a:pPr lvl="4"/>
            <a:r>
              <a:t>Nivel de texto 5</a:t>
            </a:r>
          </a:p>
        </p:txBody>
      </p:sp>
      <p:sp>
        <p:nvSpPr>
          <p:cNvPr id="946" name="Shape 946"/>
          <p:cNvSpPr>
            <a:spLocks noGrp="1"/>
          </p:cNvSpPr>
          <p:nvPr>
            <p:ph type="sldNum" sz="quarter" idx="2"/>
          </p:nvPr>
        </p:nvSpPr>
        <p:spPr>
          <a:xfrm>
            <a:off x="10556240" y="5437188"/>
            <a:ext cx="1270001" cy="1270001"/>
          </a:xfrm>
          <a:prstGeom prst="rect">
            <a:avLst/>
          </a:prstGeom>
        </p:spPr>
        <p:txBody>
          <a:bodyPr/>
          <a:lstStyle>
            <a:lvl1pPr>
              <a:defRPr sz="800">
                <a:solidFill>
                  <a:srgbClr val="888888"/>
                </a:solidFill>
                <a:latin typeface="Helvetica"/>
                <a:ea typeface="Helvetica"/>
                <a:cs typeface="Helvetica"/>
                <a:sym typeface="Helvetica"/>
              </a:defRPr>
            </a:lvl1pPr>
          </a:lstStyle>
          <a:p>
            <a:fld id="{86CB4B4D-7CA3-9044-876B-883B54F8677D}" type="slidenum">
              <a:t>‹Nº›</a:t>
            </a:fld>
            <a:endParaRPr/>
          </a:p>
        </p:txBody>
      </p:sp>
    </p:spTree>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x">
  <p:cSld name="Default Footer">
    <p:bg>
      <p:bgPr>
        <a:solidFill>
          <a:srgbClr val="FFFFFF"/>
        </a:solidFill>
        <a:effectLst/>
      </p:bgPr>
    </p:bg>
    <p:spTree>
      <p:nvGrpSpPr>
        <p:cNvPr id="1" name=""/>
        <p:cNvGrpSpPr/>
        <p:nvPr/>
      </p:nvGrpSpPr>
      <p:grpSpPr>
        <a:xfrm>
          <a:off x="0" y="0"/>
          <a:ext cx="0" cy="0"/>
          <a:chOff x="0" y="0"/>
          <a:chExt cx="0" cy="0"/>
        </a:xfrm>
      </p:grpSpPr>
      <p:pic>
        <p:nvPicPr>
          <p:cNvPr id="953" name="image18.tif"/>
          <p:cNvPicPr>
            <a:picLocks noChangeAspect="1"/>
          </p:cNvPicPr>
          <p:nvPr/>
        </p:nvPicPr>
        <p:blipFill>
          <a:blip r:embed="rId2"/>
          <a:stretch>
            <a:fillRect/>
          </a:stretch>
        </p:blipFill>
        <p:spPr>
          <a:xfrm>
            <a:off x="338178" y="6613462"/>
            <a:ext cx="908605" cy="136589"/>
          </a:xfrm>
          <a:prstGeom prst="rect">
            <a:avLst/>
          </a:prstGeom>
          <a:ln w="12700">
            <a:miter lim="400000"/>
          </a:ln>
        </p:spPr>
      </p:pic>
      <p:sp>
        <p:nvSpPr>
          <p:cNvPr id="954" name="Shape 954"/>
          <p:cNvSpPr/>
          <p:nvPr/>
        </p:nvSpPr>
        <p:spPr>
          <a:xfrm>
            <a:off x="0" y="6791325"/>
            <a:ext cx="12192000" cy="66675"/>
          </a:xfrm>
          <a:prstGeom prst="rect">
            <a:avLst/>
          </a:prstGeom>
          <a:solidFill>
            <a:srgbClr val="384C5B"/>
          </a:solidFill>
          <a:ln w="12700">
            <a:miter lim="400000"/>
          </a:ln>
        </p:spPr>
        <p:txBody>
          <a:bodyPr lIns="0" tIns="0" rIns="0" bIns="0" anchor="ctr"/>
          <a:lstStyle/>
          <a:p>
            <a:pPr algn="ctr">
              <a:defRPr sz="900">
                <a:solidFill>
                  <a:srgbClr val="FFFFFF"/>
                </a:solidFill>
                <a:latin typeface="Calibri"/>
                <a:ea typeface="Calibri"/>
                <a:cs typeface="Calibri"/>
                <a:sym typeface="Calibri"/>
              </a:defRPr>
            </a:pPr>
            <a:endParaRPr/>
          </a:p>
        </p:txBody>
      </p:sp>
      <p:sp>
        <p:nvSpPr>
          <p:cNvPr id="955" name="Shape 955"/>
          <p:cNvSpPr>
            <a:spLocks noGrp="1"/>
          </p:cNvSpPr>
          <p:nvPr>
            <p:ph type="sldNum" sz="quarter" idx="2"/>
          </p:nvPr>
        </p:nvSpPr>
        <p:spPr>
          <a:prstGeom prst="rect">
            <a:avLst/>
          </a:prstGeom>
        </p:spPr>
        <p:txBody>
          <a:bodyPr/>
          <a:lstStyle/>
          <a:p>
            <a:fld id="{86CB4B4D-7CA3-9044-876B-883B54F8677D}" type="slidenum">
              <a:t>‹Nº›</a:t>
            </a:fld>
            <a:endParaRPr/>
          </a:p>
        </p:txBody>
      </p:sp>
    </p:spTree>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type="tx">
  <p:cSld name="Contenido">
    <p:spTree>
      <p:nvGrpSpPr>
        <p:cNvPr id="1" name=""/>
        <p:cNvGrpSpPr/>
        <p:nvPr/>
      </p:nvGrpSpPr>
      <p:grpSpPr>
        <a:xfrm>
          <a:off x="0" y="0"/>
          <a:ext cx="0" cy="0"/>
          <a:chOff x="0" y="0"/>
          <a:chExt cx="0" cy="0"/>
        </a:xfrm>
      </p:grpSpPr>
      <p:sp>
        <p:nvSpPr>
          <p:cNvPr id="12" name="Shape 12"/>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1598606496"/>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x">
  <p:cSld name="Título y objetos">
    <p:bg>
      <p:bgPr>
        <a:solidFill>
          <a:srgbClr val="FFFFFF"/>
        </a:solidFill>
        <a:effectLst/>
      </p:bgPr>
    </p:bg>
    <p:spTree>
      <p:nvGrpSpPr>
        <p:cNvPr id="1" name=""/>
        <p:cNvGrpSpPr/>
        <p:nvPr/>
      </p:nvGrpSpPr>
      <p:grpSpPr>
        <a:xfrm>
          <a:off x="0" y="0"/>
          <a:ext cx="0" cy="0"/>
          <a:chOff x="0" y="0"/>
          <a:chExt cx="0" cy="0"/>
        </a:xfrm>
      </p:grpSpPr>
      <p:pic>
        <p:nvPicPr>
          <p:cNvPr id="19"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20" name="Shape 20"/>
          <p:cNvSpPr>
            <a:spLocks noGrp="1"/>
          </p:cNvSpPr>
          <p:nvPr>
            <p:ph type="body" sz="quarter" idx="13"/>
          </p:nvPr>
        </p:nvSpPr>
        <p:spPr>
          <a:xfrm>
            <a:off x="485775" y="806807"/>
            <a:ext cx="11223626" cy="318477"/>
          </a:xfrm>
          <a:prstGeom prst="rect">
            <a:avLst/>
          </a:prstGeom>
        </p:spPr>
        <p:txBody>
          <a:bodyPr/>
          <a:lstStyle>
            <a:lvl1pPr>
              <a:defRPr b="1">
                <a:solidFill>
                  <a:srgbClr val="002C77"/>
                </a:solidFill>
              </a:defRPr>
            </a:lvl1pPr>
          </a:lstStyle>
          <a:p>
            <a:r>
              <a:t> </a:t>
            </a:r>
          </a:p>
        </p:txBody>
      </p:sp>
      <p:sp>
        <p:nvSpPr>
          <p:cNvPr id="21" name="Shape 21"/>
          <p:cNvSpPr>
            <a:spLocks noGrp="1"/>
          </p:cNvSpPr>
          <p:nvPr>
            <p:ph type="title"/>
          </p:nvPr>
        </p:nvSpPr>
        <p:spPr>
          <a:xfrm>
            <a:off x="457200" y="355600"/>
            <a:ext cx="11252200" cy="495300"/>
          </a:xfrm>
          <a:prstGeom prst="rect">
            <a:avLst/>
          </a:prstGeom>
        </p:spPr>
        <p:txBody>
          <a:bodyPr>
            <a:normAutofit/>
          </a:bodyPr>
          <a:lstStyle/>
          <a:p>
            <a:r>
              <a:t>Texto del título</a:t>
            </a:r>
          </a:p>
        </p:txBody>
      </p:sp>
      <p:sp>
        <p:nvSpPr>
          <p:cNvPr id="22" name="Shape 22"/>
          <p:cNvSpPr>
            <a:spLocks noGrp="1"/>
          </p:cNvSpPr>
          <p:nvPr>
            <p:ph type="body" sz="quarter" idx="1"/>
          </p:nvPr>
        </p:nvSpPr>
        <p:spPr>
          <a:xfrm>
            <a:off x="6210301" y="6388100"/>
            <a:ext cx="4546601" cy="247650"/>
          </a:xfrm>
          <a:prstGeom prst="rect">
            <a:avLst/>
          </a:prstGeom>
        </p:spPr>
        <p:txBody>
          <a:bodyPr anchor="b">
            <a:normAutofit/>
          </a:bodyPr>
          <a:lstStyle>
            <a:lvl1pPr algn="r">
              <a:spcBef>
                <a:spcPts val="0"/>
              </a:spcBef>
              <a:defRPr sz="800"/>
            </a:lvl1pPr>
            <a:lvl2pPr marL="0" indent="457200" algn="r">
              <a:spcBef>
                <a:spcPts val="0"/>
              </a:spcBef>
              <a:buSzTx/>
              <a:buNone/>
              <a:defRPr sz="800"/>
            </a:lvl2pPr>
            <a:lvl3pPr marL="0" indent="914400" algn="r">
              <a:spcBef>
                <a:spcPts val="0"/>
              </a:spcBef>
              <a:buSzTx/>
              <a:buNone/>
              <a:defRPr sz="800"/>
            </a:lvl3pPr>
            <a:lvl4pPr marL="0" indent="1371600" algn="r">
              <a:spcBef>
                <a:spcPts val="0"/>
              </a:spcBef>
              <a:buSzTx/>
              <a:buNone/>
              <a:defRPr sz="800"/>
            </a:lvl4pPr>
            <a:lvl5pPr marL="0" indent="1828800" algn="r">
              <a:spcBef>
                <a:spcPts val="0"/>
              </a:spcBef>
              <a:buSzTx/>
              <a:buNone/>
              <a:defRPr sz="800"/>
            </a:lvl5pPr>
          </a:lstStyle>
          <a:p>
            <a:r>
              <a:t>Nivel de texto 1</a:t>
            </a:r>
          </a:p>
          <a:p>
            <a:pPr lvl="1"/>
            <a:r>
              <a:t>Nivel de texto 2</a:t>
            </a:r>
          </a:p>
          <a:p>
            <a:pPr lvl="2"/>
            <a:r>
              <a:t>Nivel de texto 3</a:t>
            </a:r>
          </a:p>
          <a:p>
            <a:pPr lvl="3"/>
            <a:r>
              <a:t>Nivel de texto 4</a:t>
            </a:r>
          </a:p>
          <a:p>
            <a:pPr lvl="4"/>
            <a:r>
              <a:t>Nivel de texto 5</a:t>
            </a:r>
          </a:p>
        </p:txBody>
      </p:sp>
      <p:sp>
        <p:nvSpPr>
          <p:cNvPr id="23" name="Shape 23"/>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extLst>
      <p:ext uri="{BB962C8B-B14F-4D97-AF65-F5344CB8AC3E}">
        <p14:creationId xmlns:p14="http://schemas.microsoft.com/office/powerpoint/2010/main" val="3255374442"/>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x">
  <p:cSld name="Four content">
    <p:bg>
      <p:bgPr>
        <a:solidFill>
          <a:srgbClr val="FFFFFF"/>
        </a:solidFill>
        <a:effectLst/>
      </p:bgPr>
    </p:bg>
    <p:spTree>
      <p:nvGrpSpPr>
        <p:cNvPr id="1" name=""/>
        <p:cNvGrpSpPr/>
        <p:nvPr/>
      </p:nvGrpSpPr>
      <p:grpSpPr>
        <a:xfrm>
          <a:off x="0" y="0"/>
          <a:ext cx="0" cy="0"/>
          <a:chOff x="0" y="0"/>
          <a:chExt cx="0" cy="0"/>
        </a:xfrm>
      </p:grpSpPr>
      <p:pic>
        <p:nvPicPr>
          <p:cNvPr id="76"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77" name="Shape 77"/>
          <p:cNvSpPr>
            <a:spLocks noGrp="1"/>
          </p:cNvSpPr>
          <p:nvPr>
            <p:ph type="body" sz="quarter" idx="13"/>
          </p:nvPr>
        </p:nvSpPr>
        <p:spPr>
          <a:xfrm>
            <a:off x="6210301" y="6388100"/>
            <a:ext cx="4546599" cy="247650"/>
          </a:xfrm>
          <a:prstGeom prst="rect">
            <a:avLst/>
          </a:prstGeom>
        </p:spPr>
        <p:txBody>
          <a:bodyPr anchor="b"/>
          <a:lstStyle>
            <a:lvl1pPr algn="r">
              <a:spcBef>
                <a:spcPts val="0"/>
              </a:spcBef>
              <a:defRPr sz="800"/>
            </a:lvl1pPr>
          </a:lstStyle>
          <a:p>
            <a:r>
              <a:t> </a:t>
            </a:r>
          </a:p>
        </p:txBody>
      </p:sp>
      <p:sp>
        <p:nvSpPr>
          <p:cNvPr id="78" name="Shape 78"/>
          <p:cNvSpPr>
            <a:spLocks noGrp="1"/>
          </p:cNvSpPr>
          <p:nvPr>
            <p:ph type="body" sz="quarter" idx="14"/>
          </p:nvPr>
        </p:nvSpPr>
        <p:spPr>
          <a:xfrm>
            <a:off x="485775" y="806807"/>
            <a:ext cx="11223626" cy="318477"/>
          </a:xfrm>
          <a:prstGeom prst="rect">
            <a:avLst/>
          </a:prstGeom>
        </p:spPr>
        <p:txBody>
          <a:bodyPr/>
          <a:lstStyle>
            <a:lvl1pPr>
              <a:defRPr b="1">
                <a:solidFill>
                  <a:srgbClr val="002C77"/>
                </a:solidFill>
              </a:defRPr>
            </a:lvl1pPr>
          </a:lstStyle>
          <a:p>
            <a:r>
              <a:t> </a:t>
            </a:r>
          </a:p>
        </p:txBody>
      </p:sp>
      <p:sp>
        <p:nvSpPr>
          <p:cNvPr id="79" name="Shape 79"/>
          <p:cNvSpPr>
            <a:spLocks noGrp="1"/>
          </p:cNvSpPr>
          <p:nvPr>
            <p:ph type="title"/>
          </p:nvPr>
        </p:nvSpPr>
        <p:spPr>
          <a:xfrm>
            <a:off x="457200" y="355600"/>
            <a:ext cx="11252200" cy="495300"/>
          </a:xfrm>
          <a:prstGeom prst="rect">
            <a:avLst/>
          </a:prstGeom>
        </p:spPr>
        <p:txBody>
          <a:bodyPr>
            <a:normAutofit/>
          </a:bodyPr>
          <a:lstStyle/>
          <a:p>
            <a:r>
              <a:t>Texto del título</a:t>
            </a:r>
          </a:p>
        </p:txBody>
      </p:sp>
      <p:sp>
        <p:nvSpPr>
          <p:cNvPr id="80" name="Shape 80"/>
          <p:cNvSpPr>
            <a:spLocks noGrp="1"/>
          </p:cNvSpPr>
          <p:nvPr>
            <p:ph type="body" sz="quarter" idx="1"/>
          </p:nvPr>
        </p:nvSpPr>
        <p:spPr>
          <a:xfrm>
            <a:off x="485776" y="1616075"/>
            <a:ext cx="2626456" cy="4513518"/>
          </a:xfrm>
          <a:prstGeom prst="rect">
            <a:avLst/>
          </a:prstGeom>
        </p:spPr>
        <p:txBody>
          <a:bodyPr>
            <a:normAutofit/>
          </a:bodyPr>
          <a:lstStyle>
            <a:lvl1pPr>
              <a:defRPr sz="1500"/>
            </a:lvl1pPr>
            <a:lvl2pPr marL="284956" indent="-281781">
              <a:defRPr sz="1500"/>
            </a:lvl2pPr>
            <a:lvl3pPr marL="514350" indent="-285750">
              <a:defRPr sz="1500"/>
            </a:lvl3pPr>
            <a:lvl4pPr marL="742950" indent="-285750">
              <a:defRPr sz="1500"/>
            </a:lvl4pPr>
            <a:lvl5pPr marL="971550" indent="-285750">
              <a:defRPr sz="1500"/>
            </a:lvl5pPr>
          </a:lstStyle>
          <a:p>
            <a:r>
              <a:t>Nivel de texto 1</a:t>
            </a:r>
          </a:p>
          <a:p>
            <a:pPr lvl="1"/>
            <a:r>
              <a:t>Nivel de texto 2</a:t>
            </a:r>
          </a:p>
          <a:p>
            <a:pPr lvl="2"/>
            <a:r>
              <a:t>Nivel de texto 3</a:t>
            </a:r>
          </a:p>
          <a:p>
            <a:pPr lvl="3"/>
            <a:r>
              <a:t>Nivel de texto 4</a:t>
            </a:r>
          </a:p>
          <a:p>
            <a:pPr lvl="4"/>
            <a:r>
              <a:t>Nivel de texto 5</a:t>
            </a:r>
          </a:p>
        </p:txBody>
      </p:sp>
      <p:sp>
        <p:nvSpPr>
          <p:cNvPr id="81" name="Shape 81"/>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x">
  <p:cSld name="Title left">
    <p:bg>
      <p:bgPr>
        <a:solidFill>
          <a:srgbClr val="FFFFFF"/>
        </a:solidFill>
        <a:effectLst/>
      </p:bgPr>
    </p:bg>
    <p:spTree>
      <p:nvGrpSpPr>
        <p:cNvPr id="1" name=""/>
        <p:cNvGrpSpPr/>
        <p:nvPr/>
      </p:nvGrpSpPr>
      <p:grpSpPr>
        <a:xfrm>
          <a:off x="0" y="0"/>
          <a:ext cx="0" cy="0"/>
          <a:chOff x="0" y="0"/>
          <a:chExt cx="0" cy="0"/>
        </a:xfrm>
      </p:grpSpPr>
      <p:pic>
        <p:nvPicPr>
          <p:cNvPr id="30"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31" name="Shape 31"/>
          <p:cNvSpPr>
            <a:spLocks noGrp="1"/>
          </p:cNvSpPr>
          <p:nvPr>
            <p:ph type="body" sz="quarter" idx="13"/>
          </p:nvPr>
        </p:nvSpPr>
        <p:spPr>
          <a:xfrm>
            <a:off x="6210301" y="6388100"/>
            <a:ext cx="4546601" cy="247650"/>
          </a:xfrm>
          <a:prstGeom prst="rect">
            <a:avLst/>
          </a:prstGeom>
        </p:spPr>
        <p:txBody>
          <a:bodyPr anchor="b"/>
          <a:lstStyle>
            <a:lvl1pPr algn="r">
              <a:spcBef>
                <a:spcPts val="0"/>
              </a:spcBef>
              <a:defRPr sz="800"/>
            </a:lvl1pPr>
          </a:lstStyle>
          <a:p>
            <a:r>
              <a:t> </a:t>
            </a:r>
          </a:p>
        </p:txBody>
      </p:sp>
      <p:sp>
        <p:nvSpPr>
          <p:cNvPr id="32" name="Shape 32"/>
          <p:cNvSpPr>
            <a:spLocks noGrp="1"/>
          </p:cNvSpPr>
          <p:nvPr>
            <p:ph type="title"/>
          </p:nvPr>
        </p:nvSpPr>
        <p:spPr>
          <a:xfrm>
            <a:off x="458720" y="356540"/>
            <a:ext cx="3605281" cy="5770272"/>
          </a:xfrm>
          <a:prstGeom prst="rect">
            <a:avLst/>
          </a:prstGeom>
        </p:spPr>
        <p:txBody>
          <a:bodyPr>
            <a:normAutofit/>
          </a:bodyPr>
          <a:lstStyle/>
          <a:p>
            <a:r>
              <a:t>Texto del título</a:t>
            </a:r>
          </a:p>
        </p:txBody>
      </p:sp>
      <p:sp>
        <p:nvSpPr>
          <p:cNvPr id="33" name="Shape 33"/>
          <p:cNvSpPr>
            <a:spLocks noGrp="1"/>
          </p:cNvSpPr>
          <p:nvPr>
            <p:ph type="body" idx="1"/>
          </p:nvPr>
        </p:nvSpPr>
        <p:spPr>
          <a:xfrm>
            <a:off x="4305300" y="361950"/>
            <a:ext cx="7400923" cy="5756275"/>
          </a:xfrm>
          <a:prstGeom prst="rect">
            <a:avLst/>
          </a:prstGeom>
        </p:spPr>
        <p:txBody>
          <a:bodyPr>
            <a:normAutofit/>
          </a:bodyPr>
          <a:lstStyle/>
          <a:p>
            <a:r>
              <a:t>Nivel de texto 1</a:t>
            </a:r>
          </a:p>
          <a:p>
            <a:pPr lvl="1"/>
            <a:r>
              <a:t>Nivel de texto 2</a:t>
            </a:r>
          </a:p>
          <a:p>
            <a:pPr lvl="2"/>
            <a:r>
              <a:t>Nivel de texto 3</a:t>
            </a:r>
          </a:p>
          <a:p>
            <a:pPr lvl="3"/>
            <a:r>
              <a:t>Nivel de texto 4</a:t>
            </a:r>
          </a:p>
          <a:p>
            <a:pPr lvl="4"/>
            <a:r>
              <a:t>Nivel de texto 5</a:t>
            </a:r>
          </a:p>
        </p:txBody>
      </p:sp>
      <p:sp>
        <p:nvSpPr>
          <p:cNvPr id="34" name="Shape 34"/>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extLst>
      <p:ext uri="{BB962C8B-B14F-4D97-AF65-F5344CB8AC3E}">
        <p14:creationId xmlns:p14="http://schemas.microsoft.com/office/powerpoint/2010/main" val="2125974599"/>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x">
  <p:cSld name="Title + content left">
    <p:bg>
      <p:bgPr>
        <a:solidFill>
          <a:srgbClr val="FFFFFF"/>
        </a:solidFill>
        <a:effectLst/>
      </p:bgPr>
    </p:bg>
    <p:spTree>
      <p:nvGrpSpPr>
        <p:cNvPr id="1" name=""/>
        <p:cNvGrpSpPr/>
        <p:nvPr/>
      </p:nvGrpSpPr>
      <p:grpSpPr>
        <a:xfrm>
          <a:off x="0" y="0"/>
          <a:ext cx="0" cy="0"/>
          <a:chOff x="0" y="0"/>
          <a:chExt cx="0" cy="0"/>
        </a:xfrm>
      </p:grpSpPr>
      <p:pic>
        <p:nvPicPr>
          <p:cNvPr id="41"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42" name="Shape 42"/>
          <p:cNvSpPr>
            <a:spLocks noGrp="1"/>
          </p:cNvSpPr>
          <p:nvPr>
            <p:ph type="body" sz="quarter" idx="13"/>
          </p:nvPr>
        </p:nvSpPr>
        <p:spPr>
          <a:xfrm>
            <a:off x="6210301" y="6388100"/>
            <a:ext cx="4546601" cy="247650"/>
          </a:xfrm>
          <a:prstGeom prst="rect">
            <a:avLst/>
          </a:prstGeom>
        </p:spPr>
        <p:txBody>
          <a:bodyPr anchor="b"/>
          <a:lstStyle>
            <a:lvl1pPr algn="r">
              <a:spcBef>
                <a:spcPts val="0"/>
              </a:spcBef>
              <a:defRPr sz="800"/>
            </a:lvl1pPr>
          </a:lstStyle>
          <a:p>
            <a:r>
              <a:t> </a:t>
            </a:r>
          </a:p>
        </p:txBody>
      </p:sp>
      <p:sp>
        <p:nvSpPr>
          <p:cNvPr id="43" name="Shape 43"/>
          <p:cNvSpPr>
            <a:spLocks noGrp="1"/>
          </p:cNvSpPr>
          <p:nvPr>
            <p:ph type="title"/>
          </p:nvPr>
        </p:nvSpPr>
        <p:spPr>
          <a:xfrm>
            <a:off x="458720" y="356540"/>
            <a:ext cx="3605281" cy="839214"/>
          </a:xfrm>
          <a:prstGeom prst="rect">
            <a:avLst/>
          </a:prstGeom>
        </p:spPr>
        <p:txBody>
          <a:bodyPr>
            <a:normAutofit/>
          </a:bodyPr>
          <a:lstStyle/>
          <a:p>
            <a:r>
              <a:t>Texto del título</a:t>
            </a:r>
          </a:p>
        </p:txBody>
      </p:sp>
      <p:sp>
        <p:nvSpPr>
          <p:cNvPr id="44" name="Shape 44"/>
          <p:cNvSpPr>
            <a:spLocks noGrp="1"/>
          </p:cNvSpPr>
          <p:nvPr>
            <p:ph type="body" sz="quarter" idx="1"/>
          </p:nvPr>
        </p:nvSpPr>
        <p:spPr>
          <a:xfrm>
            <a:off x="485776" y="1616075"/>
            <a:ext cx="3578224" cy="4502150"/>
          </a:xfrm>
          <a:prstGeom prst="rect">
            <a:avLst/>
          </a:prstGeom>
        </p:spPr>
        <p:txBody>
          <a:bodyPr>
            <a:normAutofit/>
          </a:bodyPr>
          <a:lstStyle/>
          <a:p>
            <a:r>
              <a:t>Nivel de texto 1</a:t>
            </a:r>
          </a:p>
          <a:p>
            <a:pPr lvl="1"/>
            <a:r>
              <a:t>Nivel de texto 2</a:t>
            </a:r>
          </a:p>
          <a:p>
            <a:pPr lvl="2"/>
            <a:r>
              <a:t>Nivel de texto 3</a:t>
            </a:r>
          </a:p>
          <a:p>
            <a:pPr lvl="3"/>
            <a:r>
              <a:t>Nivel de texto 4</a:t>
            </a:r>
          </a:p>
          <a:p>
            <a:pPr lvl="4"/>
            <a:r>
              <a:t>Nivel de texto 5</a:t>
            </a:r>
          </a:p>
        </p:txBody>
      </p:sp>
      <p:sp>
        <p:nvSpPr>
          <p:cNvPr id="45" name="Shape 45"/>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extLst>
      <p:ext uri="{BB962C8B-B14F-4D97-AF65-F5344CB8AC3E}">
        <p14:creationId xmlns:p14="http://schemas.microsoft.com/office/powerpoint/2010/main" val="2717214815"/>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x">
  <p:cSld name="Dos objetos">
    <p:bg>
      <p:bgPr>
        <a:solidFill>
          <a:srgbClr val="FFFFFF"/>
        </a:solidFill>
        <a:effectLst/>
      </p:bgPr>
    </p:bg>
    <p:spTree>
      <p:nvGrpSpPr>
        <p:cNvPr id="1" name=""/>
        <p:cNvGrpSpPr/>
        <p:nvPr/>
      </p:nvGrpSpPr>
      <p:grpSpPr>
        <a:xfrm>
          <a:off x="0" y="0"/>
          <a:ext cx="0" cy="0"/>
          <a:chOff x="0" y="0"/>
          <a:chExt cx="0" cy="0"/>
        </a:xfrm>
      </p:grpSpPr>
      <p:pic>
        <p:nvPicPr>
          <p:cNvPr id="52"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53" name="Shape 53"/>
          <p:cNvSpPr>
            <a:spLocks noGrp="1"/>
          </p:cNvSpPr>
          <p:nvPr>
            <p:ph type="body" sz="quarter" idx="13"/>
          </p:nvPr>
        </p:nvSpPr>
        <p:spPr>
          <a:xfrm>
            <a:off x="6210303" y="6388100"/>
            <a:ext cx="4546597" cy="247650"/>
          </a:xfrm>
          <a:prstGeom prst="rect">
            <a:avLst/>
          </a:prstGeom>
        </p:spPr>
        <p:txBody>
          <a:bodyPr anchor="b"/>
          <a:lstStyle>
            <a:lvl1pPr algn="r">
              <a:spcBef>
                <a:spcPts val="0"/>
              </a:spcBef>
              <a:defRPr sz="800"/>
            </a:lvl1pPr>
          </a:lstStyle>
          <a:p>
            <a:r>
              <a:t> </a:t>
            </a:r>
          </a:p>
        </p:txBody>
      </p:sp>
      <p:sp>
        <p:nvSpPr>
          <p:cNvPr id="54" name="Shape 54"/>
          <p:cNvSpPr>
            <a:spLocks noGrp="1"/>
          </p:cNvSpPr>
          <p:nvPr>
            <p:ph type="body" sz="quarter" idx="14"/>
          </p:nvPr>
        </p:nvSpPr>
        <p:spPr>
          <a:xfrm>
            <a:off x="485775" y="806807"/>
            <a:ext cx="11223626" cy="318477"/>
          </a:xfrm>
          <a:prstGeom prst="rect">
            <a:avLst/>
          </a:prstGeom>
        </p:spPr>
        <p:txBody>
          <a:bodyPr/>
          <a:lstStyle>
            <a:lvl1pPr>
              <a:defRPr b="1">
                <a:solidFill>
                  <a:srgbClr val="002C77"/>
                </a:solidFill>
              </a:defRPr>
            </a:lvl1pPr>
          </a:lstStyle>
          <a:p>
            <a:r>
              <a:t> </a:t>
            </a:r>
          </a:p>
        </p:txBody>
      </p:sp>
      <p:sp>
        <p:nvSpPr>
          <p:cNvPr id="55" name="Shape 55"/>
          <p:cNvSpPr>
            <a:spLocks noGrp="1"/>
          </p:cNvSpPr>
          <p:nvPr>
            <p:ph type="title"/>
          </p:nvPr>
        </p:nvSpPr>
        <p:spPr>
          <a:xfrm>
            <a:off x="457200" y="355600"/>
            <a:ext cx="11252200" cy="495300"/>
          </a:xfrm>
          <a:prstGeom prst="rect">
            <a:avLst/>
          </a:prstGeom>
        </p:spPr>
        <p:txBody>
          <a:bodyPr>
            <a:normAutofit/>
          </a:bodyPr>
          <a:lstStyle/>
          <a:p>
            <a:r>
              <a:t>Texto del título</a:t>
            </a:r>
          </a:p>
        </p:txBody>
      </p:sp>
      <p:sp>
        <p:nvSpPr>
          <p:cNvPr id="56" name="Shape 56"/>
          <p:cNvSpPr>
            <a:spLocks noGrp="1"/>
          </p:cNvSpPr>
          <p:nvPr>
            <p:ph type="body" sz="half" idx="1"/>
          </p:nvPr>
        </p:nvSpPr>
        <p:spPr>
          <a:xfrm>
            <a:off x="485775" y="1609725"/>
            <a:ext cx="5495925" cy="4511675"/>
          </a:xfrm>
          <a:prstGeom prst="rect">
            <a:avLst/>
          </a:prstGeom>
        </p:spPr>
        <p:txBody>
          <a:bodyPr>
            <a:normAutofit/>
          </a:bodyPr>
          <a:lstStyle/>
          <a:p>
            <a:r>
              <a:t>Nivel de texto 1</a:t>
            </a:r>
          </a:p>
          <a:p>
            <a:pPr lvl="1"/>
            <a:r>
              <a:t>Nivel de texto 2</a:t>
            </a:r>
          </a:p>
          <a:p>
            <a:pPr lvl="2"/>
            <a:r>
              <a:t>Nivel de texto 3</a:t>
            </a:r>
          </a:p>
          <a:p>
            <a:pPr lvl="3"/>
            <a:r>
              <a:t>Nivel de texto 4</a:t>
            </a:r>
          </a:p>
          <a:p>
            <a:pPr lvl="4"/>
            <a:r>
              <a:t>Nivel de texto 5</a:t>
            </a:r>
          </a:p>
        </p:txBody>
      </p:sp>
      <p:sp>
        <p:nvSpPr>
          <p:cNvPr id="57" name="Shape 57"/>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extLst>
      <p:ext uri="{BB962C8B-B14F-4D97-AF65-F5344CB8AC3E}">
        <p14:creationId xmlns:p14="http://schemas.microsoft.com/office/powerpoint/2010/main" val="539823527"/>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x">
  <p:cSld name="Three content">
    <p:bg>
      <p:bgPr>
        <a:solidFill>
          <a:srgbClr val="FFFFFF"/>
        </a:solidFill>
        <a:effectLst/>
      </p:bgPr>
    </p:bg>
    <p:spTree>
      <p:nvGrpSpPr>
        <p:cNvPr id="1" name=""/>
        <p:cNvGrpSpPr/>
        <p:nvPr/>
      </p:nvGrpSpPr>
      <p:grpSpPr>
        <a:xfrm>
          <a:off x="0" y="0"/>
          <a:ext cx="0" cy="0"/>
          <a:chOff x="0" y="0"/>
          <a:chExt cx="0" cy="0"/>
        </a:xfrm>
      </p:grpSpPr>
      <p:pic>
        <p:nvPicPr>
          <p:cNvPr id="64"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65" name="Shape 65"/>
          <p:cNvSpPr>
            <a:spLocks noGrp="1"/>
          </p:cNvSpPr>
          <p:nvPr>
            <p:ph type="body" sz="quarter" idx="13"/>
          </p:nvPr>
        </p:nvSpPr>
        <p:spPr>
          <a:xfrm>
            <a:off x="6210301" y="6388100"/>
            <a:ext cx="4546601" cy="247650"/>
          </a:xfrm>
          <a:prstGeom prst="rect">
            <a:avLst/>
          </a:prstGeom>
        </p:spPr>
        <p:txBody>
          <a:bodyPr anchor="b"/>
          <a:lstStyle>
            <a:lvl1pPr algn="r">
              <a:spcBef>
                <a:spcPts val="0"/>
              </a:spcBef>
              <a:defRPr sz="800"/>
            </a:lvl1pPr>
          </a:lstStyle>
          <a:p>
            <a:r>
              <a:t> </a:t>
            </a:r>
          </a:p>
        </p:txBody>
      </p:sp>
      <p:sp>
        <p:nvSpPr>
          <p:cNvPr id="66" name="Shape 66"/>
          <p:cNvSpPr>
            <a:spLocks noGrp="1"/>
          </p:cNvSpPr>
          <p:nvPr>
            <p:ph type="body" sz="quarter" idx="14"/>
          </p:nvPr>
        </p:nvSpPr>
        <p:spPr>
          <a:xfrm>
            <a:off x="485775" y="806807"/>
            <a:ext cx="11223626" cy="318477"/>
          </a:xfrm>
          <a:prstGeom prst="rect">
            <a:avLst/>
          </a:prstGeom>
        </p:spPr>
        <p:txBody>
          <a:bodyPr/>
          <a:lstStyle>
            <a:lvl1pPr>
              <a:defRPr b="1">
                <a:solidFill>
                  <a:srgbClr val="002C77"/>
                </a:solidFill>
              </a:defRPr>
            </a:lvl1pPr>
          </a:lstStyle>
          <a:p>
            <a:r>
              <a:t> </a:t>
            </a:r>
          </a:p>
        </p:txBody>
      </p:sp>
      <p:sp>
        <p:nvSpPr>
          <p:cNvPr id="67" name="Shape 67"/>
          <p:cNvSpPr>
            <a:spLocks noGrp="1"/>
          </p:cNvSpPr>
          <p:nvPr>
            <p:ph type="title"/>
          </p:nvPr>
        </p:nvSpPr>
        <p:spPr>
          <a:xfrm>
            <a:off x="457200" y="355600"/>
            <a:ext cx="11252200" cy="495300"/>
          </a:xfrm>
          <a:prstGeom prst="rect">
            <a:avLst/>
          </a:prstGeom>
        </p:spPr>
        <p:txBody>
          <a:bodyPr>
            <a:normAutofit/>
          </a:bodyPr>
          <a:lstStyle/>
          <a:p>
            <a:r>
              <a:t>Texto del título</a:t>
            </a:r>
          </a:p>
        </p:txBody>
      </p:sp>
      <p:sp>
        <p:nvSpPr>
          <p:cNvPr id="68" name="Shape 68"/>
          <p:cNvSpPr>
            <a:spLocks noGrp="1"/>
          </p:cNvSpPr>
          <p:nvPr>
            <p:ph type="body" sz="quarter" idx="1"/>
          </p:nvPr>
        </p:nvSpPr>
        <p:spPr>
          <a:xfrm>
            <a:off x="485776" y="1616075"/>
            <a:ext cx="3578225" cy="4505325"/>
          </a:xfrm>
          <a:prstGeom prst="rect">
            <a:avLst/>
          </a:prstGeom>
        </p:spPr>
        <p:txBody>
          <a:bodyPr>
            <a:normAutofit/>
          </a:bodyPr>
          <a:lstStyle>
            <a:lvl1pPr>
              <a:defRPr sz="1500"/>
            </a:lvl1pPr>
            <a:lvl2pPr marL="284956" indent="-281781">
              <a:defRPr sz="1500"/>
            </a:lvl2pPr>
            <a:lvl3pPr marL="514350" indent="-285750">
              <a:defRPr sz="1500"/>
            </a:lvl3pPr>
            <a:lvl4pPr marL="742950" indent="-285750">
              <a:defRPr sz="1500"/>
            </a:lvl4pPr>
            <a:lvl5pPr marL="971550" indent="-285750">
              <a:defRPr sz="1500"/>
            </a:lvl5pPr>
          </a:lstStyle>
          <a:p>
            <a:r>
              <a:t>Nivel de texto 1</a:t>
            </a:r>
          </a:p>
          <a:p>
            <a:pPr lvl="1"/>
            <a:r>
              <a:t>Nivel de texto 2</a:t>
            </a:r>
          </a:p>
          <a:p>
            <a:pPr lvl="2"/>
            <a:r>
              <a:t>Nivel de texto 3</a:t>
            </a:r>
          </a:p>
          <a:p>
            <a:pPr lvl="3"/>
            <a:r>
              <a:t>Nivel de texto 4</a:t>
            </a:r>
          </a:p>
          <a:p>
            <a:pPr lvl="4"/>
            <a:r>
              <a:t>Nivel de texto 5</a:t>
            </a:r>
          </a:p>
        </p:txBody>
      </p:sp>
      <p:sp>
        <p:nvSpPr>
          <p:cNvPr id="69" name="Shape 69"/>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extLst>
      <p:ext uri="{BB962C8B-B14F-4D97-AF65-F5344CB8AC3E}">
        <p14:creationId xmlns:p14="http://schemas.microsoft.com/office/powerpoint/2010/main" val="145956136"/>
      </p:ext>
    </p:extLst>
  </p:cSld>
  <p:clrMapOvr>
    <a:masterClrMapping/>
  </p:clrMapOvr>
  <p:transition spd="med"/>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tx">
  <p:cSld name="Four content">
    <p:bg>
      <p:bgPr>
        <a:solidFill>
          <a:srgbClr val="FFFFFF"/>
        </a:solidFill>
        <a:effectLst/>
      </p:bgPr>
    </p:bg>
    <p:spTree>
      <p:nvGrpSpPr>
        <p:cNvPr id="1" name=""/>
        <p:cNvGrpSpPr/>
        <p:nvPr/>
      </p:nvGrpSpPr>
      <p:grpSpPr>
        <a:xfrm>
          <a:off x="0" y="0"/>
          <a:ext cx="0" cy="0"/>
          <a:chOff x="0" y="0"/>
          <a:chExt cx="0" cy="0"/>
        </a:xfrm>
      </p:grpSpPr>
      <p:pic>
        <p:nvPicPr>
          <p:cNvPr id="76"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77" name="Shape 77"/>
          <p:cNvSpPr>
            <a:spLocks noGrp="1"/>
          </p:cNvSpPr>
          <p:nvPr>
            <p:ph type="body" sz="quarter" idx="13"/>
          </p:nvPr>
        </p:nvSpPr>
        <p:spPr>
          <a:xfrm>
            <a:off x="6210301" y="6388100"/>
            <a:ext cx="4546599" cy="247650"/>
          </a:xfrm>
          <a:prstGeom prst="rect">
            <a:avLst/>
          </a:prstGeom>
        </p:spPr>
        <p:txBody>
          <a:bodyPr anchor="b"/>
          <a:lstStyle>
            <a:lvl1pPr algn="r">
              <a:spcBef>
                <a:spcPts val="0"/>
              </a:spcBef>
              <a:defRPr sz="800"/>
            </a:lvl1pPr>
          </a:lstStyle>
          <a:p>
            <a:r>
              <a:t> </a:t>
            </a:r>
          </a:p>
        </p:txBody>
      </p:sp>
      <p:sp>
        <p:nvSpPr>
          <p:cNvPr id="78" name="Shape 78"/>
          <p:cNvSpPr>
            <a:spLocks noGrp="1"/>
          </p:cNvSpPr>
          <p:nvPr>
            <p:ph type="body" sz="quarter" idx="14"/>
          </p:nvPr>
        </p:nvSpPr>
        <p:spPr>
          <a:xfrm>
            <a:off x="485775" y="806807"/>
            <a:ext cx="11223626" cy="318477"/>
          </a:xfrm>
          <a:prstGeom prst="rect">
            <a:avLst/>
          </a:prstGeom>
        </p:spPr>
        <p:txBody>
          <a:bodyPr/>
          <a:lstStyle>
            <a:lvl1pPr>
              <a:defRPr b="1">
                <a:solidFill>
                  <a:srgbClr val="002C77"/>
                </a:solidFill>
              </a:defRPr>
            </a:lvl1pPr>
          </a:lstStyle>
          <a:p>
            <a:r>
              <a:t> </a:t>
            </a:r>
          </a:p>
        </p:txBody>
      </p:sp>
      <p:sp>
        <p:nvSpPr>
          <p:cNvPr id="79" name="Shape 79"/>
          <p:cNvSpPr>
            <a:spLocks noGrp="1"/>
          </p:cNvSpPr>
          <p:nvPr>
            <p:ph type="title"/>
          </p:nvPr>
        </p:nvSpPr>
        <p:spPr>
          <a:xfrm>
            <a:off x="457200" y="355600"/>
            <a:ext cx="11252200" cy="495300"/>
          </a:xfrm>
          <a:prstGeom prst="rect">
            <a:avLst/>
          </a:prstGeom>
        </p:spPr>
        <p:txBody>
          <a:bodyPr>
            <a:normAutofit/>
          </a:bodyPr>
          <a:lstStyle/>
          <a:p>
            <a:r>
              <a:t>Texto del título</a:t>
            </a:r>
          </a:p>
        </p:txBody>
      </p:sp>
      <p:sp>
        <p:nvSpPr>
          <p:cNvPr id="80" name="Shape 80"/>
          <p:cNvSpPr>
            <a:spLocks noGrp="1"/>
          </p:cNvSpPr>
          <p:nvPr>
            <p:ph type="body" sz="quarter" idx="1"/>
          </p:nvPr>
        </p:nvSpPr>
        <p:spPr>
          <a:xfrm>
            <a:off x="485776" y="1616075"/>
            <a:ext cx="2626456" cy="4513518"/>
          </a:xfrm>
          <a:prstGeom prst="rect">
            <a:avLst/>
          </a:prstGeom>
        </p:spPr>
        <p:txBody>
          <a:bodyPr>
            <a:normAutofit/>
          </a:bodyPr>
          <a:lstStyle>
            <a:lvl1pPr>
              <a:defRPr sz="1500"/>
            </a:lvl1pPr>
            <a:lvl2pPr marL="284956" indent="-281781">
              <a:defRPr sz="1500"/>
            </a:lvl2pPr>
            <a:lvl3pPr marL="514350" indent="-285750">
              <a:defRPr sz="1500"/>
            </a:lvl3pPr>
            <a:lvl4pPr marL="742950" indent="-285750">
              <a:defRPr sz="1500"/>
            </a:lvl4pPr>
            <a:lvl5pPr marL="971550" indent="-285750">
              <a:defRPr sz="1500"/>
            </a:lvl5pPr>
          </a:lstStyle>
          <a:p>
            <a:r>
              <a:t>Nivel de texto 1</a:t>
            </a:r>
          </a:p>
          <a:p>
            <a:pPr lvl="1"/>
            <a:r>
              <a:t>Nivel de texto 2</a:t>
            </a:r>
          </a:p>
          <a:p>
            <a:pPr lvl="2"/>
            <a:r>
              <a:t>Nivel de texto 3</a:t>
            </a:r>
          </a:p>
          <a:p>
            <a:pPr lvl="3"/>
            <a:r>
              <a:t>Nivel de texto 4</a:t>
            </a:r>
          </a:p>
          <a:p>
            <a:pPr lvl="4"/>
            <a:r>
              <a:t>Nivel de texto 5</a:t>
            </a:r>
          </a:p>
        </p:txBody>
      </p:sp>
      <p:sp>
        <p:nvSpPr>
          <p:cNvPr id="81" name="Shape 81"/>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extLst>
      <p:ext uri="{BB962C8B-B14F-4D97-AF65-F5344CB8AC3E}">
        <p14:creationId xmlns:p14="http://schemas.microsoft.com/office/powerpoint/2010/main" val="3406775501"/>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x">
  <p:cSld name="Six content">
    <p:bg>
      <p:bgPr>
        <a:solidFill>
          <a:srgbClr val="FFFFFF"/>
        </a:solidFill>
        <a:effectLst/>
      </p:bgPr>
    </p:bg>
    <p:spTree>
      <p:nvGrpSpPr>
        <p:cNvPr id="1" name=""/>
        <p:cNvGrpSpPr/>
        <p:nvPr/>
      </p:nvGrpSpPr>
      <p:grpSpPr>
        <a:xfrm>
          <a:off x="0" y="0"/>
          <a:ext cx="0" cy="0"/>
          <a:chOff x="0" y="0"/>
          <a:chExt cx="0" cy="0"/>
        </a:xfrm>
      </p:grpSpPr>
      <p:pic>
        <p:nvPicPr>
          <p:cNvPr id="88"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89" name="Shape 89"/>
          <p:cNvSpPr>
            <a:spLocks noGrp="1"/>
          </p:cNvSpPr>
          <p:nvPr>
            <p:ph type="body" sz="quarter" idx="13"/>
          </p:nvPr>
        </p:nvSpPr>
        <p:spPr>
          <a:xfrm>
            <a:off x="6221731" y="6388100"/>
            <a:ext cx="4535171" cy="247650"/>
          </a:xfrm>
          <a:prstGeom prst="rect">
            <a:avLst/>
          </a:prstGeom>
        </p:spPr>
        <p:txBody>
          <a:bodyPr anchor="b"/>
          <a:lstStyle>
            <a:lvl1pPr algn="r">
              <a:spcBef>
                <a:spcPts val="0"/>
              </a:spcBef>
              <a:defRPr sz="800"/>
            </a:lvl1pPr>
          </a:lstStyle>
          <a:p>
            <a:r>
              <a:t> </a:t>
            </a:r>
          </a:p>
        </p:txBody>
      </p:sp>
      <p:sp>
        <p:nvSpPr>
          <p:cNvPr id="90" name="Shape 90"/>
          <p:cNvSpPr>
            <a:spLocks noGrp="1"/>
          </p:cNvSpPr>
          <p:nvPr>
            <p:ph type="body" sz="quarter" idx="14"/>
          </p:nvPr>
        </p:nvSpPr>
        <p:spPr>
          <a:xfrm>
            <a:off x="485775" y="806807"/>
            <a:ext cx="11223626" cy="318477"/>
          </a:xfrm>
          <a:prstGeom prst="rect">
            <a:avLst/>
          </a:prstGeom>
        </p:spPr>
        <p:txBody>
          <a:bodyPr/>
          <a:lstStyle>
            <a:lvl1pPr>
              <a:defRPr b="1">
                <a:solidFill>
                  <a:srgbClr val="002C77"/>
                </a:solidFill>
              </a:defRPr>
            </a:lvl1pPr>
          </a:lstStyle>
          <a:p>
            <a:r>
              <a:t> </a:t>
            </a:r>
          </a:p>
        </p:txBody>
      </p:sp>
      <p:sp>
        <p:nvSpPr>
          <p:cNvPr id="91" name="Shape 91"/>
          <p:cNvSpPr>
            <a:spLocks noGrp="1"/>
          </p:cNvSpPr>
          <p:nvPr>
            <p:ph type="title"/>
          </p:nvPr>
        </p:nvSpPr>
        <p:spPr>
          <a:xfrm>
            <a:off x="457200" y="355600"/>
            <a:ext cx="11252200" cy="495300"/>
          </a:xfrm>
          <a:prstGeom prst="rect">
            <a:avLst/>
          </a:prstGeom>
        </p:spPr>
        <p:txBody>
          <a:bodyPr>
            <a:normAutofit/>
          </a:bodyPr>
          <a:lstStyle/>
          <a:p>
            <a:r>
              <a:t>Texto del título</a:t>
            </a:r>
          </a:p>
        </p:txBody>
      </p:sp>
      <p:sp>
        <p:nvSpPr>
          <p:cNvPr id="92" name="Shape 92"/>
          <p:cNvSpPr>
            <a:spLocks noGrp="1"/>
          </p:cNvSpPr>
          <p:nvPr>
            <p:ph type="body" sz="quarter" idx="1"/>
          </p:nvPr>
        </p:nvSpPr>
        <p:spPr>
          <a:xfrm>
            <a:off x="485775" y="1616075"/>
            <a:ext cx="1664208" cy="4505327"/>
          </a:xfrm>
          <a:prstGeom prst="rect">
            <a:avLst/>
          </a:prstGeom>
        </p:spPr>
        <p:txBody>
          <a:bodyPr>
            <a:normAutofit/>
          </a:bodyPr>
          <a:lstStyle>
            <a:lvl1pPr>
              <a:defRPr sz="1200"/>
            </a:lvl1pPr>
            <a:lvl2pPr marL="228600" indent="-225425">
              <a:defRPr sz="1200"/>
            </a:lvl2pPr>
            <a:lvl3pPr marL="457200" indent="-228600">
              <a:defRPr sz="1200"/>
            </a:lvl3pPr>
            <a:lvl4pPr marL="685800" indent="-228600">
              <a:defRPr sz="1200"/>
            </a:lvl4pPr>
            <a:lvl5pPr marL="914400" indent="-228600">
              <a:defRPr sz="1200"/>
            </a:lvl5pPr>
          </a:lstStyle>
          <a:p>
            <a:r>
              <a:t>Nivel de texto 1</a:t>
            </a:r>
          </a:p>
          <a:p>
            <a:pPr lvl="1"/>
            <a:r>
              <a:t>Nivel de texto 2</a:t>
            </a:r>
          </a:p>
          <a:p>
            <a:pPr lvl="2"/>
            <a:r>
              <a:t>Nivel de texto 3</a:t>
            </a:r>
          </a:p>
          <a:p>
            <a:pPr lvl="3"/>
            <a:r>
              <a:t>Nivel de texto 4</a:t>
            </a:r>
          </a:p>
          <a:p>
            <a:pPr lvl="4"/>
            <a:r>
              <a:t>Nivel de texto 5</a:t>
            </a:r>
          </a:p>
        </p:txBody>
      </p:sp>
      <p:sp>
        <p:nvSpPr>
          <p:cNvPr id="93" name="Shape 93"/>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extLst>
      <p:ext uri="{BB962C8B-B14F-4D97-AF65-F5344CB8AC3E}">
        <p14:creationId xmlns:p14="http://schemas.microsoft.com/office/powerpoint/2010/main" val="1816502489"/>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x">
  <p:cSld name="Split">
    <p:bg>
      <p:bgPr>
        <a:solidFill>
          <a:srgbClr val="FFFFFF"/>
        </a:solidFill>
        <a:effectLst/>
      </p:bgPr>
    </p:bg>
    <p:spTree>
      <p:nvGrpSpPr>
        <p:cNvPr id="1" name=""/>
        <p:cNvGrpSpPr/>
        <p:nvPr/>
      </p:nvGrpSpPr>
      <p:grpSpPr>
        <a:xfrm>
          <a:off x="0" y="0"/>
          <a:ext cx="0" cy="0"/>
          <a:chOff x="0" y="0"/>
          <a:chExt cx="0" cy="0"/>
        </a:xfrm>
      </p:grpSpPr>
      <p:pic>
        <p:nvPicPr>
          <p:cNvPr id="111"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112" name="Shape 112"/>
          <p:cNvSpPr/>
          <p:nvPr/>
        </p:nvSpPr>
        <p:spPr>
          <a:xfrm>
            <a:off x="6211018" y="0"/>
            <a:ext cx="5980983" cy="685800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lnTo>
                  <a:pt x="0" y="21600"/>
                </a:lnTo>
                <a:lnTo>
                  <a:pt x="0" y="11200"/>
                </a:lnTo>
                <a:lnTo>
                  <a:pt x="480" y="10800"/>
                </a:lnTo>
                <a:lnTo>
                  <a:pt x="0" y="10400"/>
                </a:lnTo>
                <a:close/>
              </a:path>
            </a:pathLst>
          </a:custGeom>
          <a:solidFill>
            <a:srgbClr val="002C77"/>
          </a:solidFill>
          <a:ln w="12700">
            <a:miter lim="400000"/>
          </a:ln>
        </p:spPr>
        <p:txBody>
          <a:bodyPr lIns="0" tIns="0" rIns="0" bIns="0" anchor="ctr"/>
          <a:lstStyle/>
          <a:p>
            <a:pPr algn="ctr">
              <a:defRPr>
                <a:solidFill>
                  <a:srgbClr val="FFFFFF"/>
                </a:solidFill>
              </a:defRPr>
            </a:pPr>
            <a:endParaRPr/>
          </a:p>
        </p:txBody>
      </p:sp>
      <p:sp>
        <p:nvSpPr>
          <p:cNvPr id="113" name="Shape 113"/>
          <p:cNvSpPr>
            <a:spLocks noGrp="1"/>
          </p:cNvSpPr>
          <p:nvPr>
            <p:ph type="title"/>
          </p:nvPr>
        </p:nvSpPr>
        <p:spPr>
          <a:xfrm>
            <a:off x="457201" y="355600"/>
            <a:ext cx="5524501" cy="495300"/>
          </a:xfrm>
          <a:prstGeom prst="rect">
            <a:avLst/>
          </a:prstGeom>
        </p:spPr>
        <p:txBody>
          <a:bodyPr>
            <a:normAutofit/>
          </a:bodyPr>
          <a:lstStyle/>
          <a:p>
            <a:r>
              <a:t>Texto del título</a:t>
            </a:r>
          </a:p>
        </p:txBody>
      </p:sp>
      <p:sp>
        <p:nvSpPr>
          <p:cNvPr id="114" name="Shape 114"/>
          <p:cNvSpPr>
            <a:spLocks noGrp="1"/>
          </p:cNvSpPr>
          <p:nvPr>
            <p:ph type="body" sz="quarter" idx="1"/>
          </p:nvPr>
        </p:nvSpPr>
        <p:spPr>
          <a:xfrm>
            <a:off x="485776" y="806807"/>
            <a:ext cx="5495925" cy="318477"/>
          </a:xfrm>
          <a:prstGeom prst="rect">
            <a:avLst/>
          </a:prstGeom>
        </p:spPr>
        <p:txBody>
          <a:bodyPr>
            <a:normAutofit/>
          </a:bodyPr>
          <a:lstStyle>
            <a:lvl1pPr>
              <a:defRPr b="1">
                <a:solidFill>
                  <a:srgbClr val="002C77"/>
                </a:solidFill>
              </a:defRPr>
            </a:lvl1pPr>
            <a:lvl2pPr marL="0" indent="457200">
              <a:buSzTx/>
              <a:buNone/>
              <a:defRPr b="1">
                <a:solidFill>
                  <a:srgbClr val="002C77"/>
                </a:solidFill>
              </a:defRPr>
            </a:lvl2pPr>
            <a:lvl3pPr marL="0" indent="914400">
              <a:buSzTx/>
              <a:buNone/>
              <a:defRPr b="1">
                <a:solidFill>
                  <a:srgbClr val="002C77"/>
                </a:solidFill>
              </a:defRPr>
            </a:lvl3pPr>
            <a:lvl4pPr marL="0" indent="1371600">
              <a:buSzTx/>
              <a:buNone/>
              <a:defRPr b="1">
                <a:solidFill>
                  <a:srgbClr val="002C77"/>
                </a:solidFill>
              </a:defRPr>
            </a:lvl4pPr>
            <a:lvl5pPr marL="0" indent="1828800">
              <a:buSzTx/>
              <a:buNone/>
              <a:defRPr b="1">
                <a:solidFill>
                  <a:srgbClr val="002C77"/>
                </a:solidFill>
              </a:defRPr>
            </a:lvl5pPr>
          </a:lstStyle>
          <a:p>
            <a:r>
              <a:t>Nivel de texto 1</a:t>
            </a:r>
          </a:p>
          <a:p>
            <a:pPr lvl="1"/>
            <a:r>
              <a:t>Nivel de texto 2</a:t>
            </a:r>
          </a:p>
          <a:p>
            <a:pPr lvl="2"/>
            <a:r>
              <a:t>Nivel de texto 3</a:t>
            </a:r>
          </a:p>
          <a:p>
            <a:pPr lvl="3"/>
            <a:r>
              <a:t>Nivel de texto 4</a:t>
            </a:r>
          </a:p>
          <a:p>
            <a:pPr lvl="4"/>
            <a:r>
              <a:t>Nivel de texto 5</a:t>
            </a:r>
          </a:p>
        </p:txBody>
      </p:sp>
      <p:sp>
        <p:nvSpPr>
          <p:cNvPr id="115" name="Shape 115"/>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extLst>
      <p:ext uri="{BB962C8B-B14F-4D97-AF65-F5344CB8AC3E}">
        <p14:creationId xmlns:p14="http://schemas.microsoft.com/office/powerpoint/2010/main" val="2290172613"/>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x">
  <p:cSld name="Split callout">
    <p:bg>
      <p:bgPr>
        <a:solidFill>
          <a:srgbClr val="FFFFFF"/>
        </a:solidFill>
        <a:effectLst/>
      </p:bgPr>
    </p:bg>
    <p:spTree>
      <p:nvGrpSpPr>
        <p:cNvPr id="1" name=""/>
        <p:cNvGrpSpPr/>
        <p:nvPr/>
      </p:nvGrpSpPr>
      <p:grpSpPr>
        <a:xfrm>
          <a:off x="0" y="0"/>
          <a:ext cx="0" cy="0"/>
          <a:chOff x="0" y="0"/>
          <a:chExt cx="0" cy="0"/>
        </a:xfrm>
      </p:grpSpPr>
      <p:pic>
        <p:nvPicPr>
          <p:cNvPr id="122"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123" name="Shape 123"/>
          <p:cNvSpPr/>
          <p:nvPr/>
        </p:nvSpPr>
        <p:spPr>
          <a:xfrm>
            <a:off x="8130488" y="0"/>
            <a:ext cx="4061513" cy="685800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lnTo>
                  <a:pt x="0" y="21600"/>
                </a:lnTo>
                <a:lnTo>
                  <a:pt x="0" y="5868"/>
                </a:lnTo>
                <a:lnTo>
                  <a:pt x="691" y="5471"/>
                </a:lnTo>
                <a:lnTo>
                  <a:pt x="0" y="5074"/>
                </a:lnTo>
                <a:close/>
              </a:path>
            </a:pathLst>
          </a:custGeom>
          <a:solidFill>
            <a:srgbClr val="002C77"/>
          </a:solidFill>
          <a:ln w="12700">
            <a:miter lim="400000"/>
          </a:ln>
        </p:spPr>
        <p:txBody>
          <a:bodyPr lIns="0" tIns="0" rIns="0" bIns="0" anchor="ctr"/>
          <a:lstStyle/>
          <a:p>
            <a:pPr algn="ctr">
              <a:defRPr>
                <a:solidFill>
                  <a:srgbClr val="FFFFFF"/>
                </a:solidFill>
              </a:defRPr>
            </a:pPr>
            <a:endParaRPr/>
          </a:p>
        </p:txBody>
      </p:sp>
      <p:sp>
        <p:nvSpPr>
          <p:cNvPr id="124" name="Shape 124"/>
          <p:cNvSpPr>
            <a:spLocks noGrp="1"/>
          </p:cNvSpPr>
          <p:nvPr>
            <p:ph type="title"/>
          </p:nvPr>
        </p:nvSpPr>
        <p:spPr>
          <a:xfrm>
            <a:off x="457201" y="355600"/>
            <a:ext cx="7429501" cy="495300"/>
          </a:xfrm>
          <a:prstGeom prst="rect">
            <a:avLst/>
          </a:prstGeom>
        </p:spPr>
        <p:txBody>
          <a:bodyPr>
            <a:normAutofit/>
          </a:bodyPr>
          <a:lstStyle/>
          <a:p>
            <a:r>
              <a:t>Texto del título</a:t>
            </a:r>
          </a:p>
        </p:txBody>
      </p:sp>
      <p:sp>
        <p:nvSpPr>
          <p:cNvPr id="125" name="Shape 125"/>
          <p:cNvSpPr>
            <a:spLocks noGrp="1"/>
          </p:cNvSpPr>
          <p:nvPr>
            <p:ph type="body" sz="quarter" idx="1"/>
          </p:nvPr>
        </p:nvSpPr>
        <p:spPr>
          <a:xfrm>
            <a:off x="485776" y="806807"/>
            <a:ext cx="7400926" cy="318477"/>
          </a:xfrm>
          <a:prstGeom prst="rect">
            <a:avLst/>
          </a:prstGeom>
        </p:spPr>
        <p:txBody>
          <a:bodyPr>
            <a:normAutofit/>
          </a:bodyPr>
          <a:lstStyle>
            <a:lvl1pPr>
              <a:defRPr b="1">
                <a:solidFill>
                  <a:srgbClr val="002C77"/>
                </a:solidFill>
              </a:defRPr>
            </a:lvl1pPr>
            <a:lvl2pPr marL="0" indent="457200">
              <a:buSzTx/>
              <a:buNone/>
              <a:defRPr b="1">
                <a:solidFill>
                  <a:srgbClr val="002C77"/>
                </a:solidFill>
              </a:defRPr>
            </a:lvl2pPr>
            <a:lvl3pPr marL="0" indent="914400">
              <a:buSzTx/>
              <a:buNone/>
              <a:defRPr b="1">
                <a:solidFill>
                  <a:srgbClr val="002C77"/>
                </a:solidFill>
              </a:defRPr>
            </a:lvl3pPr>
            <a:lvl4pPr marL="0" indent="1371600">
              <a:buSzTx/>
              <a:buNone/>
              <a:defRPr b="1">
                <a:solidFill>
                  <a:srgbClr val="002C77"/>
                </a:solidFill>
              </a:defRPr>
            </a:lvl4pPr>
            <a:lvl5pPr marL="0" indent="1828800">
              <a:buSzTx/>
              <a:buNone/>
              <a:defRPr b="1">
                <a:solidFill>
                  <a:srgbClr val="002C77"/>
                </a:solidFill>
              </a:defRPr>
            </a:lvl5pPr>
          </a:lstStyle>
          <a:p>
            <a:r>
              <a:t>Nivel de texto 1</a:t>
            </a:r>
          </a:p>
          <a:p>
            <a:pPr lvl="1"/>
            <a:r>
              <a:t>Nivel de texto 2</a:t>
            </a:r>
          </a:p>
          <a:p>
            <a:pPr lvl="2"/>
            <a:r>
              <a:t>Nivel de texto 3</a:t>
            </a:r>
          </a:p>
          <a:p>
            <a:pPr lvl="3"/>
            <a:r>
              <a:t>Nivel de texto 4</a:t>
            </a:r>
          </a:p>
          <a:p>
            <a:pPr lvl="4"/>
            <a:r>
              <a:t>Nivel de texto 5</a:t>
            </a:r>
          </a:p>
        </p:txBody>
      </p:sp>
      <p:sp>
        <p:nvSpPr>
          <p:cNvPr id="126" name="Shape 126"/>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extLst>
      <p:ext uri="{BB962C8B-B14F-4D97-AF65-F5344CB8AC3E}">
        <p14:creationId xmlns:p14="http://schemas.microsoft.com/office/powerpoint/2010/main" val="932941932"/>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x">
  <p:cSld name="Split callout gradient">
    <p:bg>
      <p:bgPr>
        <a:solidFill>
          <a:srgbClr val="FFFFFF"/>
        </a:solidFill>
        <a:effectLst/>
      </p:bgPr>
    </p:bg>
    <p:spTree>
      <p:nvGrpSpPr>
        <p:cNvPr id="1" name=""/>
        <p:cNvGrpSpPr/>
        <p:nvPr/>
      </p:nvGrpSpPr>
      <p:grpSpPr>
        <a:xfrm>
          <a:off x="0" y="0"/>
          <a:ext cx="0" cy="0"/>
          <a:chOff x="0" y="0"/>
          <a:chExt cx="0" cy="0"/>
        </a:xfrm>
      </p:grpSpPr>
      <p:pic>
        <p:nvPicPr>
          <p:cNvPr id="133"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134" name="Shape 134"/>
          <p:cNvSpPr/>
          <p:nvPr/>
        </p:nvSpPr>
        <p:spPr>
          <a:xfrm>
            <a:off x="8130488" y="0"/>
            <a:ext cx="4061513" cy="685800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lnTo>
                  <a:pt x="0" y="21600"/>
                </a:lnTo>
                <a:lnTo>
                  <a:pt x="0" y="5868"/>
                </a:lnTo>
                <a:lnTo>
                  <a:pt x="691" y="5471"/>
                </a:lnTo>
                <a:lnTo>
                  <a:pt x="0" y="5074"/>
                </a:lnTo>
                <a:close/>
              </a:path>
            </a:pathLst>
          </a:custGeom>
          <a:blipFill>
            <a:blip r:embed="rId3"/>
            <a:stretch>
              <a:fillRect/>
            </a:stretch>
          </a:blipFill>
          <a:ln w="12700">
            <a:miter lim="400000"/>
          </a:ln>
        </p:spPr>
        <p:txBody>
          <a:bodyPr lIns="0" tIns="0" rIns="0" bIns="0" anchor="ctr"/>
          <a:lstStyle/>
          <a:p>
            <a:pPr algn="ctr">
              <a:defRPr>
                <a:solidFill>
                  <a:srgbClr val="FFFFFF"/>
                </a:solidFill>
              </a:defRPr>
            </a:pPr>
            <a:endParaRPr/>
          </a:p>
        </p:txBody>
      </p:sp>
      <p:sp>
        <p:nvSpPr>
          <p:cNvPr id="135" name="Shape 135"/>
          <p:cNvSpPr>
            <a:spLocks noGrp="1"/>
          </p:cNvSpPr>
          <p:nvPr>
            <p:ph type="title"/>
          </p:nvPr>
        </p:nvSpPr>
        <p:spPr>
          <a:xfrm>
            <a:off x="457201" y="355600"/>
            <a:ext cx="7429501" cy="495300"/>
          </a:xfrm>
          <a:prstGeom prst="rect">
            <a:avLst/>
          </a:prstGeom>
        </p:spPr>
        <p:txBody>
          <a:bodyPr>
            <a:normAutofit/>
          </a:bodyPr>
          <a:lstStyle/>
          <a:p>
            <a:r>
              <a:t>Texto del título</a:t>
            </a:r>
          </a:p>
        </p:txBody>
      </p:sp>
      <p:sp>
        <p:nvSpPr>
          <p:cNvPr id="136" name="Shape 136"/>
          <p:cNvSpPr>
            <a:spLocks noGrp="1"/>
          </p:cNvSpPr>
          <p:nvPr>
            <p:ph type="body" sz="quarter" idx="1"/>
          </p:nvPr>
        </p:nvSpPr>
        <p:spPr>
          <a:xfrm>
            <a:off x="485776" y="806807"/>
            <a:ext cx="7400926" cy="318477"/>
          </a:xfrm>
          <a:prstGeom prst="rect">
            <a:avLst/>
          </a:prstGeom>
        </p:spPr>
        <p:txBody>
          <a:bodyPr>
            <a:normAutofit/>
          </a:bodyPr>
          <a:lstStyle>
            <a:lvl1pPr>
              <a:defRPr b="1">
                <a:solidFill>
                  <a:srgbClr val="002C77"/>
                </a:solidFill>
              </a:defRPr>
            </a:lvl1pPr>
            <a:lvl2pPr marL="0" indent="457200">
              <a:buSzTx/>
              <a:buNone/>
              <a:defRPr b="1">
                <a:solidFill>
                  <a:srgbClr val="002C77"/>
                </a:solidFill>
              </a:defRPr>
            </a:lvl2pPr>
            <a:lvl3pPr marL="0" indent="914400">
              <a:buSzTx/>
              <a:buNone/>
              <a:defRPr b="1">
                <a:solidFill>
                  <a:srgbClr val="002C77"/>
                </a:solidFill>
              </a:defRPr>
            </a:lvl3pPr>
            <a:lvl4pPr marL="0" indent="1371600">
              <a:buSzTx/>
              <a:buNone/>
              <a:defRPr b="1">
                <a:solidFill>
                  <a:srgbClr val="002C77"/>
                </a:solidFill>
              </a:defRPr>
            </a:lvl4pPr>
            <a:lvl5pPr marL="0" indent="1828800">
              <a:buSzTx/>
              <a:buNone/>
              <a:defRPr b="1">
                <a:solidFill>
                  <a:srgbClr val="002C77"/>
                </a:solidFill>
              </a:defRPr>
            </a:lvl5pPr>
          </a:lstStyle>
          <a:p>
            <a:r>
              <a:t>Nivel de texto 1</a:t>
            </a:r>
          </a:p>
          <a:p>
            <a:pPr lvl="1"/>
            <a:r>
              <a:t>Nivel de texto 2</a:t>
            </a:r>
          </a:p>
          <a:p>
            <a:pPr lvl="2"/>
            <a:r>
              <a:t>Nivel de texto 3</a:t>
            </a:r>
          </a:p>
          <a:p>
            <a:pPr lvl="3"/>
            <a:r>
              <a:t>Nivel de texto 4</a:t>
            </a:r>
          </a:p>
          <a:p>
            <a:pPr lvl="4"/>
            <a:r>
              <a:t>Nivel de texto 5</a:t>
            </a:r>
          </a:p>
        </p:txBody>
      </p:sp>
      <p:sp>
        <p:nvSpPr>
          <p:cNvPr id="137" name="Shape 137"/>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extLst>
      <p:ext uri="{BB962C8B-B14F-4D97-AF65-F5344CB8AC3E}">
        <p14:creationId xmlns:p14="http://schemas.microsoft.com/office/powerpoint/2010/main" val="3545199623"/>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x">
  <p:cSld name="Split callout photo">
    <p:bg>
      <p:bgPr>
        <a:solidFill>
          <a:srgbClr val="FFFFFF"/>
        </a:solidFill>
        <a:effectLst/>
      </p:bgPr>
    </p:bg>
    <p:spTree>
      <p:nvGrpSpPr>
        <p:cNvPr id="1" name=""/>
        <p:cNvGrpSpPr/>
        <p:nvPr/>
      </p:nvGrpSpPr>
      <p:grpSpPr>
        <a:xfrm>
          <a:off x="0" y="0"/>
          <a:ext cx="0" cy="0"/>
          <a:chOff x="0" y="0"/>
          <a:chExt cx="0" cy="0"/>
        </a:xfrm>
      </p:grpSpPr>
      <p:pic>
        <p:nvPicPr>
          <p:cNvPr id="144"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145" name="Shape 145"/>
          <p:cNvSpPr>
            <a:spLocks noGrp="1"/>
          </p:cNvSpPr>
          <p:nvPr>
            <p:ph type="pic" sz="half" idx="13"/>
          </p:nvPr>
        </p:nvSpPr>
        <p:spPr>
          <a:xfrm>
            <a:off x="8131175" y="0"/>
            <a:ext cx="4060825" cy="6858000"/>
          </a:xfrm>
          <a:prstGeom prst="rect">
            <a:avLst/>
          </a:prstGeom>
        </p:spPr>
        <p:txBody>
          <a:bodyPr lIns="91439" tIns="45719" rIns="91439" bIns="45719"/>
          <a:lstStyle/>
          <a:p>
            <a:endParaRPr/>
          </a:p>
        </p:txBody>
      </p:sp>
      <p:sp>
        <p:nvSpPr>
          <p:cNvPr id="146" name="Shape 146"/>
          <p:cNvSpPr>
            <a:spLocks noGrp="1"/>
          </p:cNvSpPr>
          <p:nvPr>
            <p:ph type="title"/>
          </p:nvPr>
        </p:nvSpPr>
        <p:spPr>
          <a:xfrm>
            <a:off x="457201" y="355600"/>
            <a:ext cx="7429501" cy="495300"/>
          </a:xfrm>
          <a:prstGeom prst="rect">
            <a:avLst/>
          </a:prstGeom>
        </p:spPr>
        <p:txBody>
          <a:bodyPr>
            <a:normAutofit/>
          </a:bodyPr>
          <a:lstStyle/>
          <a:p>
            <a:r>
              <a:t>Texto del título</a:t>
            </a:r>
          </a:p>
        </p:txBody>
      </p:sp>
      <p:sp>
        <p:nvSpPr>
          <p:cNvPr id="147" name="Shape 147"/>
          <p:cNvSpPr>
            <a:spLocks noGrp="1"/>
          </p:cNvSpPr>
          <p:nvPr>
            <p:ph type="body" sz="quarter" idx="1"/>
          </p:nvPr>
        </p:nvSpPr>
        <p:spPr>
          <a:xfrm>
            <a:off x="485776" y="806807"/>
            <a:ext cx="7400926" cy="318477"/>
          </a:xfrm>
          <a:prstGeom prst="rect">
            <a:avLst/>
          </a:prstGeom>
        </p:spPr>
        <p:txBody>
          <a:bodyPr>
            <a:normAutofit/>
          </a:bodyPr>
          <a:lstStyle>
            <a:lvl1pPr>
              <a:defRPr b="1">
                <a:solidFill>
                  <a:srgbClr val="002C77"/>
                </a:solidFill>
              </a:defRPr>
            </a:lvl1pPr>
            <a:lvl2pPr marL="0" indent="457200">
              <a:buSzTx/>
              <a:buNone/>
              <a:defRPr b="1">
                <a:solidFill>
                  <a:srgbClr val="002C77"/>
                </a:solidFill>
              </a:defRPr>
            </a:lvl2pPr>
            <a:lvl3pPr marL="0" indent="914400">
              <a:buSzTx/>
              <a:buNone/>
              <a:defRPr b="1">
                <a:solidFill>
                  <a:srgbClr val="002C77"/>
                </a:solidFill>
              </a:defRPr>
            </a:lvl3pPr>
            <a:lvl4pPr marL="0" indent="1371600">
              <a:buSzTx/>
              <a:buNone/>
              <a:defRPr b="1">
                <a:solidFill>
                  <a:srgbClr val="002C77"/>
                </a:solidFill>
              </a:defRPr>
            </a:lvl4pPr>
            <a:lvl5pPr marL="0" indent="1828800">
              <a:buSzTx/>
              <a:buNone/>
              <a:defRPr b="1">
                <a:solidFill>
                  <a:srgbClr val="002C77"/>
                </a:solidFill>
              </a:defRPr>
            </a:lvl5pPr>
          </a:lstStyle>
          <a:p>
            <a:r>
              <a:t>Nivel de texto 1</a:t>
            </a:r>
          </a:p>
          <a:p>
            <a:pPr lvl="1"/>
            <a:r>
              <a:t>Nivel de texto 2</a:t>
            </a:r>
          </a:p>
          <a:p>
            <a:pPr lvl="2"/>
            <a:r>
              <a:t>Nivel de texto 3</a:t>
            </a:r>
          </a:p>
          <a:p>
            <a:pPr lvl="3"/>
            <a:r>
              <a:t>Nivel de texto 4</a:t>
            </a:r>
          </a:p>
          <a:p>
            <a:pPr lvl="4"/>
            <a:r>
              <a:t>Nivel de texto 5</a:t>
            </a:r>
          </a:p>
        </p:txBody>
      </p:sp>
      <p:sp>
        <p:nvSpPr>
          <p:cNvPr id="148" name="Shape 148"/>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extLst>
      <p:ext uri="{BB962C8B-B14F-4D97-AF65-F5344CB8AC3E}">
        <p14:creationId xmlns:p14="http://schemas.microsoft.com/office/powerpoint/2010/main" val="1257141366"/>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x">
  <p:cSld name="Six content">
    <p:bg>
      <p:bgPr>
        <a:solidFill>
          <a:srgbClr val="FFFFFF"/>
        </a:solidFill>
        <a:effectLst/>
      </p:bgPr>
    </p:bg>
    <p:spTree>
      <p:nvGrpSpPr>
        <p:cNvPr id="1" name=""/>
        <p:cNvGrpSpPr/>
        <p:nvPr/>
      </p:nvGrpSpPr>
      <p:grpSpPr>
        <a:xfrm>
          <a:off x="0" y="0"/>
          <a:ext cx="0" cy="0"/>
          <a:chOff x="0" y="0"/>
          <a:chExt cx="0" cy="0"/>
        </a:xfrm>
      </p:grpSpPr>
      <p:sp>
        <p:nvSpPr>
          <p:cNvPr id="89" name="Shape 89"/>
          <p:cNvSpPr>
            <a:spLocks noGrp="1"/>
          </p:cNvSpPr>
          <p:nvPr>
            <p:ph type="body" sz="quarter" idx="13"/>
          </p:nvPr>
        </p:nvSpPr>
        <p:spPr>
          <a:xfrm>
            <a:off x="6221731" y="6388100"/>
            <a:ext cx="4535171" cy="247650"/>
          </a:xfrm>
          <a:prstGeom prst="rect">
            <a:avLst/>
          </a:prstGeom>
        </p:spPr>
        <p:txBody>
          <a:bodyPr anchor="b"/>
          <a:lstStyle>
            <a:lvl1pPr algn="r">
              <a:spcBef>
                <a:spcPts val="0"/>
              </a:spcBef>
              <a:defRPr sz="800"/>
            </a:lvl1pPr>
          </a:lstStyle>
          <a:p>
            <a:r>
              <a:t> </a:t>
            </a:r>
          </a:p>
        </p:txBody>
      </p:sp>
      <p:sp>
        <p:nvSpPr>
          <p:cNvPr id="90" name="Shape 90"/>
          <p:cNvSpPr>
            <a:spLocks noGrp="1"/>
          </p:cNvSpPr>
          <p:nvPr>
            <p:ph type="body" sz="quarter" idx="14"/>
          </p:nvPr>
        </p:nvSpPr>
        <p:spPr>
          <a:xfrm>
            <a:off x="485775" y="806807"/>
            <a:ext cx="11223626" cy="318477"/>
          </a:xfrm>
          <a:prstGeom prst="rect">
            <a:avLst/>
          </a:prstGeom>
        </p:spPr>
        <p:txBody>
          <a:bodyPr/>
          <a:lstStyle>
            <a:lvl1pPr>
              <a:defRPr b="1">
                <a:solidFill>
                  <a:srgbClr val="002C77"/>
                </a:solidFill>
              </a:defRPr>
            </a:lvl1pPr>
          </a:lstStyle>
          <a:p>
            <a:r>
              <a:t> </a:t>
            </a:r>
          </a:p>
        </p:txBody>
      </p:sp>
      <p:sp>
        <p:nvSpPr>
          <p:cNvPr id="91" name="Shape 91"/>
          <p:cNvSpPr>
            <a:spLocks noGrp="1"/>
          </p:cNvSpPr>
          <p:nvPr>
            <p:ph type="title"/>
          </p:nvPr>
        </p:nvSpPr>
        <p:spPr>
          <a:xfrm>
            <a:off x="457200" y="355600"/>
            <a:ext cx="11252200" cy="495300"/>
          </a:xfrm>
          <a:prstGeom prst="rect">
            <a:avLst/>
          </a:prstGeom>
        </p:spPr>
        <p:txBody>
          <a:bodyPr>
            <a:normAutofit/>
          </a:bodyPr>
          <a:lstStyle/>
          <a:p>
            <a:r>
              <a:t>Texto del título</a:t>
            </a:r>
          </a:p>
        </p:txBody>
      </p:sp>
      <p:sp>
        <p:nvSpPr>
          <p:cNvPr id="92" name="Shape 92"/>
          <p:cNvSpPr>
            <a:spLocks noGrp="1"/>
          </p:cNvSpPr>
          <p:nvPr>
            <p:ph type="body" sz="quarter" idx="1"/>
          </p:nvPr>
        </p:nvSpPr>
        <p:spPr>
          <a:xfrm>
            <a:off x="485775" y="1616075"/>
            <a:ext cx="1664208" cy="4505327"/>
          </a:xfrm>
          <a:prstGeom prst="rect">
            <a:avLst/>
          </a:prstGeom>
        </p:spPr>
        <p:txBody>
          <a:bodyPr>
            <a:normAutofit/>
          </a:bodyPr>
          <a:lstStyle>
            <a:lvl1pPr>
              <a:defRPr sz="1200"/>
            </a:lvl1pPr>
            <a:lvl2pPr marL="228600" indent="-225425">
              <a:defRPr sz="1200"/>
            </a:lvl2pPr>
            <a:lvl3pPr marL="457200" indent="-228600">
              <a:defRPr sz="1200"/>
            </a:lvl3pPr>
            <a:lvl4pPr marL="685800" indent="-228600">
              <a:defRPr sz="1200"/>
            </a:lvl4pPr>
            <a:lvl5pPr marL="914400" indent="-228600">
              <a:defRPr sz="1200"/>
            </a:lvl5pPr>
          </a:lstStyle>
          <a:p>
            <a:r>
              <a:t>Nivel de texto 1</a:t>
            </a:r>
          </a:p>
          <a:p>
            <a:pPr lvl="1"/>
            <a:r>
              <a:t>Nivel de texto 2</a:t>
            </a:r>
          </a:p>
          <a:p>
            <a:pPr lvl="2"/>
            <a:r>
              <a:t>Nivel de texto 3</a:t>
            </a:r>
          </a:p>
          <a:p>
            <a:pPr lvl="3"/>
            <a:r>
              <a:t>Nivel de texto 4</a:t>
            </a:r>
          </a:p>
          <a:p>
            <a:pPr lvl="4"/>
            <a:r>
              <a:t>Nivel de texto 5</a:t>
            </a:r>
          </a:p>
        </p:txBody>
      </p:sp>
      <p:sp>
        <p:nvSpPr>
          <p:cNvPr id="93" name="Shape 93"/>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x">
  <p:cSld name="En blanco">
    <p:bg>
      <p:bgPr>
        <a:solidFill>
          <a:srgbClr val="FFFFFF"/>
        </a:solidFill>
        <a:effectLst/>
      </p:bgPr>
    </p:bg>
    <p:spTree>
      <p:nvGrpSpPr>
        <p:cNvPr id="1" name=""/>
        <p:cNvGrpSpPr/>
        <p:nvPr/>
      </p:nvGrpSpPr>
      <p:grpSpPr>
        <a:xfrm>
          <a:off x="0" y="0"/>
          <a:ext cx="0" cy="0"/>
          <a:chOff x="0" y="0"/>
          <a:chExt cx="0" cy="0"/>
        </a:xfrm>
      </p:grpSpPr>
      <p:pic>
        <p:nvPicPr>
          <p:cNvPr id="155"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156" name="Shape 156"/>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extLst>
      <p:ext uri="{BB962C8B-B14F-4D97-AF65-F5344CB8AC3E}">
        <p14:creationId xmlns:p14="http://schemas.microsoft.com/office/powerpoint/2010/main" val="2051476048"/>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x">
  <p:cSld name="CONTENT + IMAGES">
    <p:spTree>
      <p:nvGrpSpPr>
        <p:cNvPr id="1" name=""/>
        <p:cNvGrpSpPr/>
        <p:nvPr/>
      </p:nvGrpSpPr>
      <p:grpSpPr>
        <a:xfrm>
          <a:off x="0" y="0"/>
          <a:ext cx="0" cy="0"/>
          <a:chOff x="0" y="0"/>
          <a:chExt cx="0" cy="0"/>
        </a:xfrm>
      </p:grpSpPr>
      <p:sp>
        <p:nvSpPr>
          <p:cNvPr id="163" name="Shape 163"/>
          <p:cNvSpPr/>
          <p:nvPr/>
        </p:nvSpPr>
        <p:spPr>
          <a:xfrm>
            <a:off x="374977" y="1701329"/>
            <a:ext cx="8423034" cy="3455343"/>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lvl1pPr>
              <a:defRPr sz="12000" b="1">
                <a:solidFill>
                  <a:srgbClr val="FFFFFF"/>
                </a:solidFill>
              </a:defRPr>
            </a:lvl1pPr>
          </a:lstStyle>
          <a:p>
            <a:r>
              <a:t>Content +  images</a:t>
            </a:r>
          </a:p>
        </p:txBody>
      </p:sp>
      <p:sp>
        <p:nvSpPr>
          <p:cNvPr id="164" name="Shape 164"/>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229797484"/>
      </p:ext>
    </p:extLst>
  </p:cSld>
  <p:clrMapOvr>
    <a:masterClrMapping/>
  </p:clrMapOvr>
  <p:transition spd="med"/>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x">
  <p:cSld name="Content + Image background">
    <p:bg>
      <p:bgPr>
        <a:solidFill>
          <a:srgbClr val="FFFFFF"/>
        </a:solidFill>
        <a:effectLst/>
      </p:bgPr>
    </p:bg>
    <p:spTree>
      <p:nvGrpSpPr>
        <p:cNvPr id="1" name=""/>
        <p:cNvGrpSpPr/>
        <p:nvPr/>
      </p:nvGrpSpPr>
      <p:grpSpPr>
        <a:xfrm>
          <a:off x="0" y="0"/>
          <a:ext cx="0" cy="0"/>
          <a:chOff x="0" y="0"/>
          <a:chExt cx="0" cy="0"/>
        </a:xfrm>
      </p:grpSpPr>
      <p:pic>
        <p:nvPicPr>
          <p:cNvPr id="171"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172" name="Shape 172"/>
          <p:cNvSpPr>
            <a:spLocks noGrp="1"/>
          </p:cNvSpPr>
          <p:nvPr>
            <p:ph type="pic" idx="13"/>
          </p:nvPr>
        </p:nvSpPr>
        <p:spPr>
          <a:xfrm>
            <a:off x="1" y="0"/>
            <a:ext cx="12192001" cy="6858000"/>
          </a:xfrm>
          <a:prstGeom prst="rect">
            <a:avLst/>
          </a:prstGeom>
        </p:spPr>
        <p:txBody>
          <a:bodyPr lIns="91439" tIns="45719" rIns="91439" bIns="45719"/>
          <a:lstStyle/>
          <a:p>
            <a:endParaRPr/>
          </a:p>
        </p:txBody>
      </p:sp>
      <p:sp>
        <p:nvSpPr>
          <p:cNvPr id="173" name="Shape 173"/>
          <p:cNvSpPr>
            <a:spLocks noGrp="1"/>
          </p:cNvSpPr>
          <p:nvPr>
            <p:ph type="title"/>
          </p:nvPr>
        </p:nvSpPr>
        <p:spPr>
          <a:xfrm>
            <a:off x="438912" y="1619246"/>
            <a:ext cx="5495924" cy="1495429"/>
          </a:xfrm>
          <a:prstGeom prst="rect">
            <a:avLst/>
          </a:prstGeom>
        </p:spPr>
        <p:txBody>
          <a:bodyPr>
            <a:normAutofit/>
          </a:bodyPr>
          <a:lstStyle>
            <a:lvl1pPr>
              <a:defRPr sz="5600">
                <a:solidFill>
                  <a:srgbClr val="FFFFFF"/>
                </a:solidFill>
              </a:defRPr>
            </a:lvl1pPr>
          </a:lstStyle>
          <a:p>
            <a:r>
              <a:t>Texto del título</a:t>
            </a:r>
          </a:p>
        </p:txBody>
      </p:sp>
      <p:sp>
        <p:nvSpPr>
          <p:cNvPr id="174" name="Shape 174"/>
          <p:cNvSpPr>
            <a:spLocks noGrp="1"/>
          </p:cNvSpPr>
          <p:nvPr>
            <p:ph type="body" sz="quarter" idx="1"/>
          </p:nvPr>
        </p:nvSpPr>
        <p:spPr>
          <a:xfrm>
            <a:off x="485776" y="3315923"/>
            <a:ext cx="5495924" cy="2805478"/>
          </a:xfrm>
          <a:prstGeom prst="rect">
            <a:avLst/>
          </a:prstGeom>
        </p:spPr>
        <p:txBody>
          <a:bodyPr>
            <a:normAutofit/>
          </a:bodyPr>
          <a:lstStyle>
            <a:lvl1pPr>
              <a:defRPr sz="2000" b="1">
                <a:solidFill>
                  <a:srgbClr val="FFFFFF"/>
                </a:solidFill>
              </a:defRPr>
            </a:lvl1pPr>
            <a:lvl2pPr marL="228600" indent="-225425">
              <a:defRPr sz="2000" b="1">
                <a:solidFill>
                  <a:srgbClr val="FFFFFF"/>
                </a:solidFill>
              </a:defRPr>
            </a:lvl2pPr>
            <a:lvl3pPr marL="609600" indent="-381000">
              <a:defRPr sz="2000" b="1">
                <a:solidFill>
                  <a:srgbClr val="FFFFFF"/>
                </a:solidFill>
              </a:defRPr>
            </a:lvl3pPr>
            <a:lvl4pPr marL="838200" indent="-381000">
              <a:defRPr sz="2000" b="1">
                <a:solidFill>
                  <a:srgbClr val="FFFFFF"/>
                </a:solidFill>
              </a:defRPr>
            </a:lvl4pPr>
            <a:lvl5pPr marL="1066800" indent="-381000">
              <a:defRPr sz="2000" b="1">
                <a:solidFill>
                  <a:srgbClr val="FFFFFF"/>
                </a:solidFill>
              </a:defRPr>
            </a:lvl5pPr>
          </a:lstStyle>
          <a:p>
            <a:r>
              <a:t>Nivel de texto 1</a:t>
            </a:r>
          </a:p>
          <a:p>
            <a:pPr lvl="1"/>
            <a:r>
              <a:t>Nivel de texto 2</a:t>
            </a:r>
          </a:p>
          <a:p>
            <a:pPr lvl="2"/>
            <a:r>
              <a:t>Nivel de texto 3</a:t>
            </a:r>
          </a:p>
          <a:p>
            <a:pPr lvl="3"/>
            <a:r>
              <a:t>Nivel de texto 4</a:t>
            </a:r>
          </a:p>
          <a:p>
            <a:pPr lvl="4"/>
            <a:r>
              <a:t>Nivel de texto 5</a:t>
            </a:r>
          </a:p>
        </p:txBody>
      </p:sp>
      <p:sp>
        <p:nvSpPr>
          <p:cNvPr id="175" name="Shape 175"/>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extLst>
      <p:ext uri="{BB962C8B-B14F-4D97-AF65-F5344CB8AC3E}">
        <p14:creationId xmlns:p14="http://schemas.microsoft.com/office/powerpoint/2010/main" val="443433552"/>
      </p:ext>
    </p:extLst>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x">
  <p:cSld name="Content + 1up">
    <p:bg>
      <p:bgPr>
        <a:solidFill>
          <a:srgbClr val="FFFFFF"/>
        </a:solidFill>
        <a:effectLst/>
      </p:bgPr>
    </p:bg>
    <p:spTree>
      <p:nvGrpSpPr>
        <p:cNvPr id="1" name=""/>
        <p:cNvGrpSpPr/>
        <p:nvPr/>
      </p:nvGrpSpPr>
      <p:grpSpPr>
        <a:xfrm>
          <a:off x="0" y="0"/>
          <a:ext cx="0" cy="0"/>
          <a:chOff x="0" y="0"/>
          <a:chExt cx="0" cy="0"/>
        </a:xfrm>
      </p:grpSpPr>
      <p:pic>
        <p:nvPicPr>
          <p:cNvPr id="182"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183" name="Shape 183"/>
          <p:cNvSpPr>
            <a:spLocks noGrp="1"/>
          </p:cNvSpPr>
          <p:nvPr>
            <p:ph type="pic" sz="half" idx="13"/>
          </p:nvPr>
        </p:nvSpPr>
        <p:spPr>
          <a:xfrm>
            <a:off x="8128000" y="119959"/>
            <a:ext cx="3940175" cy="6618083"/>
          </a:xfrm>
          <a:prstGeom prst="rect">
            <a:avLst/>
          </a:prstGeom>
        </p:spPr>
        <p:txBody>
          <a:bodyPr lIns="91439" tIns="45719" rIns="91439" bIns="45719"/>
          <a:lstStyle/>
          <a:p>
            <a:endParaRPr/>
          </a:p>
        </p:txBody>
      </p:sp>
      <p:sp>
        <p:nvSpPr>
          <p:cNvPr id="184" name="Shape 184"/>
          <p:cNvSpPr>
            <a:spLocks noGrp="1"/>
          </p:cNvSpPr>
          <p:nvPr>
            <p:ph type="body" sz="quarter" idx="14"/>
          </p:nvPr>
        </p:nvSpPr>
        <p:spPr>
          <a:xfrm>
            <a:off x="485776" y="806807"/>
            <a:ext cx="7410634" cy="318477"/>
          </a:xfrm>
          <a:prstGeom prst="rect">
            <a:avLst/>
          </a:prstGeom>
        </p:spPr>
        <p:txBody>
          <a:bodyPr/>
          <a:lstStyle>
            <a:lvl1pPr>
              <a:defRPr b="1">
                <a:solidFill>
                  <a:srgbClr val="002C77"/>
                </a:solidFill>
              </a:defRPr>
            </a:lvl1pPr>
          </a:lstStyle>
          <a:p>
            <a:r>
              <a:t> </a:t>
            </a:r>
          </a:p>
        </p:txBody>
      </p:sp>
      <p:sp>
        <p:nvSpPr>
          <p:cNvPr id="185" name="Shape 185"/>
          <p:cNvSpPr>
            <a:spLocks noGrp="1"/>
          </p:cNvSpPr>
          <p:nvPr>
            <p:ph type="title"/>
          </p:nvPr>
        </p:nvSpPr>
        <p:spPr>
          <a:xfrm>
            <a:off x="457201" y="355600"/>
            <a:ext cx="7429501" cy="495300"/>
          </a:xfrm>
          <a:prstGeom prst="rect">
            <a:avLst/>
          </a:prstGeom>
        </p:spPr>
        <p:txBody>
          <a:bodyPr>
            <a:normAutofit/>
          </a:bodyPr>
          <a:lstStyle/>
          <a:p>
            <a:r>
              <a:t>Texto del título</a:t>
            </a:r>
          </a:p>
        </p:txBody>
      </p:sp>
      <p:sp>
        <p:nvSpPr>
          <p:cNvPr id="186" name="Shape 186"/>
          <p:cNvSpPr>
            <a:spLocks noGrp="1"/>
          </p:cNvSpPr>
          <p:nvPr>
            <p:ph type="body" idx="1"/>
          </p:nvPr>
        </p:nvSpPr>
        <p:spPr>
          <a:xfrm>
            <a:off x="485776" y="1609725"/>
            <a:ext cx="7400924" cy="4519868"/>
          </a:xfrm>
          <a:prstGeom prst="rect">
            <a:avLst/>
          </a:prstGeom>
        </p:spPr>
        <p:txBody>
          <a:bodyPr>
            <a:normAutofit/>
          </a:bodyPr>
          <a:lstStyle/>
          <a:p>
            <a:r>
              <a:t>Nivel de texto 1</a:t>
            </a:r>
          </a:p>
          <a:p>
            <a:pPr lvl="1"/>
            <a:r>
              <a:t>Nivel de texto 2</a:t>
            </a:r>
          </a:p>
          <a:p>
            <a:pPr lvl="2"/>
            <a:r>
              <a:t>Nivel de texto 3</a:t>
            </a:r>
          </a:p>
          <a:p>
            <a:pPr lvl="3"/>
            <a:r>
              <a:t>Nivel de texto 4</a:t>
            </a:r>
          </a:p>
          <a:p>
            <a:pPr lvl="4"/>
            <a:r>
              <a:t>Nivel de texto 5</a:t>
            </a:r>
          </a:p>
        </p:txBody>
      </p:sp>
      <p:sp>
        <p:nvSpPr>
          <p:cNvPr id="187" name="Shape 187"/>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extLst>
      <p:ext uri="{BB962C8B-B14F-4D97-AF65-F5344CB8AC3E}">
        <p14:creationId xmlns:p14="http://schemas.microsoft.com/office/powerpoint/2010/main" val="3482952926"/>
      </p:ext>
    </p:extLst>
  </p:cSld>
  <p:clrMapOvr>
    <a:masterClrMapping/>
  </p:clrMapOvr>
  <p:transition spd="med"/>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x">
  <p:cSld name="Content + 2up">
    <p:bg>
      <p:bgPr>
        <a:solidFill>
          <a:srgbClr val="FFFFFF"/>
        </a:solidFill>
        <a:effectLst/>
      </p:bgPr>
    </p:bg>
    <p:spTree>
      <p:nvGrpSpPr>
        <p:cNvPr id="1" name=""/>
        <p:cNvGrpSpPr/>
        <p:nvPr/>
      </p:nvGrpSpPr>
      <p:grpSpPr>
        <a:xfrm>
          <a:off x="0" y="0"/>
          <a:ext cx="0" cy="0"/>
          <a:chOff x="0" y="0"/>
          <a:chExt cx="0" cy="0"/>
        </a:xfrm>
      </p:grpSpPr>
      <p:pic>
        <p:nvPicPr>
          <p:cNvPr id="194"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195" name="Shape 195"/>
          <p:cNvSpPr>
            <a:spLocks noGrp="1"/>
          </p:cNvSpPr>
          <p:nvPr>
            <p:ph type="pic" sz="half" idx="13"/>
          </p:nvPr>
        </p:nvSpPr>
        <p:spPr>
          <a:xfrm>
            <a:off x="4305300" y="358775"/>
            <a:ext cx="7762875" cy="3009900"/>
          </a:xfrm>
          <a:prstGeom prst="rect">
            <a:avLst/>
          </a:prstGeom>
        </p:spPr>
        <p:txBody>
          <a:bodyPr lIns="91439" tIns="45719" rIns="91439" bIns="45719"/>
          <a:lstStyle/>
          <a:p>
            <a:endParaRPr/>
          </a:p>
        </p:txBody>
      </p:sp>
      <p:sp>
        <p:nvSpPr>
          <p:cNvPr id="196" name="Shape 196"/>
          <p:cNvSpPr>
            <a:spLocks noGrp="1"/>
          </p:cNvSpPr>
          <p:nvPr>
            <p:ph type="pic" sz="half" idx="14"/>
          </p:nvPr>
        </p:nvSpPr>
        <p:spPr>
          <a:xfrm>
            <a:off x="4305300" y="3493742"/>
            <a:ext cx="7762875" cy="2881659"/>
          </a:xfrm>
          <a:prstGeom prst="rect">
            <a:avLst/>
          </a:prstGeom>
        </p:spPr>
        <p:txBody>
          <a:bodyPr lIns="91439" tIns="45719" rIns="91439" bIns="45719"/>
          <a:lstStyle/>
          <a:p>
            <a:endParaRPr/>
          </a:p>
        </p:txBody>
      </p:sp>
      <p:sp>
        <p:nvSpPr>
          <p:cNvPr id="197" name="Shape 197"/>
          <p:cNvSpPr>
            <a:spLocks noGrp="1"/>
          </p:cNvSpPr>
          <p:nvPr>
            <p:ph type="title"/>
          </p:nvPr>
        </p:nvSpPr>
        <p:spPr>
          <a:xfrm>
            <a:off x="457201" y="355600"/>
            <a:ext cx="3606801" cy="752475"/>
          </a:xfrm>
          <a:prstGeom prst="rect">
            <a:avLst/>
          </a:prstGeom>
        </p:spPr>
        <p:txBody>
          <a:bodyPr>
            <a:normAutofit/>
          </a:bodyPr>
          <a:lstStyle/>
          <a:p>
            <a:r>
              <a:t>Texto del título</a:t>
            </a:r>
          </a:p>
        </p:txBody>
      </p:sp>
      <p:sp>
        <p:nvSpPr>
          <p:cNvPr id="198" name="Shape 198"/>
          <p:cNvSpPr>
            <a:spLocks noGrp="1"/>
          </p:cNvSpPr>
          <p:nvPr>
            <p:ph type="body" sz="quarter" idx="1"/>
          </p:nvPr>
        </p:nvSpPr>
        <p:spPr>
          <a:xfrm>
            <a:off x="485776" y="1609725"/>
            <a:ext cx="3578224" cy="4508500"/>
          </a:xfrm>
          <a:prstGeom prst="rect">
            <a:avLst/>
          </a:prstGeom>
        </p:spPr>
        <p:txBody>
          <a:bodyPr>
            <a:normAutofit/>
          </a:bodyPr>
          <a:lstStyle/>
          <a:p>
            <a:r>
              <a:t>Nivel de texto 1</a:t>
            </a:r>
          </a:p>
          <a:p>
            <a:pPr lvl="1"/>
            <a:r>
              <a:t>Nivel de texto 2</a:t>
            </a:r>
          </a:p>
          <a:p>
            <a:pPr lvl="2"/>
            <a:r>
              <a:t>Nivel de texto 3</a:t>
            </a:r>
          </a:p>
          <a:p>
            <a:pPr lvl="3"/>
            <a:r>
              <a:t>Nivel de texto 4</a:t>
            </a:r>
          </a:p>
          <a:p>
            <a:pPr lvl="4"/>
            <a:r>
              <a:t>Nivel de texto 5</a:t>
            </a:r>
          </a:p>
        </p:txBody>
      </p:sp>
      <p:sp>
        <p:nvSpPr>
          <p:cNvPr id="199" name="Shape 199"/>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extLst>
      <p:ext uri="{BB962C8B-B14F-4D97-AF65-F5344CB8AC3E}">
        <p14:creationId xmlns:p14="http://schemas.microsoft.com/office/powerpoint/2010/main" val="698477314"/>
      </p:ext>
    </p:extLst>
  </p:cSld>
  <p:clrMapOvr>
    <a:masterClrMapping/>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x">
  <p:cSld name="Content + 3up">
    <p:bg>
      <p:bgPr>
        <a:solidFill>
          <a:srgbClr val="FFFFFF"/>
        </a:solidFill>
        <a:effectLst/>
      </p:bgPr>
    </p:bg>
    <p:spTree>
      <p:nvGrpSpPr>
        <p:cNvPr id="1" name=""/>
        <p:cNvGrpSpPr/>
        <p:nvPr/>
      </p:nvGrpSpPr>
      <p:grpSpPr>
        <a:xfrm>
          <a:off x="0" y="0"/>
          <a:ext cx="0" cy="0"/>
          <a:chOff x="0" y="0"/>
          <a:chExt cx="0" cy="0"/>
        </a:xfrm>
      </p:grpSpPr>
      <p:pic>
        <p:nvPicPr>
          <p:cNvPr id="206"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207" name="Shape 207"/>
          <p:cNvSpPr>
            <a:spLocks noGrp="1"/>
          </p:cNvSpPr>
          <p:nvPr>
            <p:ph type="pic" sz="half" idx="13"/>
          </p:nvPr>
        </p:nvSpPr>
        <p:spPr>
          <a:xfrm>
            <a:off x="4305300" y="3493742"/>
            <a:ext cx="7762875" cy="2881659"/>
          </a:xfrm>
          <a:prstGeom prst="rect">
            <a:avLst/>
          </a:prstGeom>
        </p:spPr>
        <p:txBody>
          <a:bodyPr lIns="91439" tIns="45719" rIns="91439" bIns="45719"/>
          <a:lstStyle/>
          <a:p>
            <a:endParaRPr/>
          </a:p>
        </p:txBody>
      </p:sp>
      <p:sp>
        <p:nvSpPr>
          <p:cNvPr id="208" name="Shape 208"/>
          <p:cNvSpPr>
            <a:spLocks noGrp="1"/>
          </p:cNvSpPr>
          <p:nvPr>
            <p:ph type="pic" sz="quarter" idx="14"/>
          </p:nvPr>
        </p:nvSpPr>
        <p:spPr>
          <a:xfrm>
            <a:off x="8185677" y="358775"/>
            <a:ext cx="3882499" cy="3009900"/>
          </a:xfrm>
          <a:prstGeom prst="rect">
            <a:avLst/>
          </a:prstGeom>
        </p:spPr>
        <p:txBody>
          <a:bodyPr lIns="91439" tIns="45719" rIns="91439" bIns="45719"/>
          <a:lstStyle/>
          <a:p>
            <a:endParaRPr/>
          </a:p>
        </p:txBody>
      </p:sp>
      <p:sp>
        <p:nvSpPr>
          <p:cNvPr id="209" name="Shape 209"/>
          <p:cNvSpPr>
            <a:spLocks noGrp="1"/>
          </p:cNvSpPr>
          <p:nvPr>
            <p:ph type="pic" sz="quarter" idx="15"/>
          </p:nvPr>
        </p:nvSpPr>
        <p:spPr>
          <a:xfrm>
            <a:off x="4305300" y="358775"/>
            <a:ext cx="3742665" cy="3009900"/>
          </a:xfrm>
          <a:prstGeom prst="rect">
            <a:avLst/>
          </a:prstGeom>
        </p:spPr>
        <p:txBody>
          <a:bodyPr lIns="91439" tIns="45719" rIns="91439" bIns="45719"/>
          <a:lstStyle/>
          <a:p>
            <a:endParaRPr/>
          </a:p>
        </p:txBody>
      </p:sp>
      <p:sp>
        <p:nvSpPr>
          <p:cNvPr id="210" name="Shape 210"/>
          <p:cNvSpPr>
            <a:spLocks noGrp="1"/>
          </p:cNvSpPr>
          <p:nvPr>
            <p:ph type="title"/>
          </p:nvPr>
        </p:nvSpPr>
        <p:spPr>
          <a:xfrm>
            <a:off x="457201" y="355600"/>
            <a:ext cx="3606801" cy="752475"/>
          </a:xfrm>
          <a:prstGeom prst="rect">
            <a:avLst/>
          </a:prstGeom>
        </p:spPr>
        <p:txBody>
          <a:bodyPr>
            <a:normAutofit/>
          </a:bodyPr>
          <a:lstStyle/>
          <a:p>
            <a:r>
              <a:t>Texto del título</a:t>
            </a:r>
          </a:p>
        </p:txBody>
      </p:sp>
      <p:sp>
        <p:nvSpPr>
          <p:cNvPr id="211" name="Shape 211"/>
          <p:cNvSpPr>
            <a:spLocks noGrp="1"/>
          </p:cNvSpPr>
          <p:nvPr>
            <p:ph type="body" sz="quarter" idx="1"/>
          </p:nvPr>
        </p:nvSpPr>
        <p:spPr>
          <a:xfrm>
            <a:off x="485776" y="1609725"/>
            <a:ext cx="3578224" cy="4508500"/>
          </a:xfrm>
          <a:prstGeom prst="rect">
            <a:avLst/>
          </a:prstGeom>
        </p:spPr>
        <p:txBody>
          <a:bodyPr>
            <a:normAutofit/>
          </a:bodyPr>
          <a:lstStyle/>
          <a:p>
            <a:r>
              <a:t>Nivel de texto 1</a:t>
            </a:r>
          </a:p>
          <a:p>
            <a:pPr lvl="1"/>
            <a:r>
              <a:t>Nivel de texto 2</a:t>
            </a:r>
          </a:p>
          <a:p>
            <a:pPr lvl="2"/>
            <a:r>
              <a:t>Nivel de texto 3</a:t>
            </a:r>
          </a:p>
          <a:p>
            <a:pPr lvl="3"/>
            <a:r>
              <a:t>Nivel de texto 4</a:t>
            </a:r>
          </a:p>
          <a:p>
            <a:pPr lvl="4"/>
            <a:r>
              <a:t>Nivel de texto 5</a:t>
            </a:r>
          </a:p>
        </p:txBody>
      </p:sp>
      <p:sp>
        <p:nvSpPr>
          <p:cNvPr id="212" name="Shape 212"/>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extLst>
      <p:ext uri="{BB962C8B-B14F-4D97-AF65-F5344CB8AC3E}">
        <p14:creationId xmlns:p14="http://schemas.microsoft.com/office/powerpoint/2010/main" val="3384263581"/>
      </p:ext>
    </p:extLst>
  </p:cSld>
  <p:clrMapOvr>
    <a:masterClrMapping/>
  </p:clrMapOvr>
  <p:transition spd="med"/>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x">
  <p:cSld name="Content + 3up module">
    <p:bg>
      <p:bgPr>
        <a:solidFill>
          <a:srgbClr val="FFFFFF"/>
        </a:solidFill>
        <a:effectLst/>
      </p:bgPr>
    </p:bg>
    <p:spTree>
      <p:nvGrpSpPr>
        <p:cNvPr id="1" name=""/>
        <p:cNvGrpSpPr/>
        <p:nvPr/>
      </p:nvGrpSpPr>
      <p:grpSpPr>
        <a:xfrm>
          <a:off x="0" y="0"/>
          <a:ext cx="0" cy="0"/>
          <a:chOff x="0" y="0"/>
          <a:chExt cx="0" cy="0"/>
        </a:xfrm>
      </p:grpSpPr>
      <p:pic>
        <p:nvPicPr>
          <p:cNvPr id="219"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220" name="Shape 220"/>
          <p:cNvSpPr>
            <a:spLocks noGrp="1"/>
          </p:cNvSpPr>
          <p:nvPr>
            <p:ph type="pic" sz="quarter" idx="13"/>
          </p:nvPr>
        </p:nvSpPr>
        <p:spPr>
          <a:xfrm>
            <a:off x="4305300" y="358775"/>
            <a:ext cx="3822700" cy="3009900"/>
          </a:xfrm>
          <a:prstGeom prst="rect">
            <a:avLst/>
          </a:prstGeom>
        </p:spPr>
        <p:txBody>
          <a:bodyPr lIns="91439" tIns="45719" rIns="91439" bIns="45719"/>
          <a:lstStyle/>
          <a:p>
            <a:endParaRPr/>
          </a:p>
        </p:txBody>
      </p:sp>
      <p:sp>
        <p:nvSpPr>
          <p:cNvPr id="221" name="Shape 221"/>
          <p:cNvSpPr>
            <a:spLocks noGrp="1"/>
          </p:cNvSpPr>
          <p:nvPr>
            <p:ph type="pic" sz="quarter" idx="14"/>
          </p:nvPr>
        </p:nvSpPr>
        <p:spPr>
          <a:xfrm>
            <a:off x="8226963" y="3493742"/>
            <a:ext cx="3841212" cy="2881659"/>
          </a:xfrm>
          <a:prstGeom prst="rect">
            <a:avLst/>
          </a:prstGeom>
        </p:spPr>
        <p:txBody>
          <a:bodyPr lIns="91439" tIns="45719" rIns="91439" bIns="45719"/>
          <a:lstStyle/>
          <a:p>
            <a:endParaRPr/>
          </a:p>
        </p:txBody>
      </p:sp>
      <p:sp>
        <p:nvSpPr>
          <p:cNvPr id="222" name="Shape 222"/>
          <p:cNvSpPr>
            <a:spLocks noGrp="1"/>
          </p:cNvSpPr>
          <p:nvPr>
            <p:ph type="pic" sz="quarter" idx="15"/>
          </p:nvPr>
        </p:nvSpPr>
        <p:spPr>
          <a:xfrm>
            <a:off x="123826" y="3493742"/>
            <a:ext cx="4104143" cy="2881659"/>
          </a:xfrm>
          <a:prstGeom prst="rect">
            <a:avLst/>
          </a:prstGeom>
        </p:spPr>
        <p:txBody>
          <a:bodyPr lIns="91439" tIns="45719" rIns="91439" bIns="45719"/>
          <a:lstStyle/>
          <a:p>
            <a:endParaRPr/>
          </a:p>
        </p:txBody>
      </p:sp>
      <p:sp>
        <p:nvSpPr>
          <p:cNvPr id="223" name="Shape 223"/>
          <p:cNvSpPr>
            <a:spLocks noGrp="1"/>
          </p:cNvSpPr>
          <p:nvPr>
            <p:ph type="body" sz="quarter" idx="16"/>
          </p:nvPr>
        </p:nvSpPr>
        <p:spPr>
          <a:xfrm>
            <a:off x="8289862" y="358773"/>
            <a:ext cx="3546538" cy="2965451"/>
          </a:xfrm>
          <a:prstGeom prst="rect">
            <a:avLst/>
          </a:prstGeom>
        </p:spPr>
        <p:txBody>
          <a:bodyPr/>
          <a:lstStyle>
            <a:lvl1pPr>
              <a:defRPr>
                <a:solidFill>
                  <a:srgbClr val="002C77"/>
                </a:solidFill>
              </a:defRPr>
            </a:lvl1pPr>
          </a:lstStyle>
          <a:p>
            <a:r>
              <a:t> </a:t>
            </a:r>
          </a:p>
        </p:txBody>
      </p:sp>
      <p:sp>
        <p:nvSpPr>
          <p:cNvPr id="224" name="Shape 224"/>
          <p:cNvSpPr>
            <a:spLocks noGrp="1"/>
          </p:cNvSpPr>
          <p:nvPr>
            <p:ph type="body" sz="quarter" idx="17"/>
          </p:nvPr>
        </p:nvSpPr>
        <p:spPr>
          <a:xfrm>
            <a:off x="4396873" y="3811323"/>
            <a:ext cx="3657599" cy="2564079"/>
          </a:xfrm>
          <a:prstGeom prst="rect">
            <a:avLst/>
          </a:prstGeom>
        </p:spPr>
        <p:txBody>
          <a:bodyPr/>
          <a:lstStyle>
            <a:lvl1pPr>
              <a:defRPr>
                <a:solidFill>
                  <a:srgbClr val="002C77"/>
                </a:solidFill>
              </a:defRPr>
            </a:lvl1pPr>
          </a:lstStyle>
          <a:p>
            <a:r>
              <a:t> </a:t>
            </a:r>
          </a:p>
        </p:txBody>
      </p:sp>
      <p:sp>
        <p:nvSpPr>
          <p:cNvPr id="225" name="Shape 225"/>
          <p:cNvSpPr>
            <a:spLocks noGrp="1"/>
          </p:cNvSpPr>
          <p:nvPr>
            <p:ph type="body" sz="quarter" idx="1"/>
          </p:nvPr>
        </p:nvSpPr>
        <p:spPr>
          <a:xfrm>
            <a:off x="485776" y="358775"/>
            <a:ext cx="3578225" cy="3019425"/>
          </a:xfrm>
          <a:prstGeom prst="rect">
            <a:avLst/>
          </a:prstGeom>
        </p:spPr>
        <p:txBody>
          <a:bodyPr>
            <a:normAutofit/>
          </a:bodyPr>
          <a:lstStyle>
            <a:lvl1pPr>
              <a:defRPr>
                <a:solidFill>
                  <a:srgbClr val="002C77"/>
                </a:solidFill>
              </a:defRPr>
            </a:lvl1pPr>
            <a:lvl2pPr marL="0" indent="457200">
              <a:buSzTx/>
              <a:buNone/>
              <a:defRPr>
                <a:solidFill>
                  <a:srgbClr val="002C77"/>
                </a:solidFill>
              </a:defRPr>
            </a:lvl2pPr>
            <a:lvl3pPr marL="0" indent="914400">
              <a:buSzTx/>
              <a:buNone/>
              <a:defRPr>
                <a:solidFill>
                  <a:srgbClr val="002C77"/>
                </a:solidFill>
              </a:defRPr>
            </a:lvl3pPr>
            <a:lvl4pPr marL="0" indent="1371600">
              <a:buSzTx/>
              <a:buNone/>
              <a:defRPr>
                <a:solidFill>
                  <a:srgbClr val="002C77"/>
                </a:solidFill>
              </a:defRPr>
            </a:lvl4pPr>
            <a:lvl5pPr marL="0" indent="1828800">
              <a:buSzTx/>
              <a:buNone/>
              <a:defRPr>
                <a:solidFill>
                  <a:srgbClr val="002C77"/>
                </a:solidFill>
              </a:defRPr>
            </a:lvl5pPr>
          </a:lstStyle>
          <a:p>
            <a:r>
              <a:t>Nivel de texto 1</a:t>
            </a:r>
          </a:p>
          <a:p>
            <a:pPr lvl="1"/>
            <a:r>
              <a:t>Nivel de texto 2</a:t>
            </a:r>
          </a:p>
          <a:p>
            <a:pPr lvl="2"/>
            <a:r>
              <a:t>Nivel de texto 3</a:t>
            </a:r>
          </a:p>
          <a:p>
            <a:pPr lvl="3"/>
            <a:r>
              <a:t>Nivel de texto 4</a:t>
            </a:r>
          </a:p>
          <a:p>
            <a:pPr lvl="4"/>
            <a:r>
              <a:t>Nivel de texto 5</a:t>
            </a:r>
          </a:p>
        </p:txBody>
      </p:sp>
      <p:sp>
        <p:nvSpPr>
          <p:cNvPr id="226" name="Shape 226"/>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extLst>
      <p:ext uri="{BB962C8B-B14F-4D97-AF65-F5344CB8AC3E}">
        <p14:creationId xmlns:p14="http://schemas.microsoft.com/office/powerpoint/2010/main" val="664966658"/>
      </p:ext>
    </p:extLst>
  </p:cSld>
  <p:clrMapOvr>
    <a:masterClrMapping/>
  </p:clrMapOvr>
  <p:transition spd="med"/>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tx">
  <p:cSld name="Content + 4up">
    <p:bg>
      <p:bgPr>
        <a:solidFill>
          <a:srgbClr val="FFFFFF"/>
        </a:solidFill>
        <a:effectLst/>
      </p:bgPr>
    </p:bg>
    <p:spTree>
      <p:nvGrpSpPr>
        <p:cNvPr id="1" name=""/>
        <p:cNvGrpSpPr/>
        <p:nvPr/>
      </p:nvGrpSpPr>
      <p:grpSpPr>
        <a:xfrm>
          <a:off x="0" y="0"/>
          <a:ext cx="0" cy="0"/>
          <a:chOff x="0" y="0"/>
          <a:chExt cx="0" cy="0"/>
        </a:xfrm>
      </p:grpSpPr>
      <p:pic>
        <p:nvPicPr>
          <p:cNvPr id="233"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234" name="Shape 234"/>
          <p:cNvSpPr>
            <a:spLocks noGrp="1"/>
          </p:cNvSpPr>
          <p:nvPr>
            <p:ph type="pic" sz="quarter" idx="13"/>
          </p:nvPr>
        </p:nvSpPr>
        <p:spPr>
          <a:xfrm>
            <a:off x="4305301" y="358775"/>
            <a:ext cx="3785417" cy="3009900"/>
          </a:xfrm>
          <a:prstGeom prst="rect">
            <a:avLst/>
          </a:prstGeom>
        </p:spPr>
        <p:txBody>
          <a:bodyPr lIns="91439" tIns="45719" rIns="91439" bIns="45719"/>
          <a:lstStyle/>
          <a:p>
            <a:endParaRPr/>
          </a:p>
        </p:txBody>
      </p:sp>
      <p:sp>
        <p:nvSpPr>
          <p:cNvPr id="235" name="Shape 235"/>
          <p:cNvSpPr>
            <a:spLocks noGrp="1"/>
          </p:cNvSpPr>
          <p:nvPr>
            <p:ph type="pic" sz="quarter" idx="14"/>
          </p:nvPr>
        </p:nvSpPr>
        <p:spPr>
          <a:xfrm>
            <a:off x="4305300" y="3493742"/>
            <a:ext cx="3785416" cy="2881659"/>
          </a:xfrm>
          <a:prstGeom prst="rect">
            <a:avLst/>
          </a:prstGeom>
        </p:spPr>
        <p:txBody>
          <a:bodyPr lIns="91439" tIns="45719" rIns="91439" bIns="45719"/>
          <a:lstStyle/>
          <a:p>
            <a:endParaRPr/>
          </a:p>
        </p:txBody>
      </p:sp>
      <p:sp>
        <p:nvSpPr>
          <p:cNvPr id="236" name="Shape 236"/>
          <p:cNvSpPr>
            <a:spLocks noGrp="1"/>
          </p:cNvSpPr>
          <p:nvPr>
            <p:ph type="pic" sz="quarter" idx="15"/>
          </p:nvPr>
        </p:nvSpPr>
        <p:spPr>
          <a:xfrm>
            <a:off x="8226963" y="358775"/>
            <a:ext cx="3841212" cy="3009900"/>
          </a:xfrm>
          <a:prstGeom prst="rect">
            <a:avLst/>
          </a:prstGeom>
        </p:spPr>
        <p:txBody>
          <a:bodyPr lIns="91439" tIns="45719" rIns="91439" bIns="45719"/>
          <a:lstStyle/>
          <a:p>
            <a:endParaRPr/>
          </a:p>
        </p:txBody>
      </p:sp>
      <p:sp>
        <p:nvSpPr>
          <p:cNvPr id="237" name="Shape 237"/>
          <p:cNvSpPr>
            <a:spLocks noGrp="1"/>
          </p:cNvSpPr>
          <p:nvPr>
            <p:ph type="pic" sz="quarter" idx="16"/>
          </p:nvPr>
        </p:nvSpPr>
        <p:spPr>
          <a:xfrm>
            <a:off x="8226963" y="3493742"/>
            <a:ext cx="3841212" cy="2881659"/>
          </a:xfrm>
          <a:prstGeom prst="rect">
            <a:avLst/>
          </a:prstGeom>
        </p:spPr>
        <p:txBody>
          <a:bodyPr lIns="91439" tIns="45719" rIns="91439" bIns="45719"/>
          <a:lstStyle/>
          <a:p>
            <a:endParaRPr/>
          </a:p>
        </p:txBody>
      </p:sp>
      <p:sp>
        <p:nvSpPr>
          <p:cNvPr id="238" name="Shape 238"/>
          <p:cNvSpPr>
            <a:spLocks noGrp="1"/>
          </p:cNvSpPr>
          <p:nvPr>
            <p:ph type="title"/>
          </p:nvPr>
        </p:nvSpPr>
        <p:spPr>
          <a:xfrm>
            <a:off x="457201" y="355600"/>
            <a:ext cx="3606801" cy="752475"/>
          </a:xfrm>
          <a:prstGeom prst="rect">
            <a:avLst/>
          </a:prstGeom>
        </p:spPr>
        <p:txBody>
          <a:bodyPr>
            <a:normAutofit/>
          </a:bodyPr>
          <a:lstStyle/>
          <a:p>
            <a:r>
              <a:t>Texto del título</a:t>
            </a:r>
          </a:p>
        </p:txBody>
      </p:sp>
      <p:sp>
        <p:nvSpPr>
          <p:cNvPr id="239" name="Shape 239"/>
          <p:cNvSpPr>
            <a:spLocks noGrp="1"/>
          </p:cNvSpPr>
          <p:nvPr>
            <p:ph type="body" sz="quarter" idx="1"/>
          </p:nvPr>
        </p:nvSpPr>
        <p:spPr>
          <a:xfrm>
            <a:off x="485776" y="1609725"/>
            <a:ext cx="3578224" cy="4508499"/>
          </a:xfrm>
          <a:prstGeom prst="rect">
            <a:avLst/>
          </a:prstGeom>
        </p:spPr>
        <p:txBody>
          <a:bodyPr>
            <a:normAutofit/>
          </a:bodyPr>
          <a:lstStyle/>
          <a:p>
            <a:r>
              <a:t>Nivel de texto 1</a:t>
            </a:r>
          </a:p>
          <a:p>
            <a:pPr lvl="1"/>
            <a:r>
              <a:t>Nivel de texto 2</a:t>
            </a:r>
          </a:p>
          <a:p>
            <a:pPr lvl="2"/>
            <a:r>
              <a:t>Nivel de texto 3</a:t>
            </a:r>
          </a:p>
          <a:p>
            <a:pPr lvl="3"/>
            <a:r>
              <a:t>Nivel de texto 4</a:t>
            </a:r>
          </a:p>
          <a:p>
            <a:pPr lvl="4"/>
            <a:r>
              <a:t>Nivel de texto 5</a:t>
            </a:r>
          </a:p>
        </p:txBody>
      </p:sp>
      <p:sp>
        <p:nvSpPr>
          <p:cNvPr id="240" name="Shape 240"/>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extLst>
      <p:ext uri="{BB962C8B-B14F-4D97-AF65-F5344CB8AC3E}">
        <p14:creationId xmlns:p14="http://schemas.microsoft.com/office/powerpoint/2010/main" val="535590930"/>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x">
  <p:cSld name="COVERS">
    <p:spTree>
      <p:nvGrpSpPr>
        <p:cNvPr id="1" name=""/>
        <p:cNvGrpSpPr/>
        <p:nvPr/>
      </p:nvGrpSpPr>
      <p:grpSpPr>
        <a:xfrm>
          <a:off x="0" y="0"/>
          <a:ext cx="0" cy="0"/>
          <a:chOff x="0" y="0"/>
          <a:chExt cx="0" cy="0"/>
        </a:xfrm>
      </p:grpSpPr>
      <p:sp>
        <p:nvSpPr>
          <p:cNvPr id="247" name="Shape 247"/>
          <p:cNvSpPr/>
          <p:nvPr/>
        </p:nvSpPr>
        <p:spPr>
          <a:xfrm>
            <a:off x="374977" y="2577629"/>
            <a:ext cx="5180013" cy="1702744"/>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lvl1pPr>
              <a:defRPr sz="12000" b="1">
                <a:solidFill>
                  <a:srgbClr val="FFFFFF"/>
                </a:solidFill>
              </a:defRPr>
            </a:lvl1pPr>
          </a:lstStyle>
          <a:p>
            <a:r>
              <a:t>Covers</a:t>
            </a:r>
          </a:p>
        </p:txBody>
      </p:sp>
      <p:sp>
        <p:nvSpPr>
          <p:cNvPr id="248" name="Shape 248"/>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1252748545"/>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x">
  <p:cSld name="Title slide A: image box">
    <p:bg>
      <p:bgPr>
        <a:solidFill>
          <a:srgbClr val="FFFFFF"/>
        </a:solidFill>
        <a:effectLst/>
      </p:bgPr>
    </p:bg>
    <p:spTree>
      <p:nvGrpSpPr>
        <p:cNvPr id="1" name=""/>
        <p:cNvGrpSpPr/>
        <p:nvPr/>
      </p:nvGrpSpPr>
      <p:grpSpPr>
        <a:xfrm>
          <a:off x="0" y="0"/>
          <a:ext cx="0" cy="0"/>
          <a:chOff x="0" y="0"/>
          <a:chExt cx="0" cy="0"/>
        </a:xfrm>
      </p:grpSpPr>
      <p:sp>
        <p:nvSpPr>
          <p:cNvPr id="255" name="Shape 255"/>
          <p:cNvSpPr/>
          <p:nvPr/>
        </p:nvSpPr>
        <p:spPr>
          <a:xfrm>
            <a:off x="355599" y="6121400"/>
            <a:ext cx="2032001" cy="495300"/>
          </a:xfrm>
          <a:prstGeom prst="rect">
            <a:avLst/>
          </a:prstGeom>
          <a:solidFill>
            <a:srgbClr val="FFFFFF"/>
          </a:solidFill>
          <a:ln w="12700">
            <a:miter lim="400000"/>
          </a:ln>
        </p:spPr>
        <p:txBody>
          <a:bodyPr lIns="0" tIns="0" rIns="0" bIns="0" anchor="ctr"/>
          <a:lstStyle/>
          <a:p>
            <a:pPr algn="ctr">
              <a:defRPr>
                <a:solidFill>
                  <a:srgbClr val="FFFFFF"/>
                </a:solidFill>
              </a:defRPr>
            </a:pPr>
            <a:endParaRPr/>
          </a:p>
        </p:txBody>
      </p:sp>
      <p:sp>
        <p:nvSpPr>
          <p:cNvPr id="256" name="Shape 256"/>
          <p:cNvSpPr>
            <a:spLocks noGrp="1"/>
          </p:cNvSpPr>
          <p:nvPr>
            <p:ph type="pic" idx="13"/>
          </p:nvPr>
        </p:nvSpPr>
        <p:spPr>
          <a:xfrm>
            <a:off x="-2" y="-1"/>
            <a:ext cx="12192001" cy="6858001"/>
          </a:xfrm>
          <a:prstGeom prst="rect">
            <a:avLst/>
          </a:prstGeom>
        </p:spPr>
        <p:txBody>
          <a:bodyPr lIns="91439" tIns="45719" rIns="91439" bIns="45719"/>
          <a:lstStyle/>
          <a:p>
            <a:endParaRPr/>
          </a:p>
        </p:txBody>
      </p:sp>
      <p:sp>
        <p:nvSpPr>
          <p:cNvPr id="257" name="Shape 257"/>
          <p:cNvSpPr>
            <a:spLocks noGrp="1"/>
          </p:cNvSpPr>
          <p:nvPr>
            <p:ph type="pic" sz="quarter" idx="14"/>
          </p:nvPr>
        </p:nvSpPr>
        <p:spPr>
          <a:xfrm>
            <a:off x="8133618" y="361950"/>
            <a:ext cx="3575783" cy="495301"/>
          </a:xfrm>
          <a:prstGeom prst="rect">
            <a:avLst/>
          </a:prstGeom>
        </p:spPr>
        <p:txBody>
          <a:bodyPr lIns="91439" tIns="45719" rIns="91439" bIns="45719"/>
          <a:lstStyle/>
          <a:p>
            <a:endParaRPr/>
          </a:p>
        </p:txBody>
      </p:sp>
      <p:sp>
        <p:nvSpPr>
          <p:cNvPr id="258" name="Shape 258"/>
          <p:cNvSpPr>
            <a:spLocks noGrp="1"/>
          </p:cNvSpPr>
          <p:nvPr>
            <p:ph type="body" sz="quarter" idx="15"/>
          </p:nvPr>
        </p:nvSpPr>
        <p:spPr>
          <a:xfrm>
            <a:off x="485775" y="4429126"/>
            <a:ext cx="6448425" cy="1038526"/>
          </a:xfrm>
          <a:prstGeom prst="rect">
            <a:avLst/>
          </a:prstGeom>
        </p:spPr>
        <p:txBody>
          <a:bodyPr anchor="b"/>
          <a:lstStyle>
            <a:lvl1pPr>
              <a:spcBef>
                <a:spcPts val="0"/>
              </a:spcBef>
              <a:defRPr sz="1400">
                <a:solidFill>
                  <a:srgbClr val="FFFFFF"/>
                </a:solidFill>
              </a:defRPr>
            </a:lvl1pPr>
          </a:lstStyle>
          <a:p>
            <a:r>
              <a:t> </a:t>
            </a:r>
          </a:p>
        </p:txBody>
      </p:sp>
      <p:sp>
        <p:nvSpPr>
          <p:cNvPr id="259" name="Shape 259"/>
          <p:cNvSpPr>
            <a:spLocks noGrp="1"/>
          </p:cNvSpPr>
          <p:nvPr>
            <p:ph type="title"/>
          </p:nvPr>
        </p:nvSpPr>
        <p:spPr>
          <a:xfrm>
            <a:off x="448437" y="1609725"/>
            <a:ext cx="6485764" cy="1600200"/>
          </a:xfrm>
          <a:prstGeom prst="rect">
            <a:avLst/>
          </a:prstGeom>
        </p:spPr>
        <p:txBody>
          <a:bodyPr anchor="b">
            <a:normAutofit/>
          </a:bodyPr>
          <a:lstStyle>
            <a:lvl1pPr>
              <a:lnSpc>
                <a:spcPct val="90000"/>
              </a:lnSpc>
              <a:defRPr sz="4800">
                <a:solidFill>
                  <a:srgbClr val="FFFFFF"/>
                </a:solidFill>
              </a:defRPr>
            </a:lvl1pPr>
          </a:lstStyle>
          <a:p>
            <a:r>
              <a:t>Texto del título</a:t>
            </a:r>
          </a:p>
        </p:txBody>
      </p:sp>
      <p:sp>
        <p:nvSpPr>
          <p:cNvPr id="260" name="Shape 260"/>
          <p:cNvSpPr>
            <a:spLocks noGrp="1"/>
          </p:cNvSpPr>
          <p:nvPr>
            <p:ph type="body" sz="quarter" idx="1"/>
          </p:nvPr>
        </p:nvSpPr>
        <p:spPr>
          <a:xfrm>
            <a:off x="462026" y="3405820"/>
            <a:ext cx="6447769" cy="807914"/>
          </a:xfrm>
          <a:prstGeom prst="rect">
            <a:avLst/>
          </a:prstGeom>
        </p:spPr>
        <p:txBody>
          <a:bodyPr>
            <a:normAutofit/>
          </a:bodyPr>
          <a:lstStyle>
            <a:lvl1pPr>
              <a:defRPr sz="2400">
                <a:solidFill>
                  <a:srgbClr val="FFFFFF"/>
                </a:solidFill>
              </a:defRPr>
            </a:lvl1pPr>
            <a:lvl2pPr marL="0" indent="457200">
              <a:buSzTx/>
              <a:buNone/>
              <a:defRPr sz="2400">
                <a:solidFill>
                  <a:srgbClr val="FFFFFF"/>
                </a:solidFill>
              </a:defRPr>
            </a:lvl2pPr>
            <a:lvl3pPr marL="0" indent="914400">
              <a:buSzTx/>
              <a:buNone/>
              <a:defRPr sz="2400">
                <a:solidFill>
                  <a:srgbClr val="FFFFFF"/>
                </a:solidFill>
              </a:defRPr>
            </a:lvl3pPr>
            <a:lvl4pPr marL="0" indent="1371600">
              <a:buSzTx/>
              <a:buNone/>
              <a:defRPr sz="2400">
                <a:solidFill>
                  <a:srgbClr val="FFFFFF"/>
                </a:solidFill>
              </a:defRPr>
            </a:lvl4pPr>
            <a:lvl5pPr marL="0" indent="1828800">
              <a:buSzTx/>
              <a:buNone/>
              <a:defRPr sz="2400">
                <a:solidFill>
                  <a:srgbClr val="FFFFFF"/>
                </a:solidFill>
              </a:defRPr>
            </a:lvl5pPr>
          </a:lstStyle>
          <a:p>
            <a:r>
              <a:t>Nivel de texto 1</a:t>
            </a:r>
          </a:p>
          <a:p>
            <a:pPr lvl="1"/>
            <a:r>
              <a:t>Nivel de texto 2</a:t>
            </a:r>
          </a:p>
          <a:p>
            <a:pPr lvl="2"/>
            <a:r>
              <a:t>Nivel de texto 3</a:t>
            </a:r>
          </a:p>
          <a:p>
            <a:pPr lvl="3"/>
            <a:r>
              <a:t>Nivel de texto 4</a:t>
            </a:r>
          </a:p>
          <a:p>
            <a:pPr lvl="4"/>
            <a:r>
              <a:t>Nivel de texto 5</a:t>
            </a:r>
          </a:p>
        </p:txBody>
      </p:sp>
      <p:sp>
        <p:nvSpPr>
          <p:cNvPr id="261" name="Shape 261"/>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4136666804"/>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x">
  <p:cSld name="Split">
    <p:bg>
      <p:bgPr>
        <a:solidFill>
          <a:srgbClr val="FFFFFF"/>
        </a:solidFill>
        <a:effectLst/>
      </p:bgPr>
    </p:bg>
    <p:spTree>
      <p:nvGrpSpPr>
        <p:cNvPr id="1" name=""/>
        <p:cNvGrpSpPr/>
        <p:nvPr/>
      </p:nvGrpSpPr>
      <p:grpSpPr>
        <a:xfrm>
          <a:off x="0" y="0"/>
          <a:ext cx="0" cy="0"/>
          <a:chOff x="0" y="0"/>
          <a:chExt cx="0" cy="0"/>
        </a:xfrm>
      </p:grpSpPr>
      <p:pic>
        <p:nvPicPr>
          <p:cNvPr id="111" name="image2.png"/>
          <p:cNvPicPr>
            <a:picLocks noChangeAspect="1"/>
          </p:cNvPicPr>
          <p:nvPr/>
        </p:nvPicPr>
        <p:blipFill>
          <a:blip r:embed="rId2"/>
          <a:stretch>
            <a:fillRect/>
          </a:stretch>
        </p:blipFill>
        <p:spPr>
          <a:xfrm>
            <a:off x="485608" y="6515100"/>
            <a:ext cx="630937" cy="131446"/>
          </a:xfrm>
          <a:prstGeom prst="rect">
            <a:avLst/>
          </a:prstGeom>
          <a:ln w="12700">
            <a:miter lim="400000"/>
          </a:ln>
        </p:spPr>
      </p:pic>
      <p:sp>
        <p:nvSpPr>
          <p:cNvPr id="112" name="Shape 112"/>
          <p:cNvSpPr/>
          <p:nvPr/>
        </p:nvSpPr>
        <p:spPr>
          <a:xfrm>
            <a:off x="6211018" y="0"/>
            <a:ext cx="5980983" cy="685800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lnTo>
                  <a:pt x="0" y="21600"/>
                </a:lnTo>
                <a:lnTo>
                  <a:pt x="0" y="11200"/>
                </a:lnTo>
                <a:lnTo>
                  <a:pt x="480" y="10800"/>
                </a:lnTo>
                <a:lnTo>
                  <a:pt x="0" y="10400"/>
                </a:lnTo>
                <a:close/>
              </a:path>
            </a:pathLst>
          </a:custGeom>
          <a:solidFill>
            <a:srgbClr val="002C77"/>
          </a:solidFill>
          <a:ln w="12700">
            <a:miter lim="400000"/>
          </a:ln>
        </p:spPr>
        <p:txBody>
          <a:bodyPr lIns="0" tIns="0" rIns="0" bIns="0" anchor="ctr"/>
          <a:lstStyle/>
          <a:p>
            <a:pPr algn="ctr">
              <a:defRPr>
                <a:solidFill>
                  <a:srgbClr val="FFFFFF"/>
                </a:solidFill>
              </a:defRPr>
            </a:pPr>
            <a:endParaRPr/>
          </a:p>
        </p:txBody>
      </p:sp>
      <p:sp>
        <p:nvSpPr>
          <p:cNvPr id="113" name="Shape 113"/>
          <p:cNvSpPr>
            <a:spLocks noGrp="1"/>
          </p:cNvSpPr>
          <p:nvPr>
            <p:ph type="title"/>
          </p:nvPr>
        </p:nvSpPr>
        <p:spPr>
          <a:xfrm>
            <a:off x="457201" y="355600"/>
            <a:ext cx="5524501" cy="495300"/>
          </a:xfrm>
          <a:prstGeom prst="rect">
            <a:avLst/>
          </a:prstGeom>
        </p:spPr>
        <p:txBody>
          <a:bodyPr>
            <a:normAutofit/>
          </a:bodyPr>
          <a:lstStyle/>
          <a:p>
            <a:r>
              <a:t>Texto del título</a:t>
            </a:r>
          </a:p>
        </p:txBody>
      </p:sp>
      <p:sp>
        <p:nvSpPr>
          <p:cNvPr id="114" name="Shape 114"/>
          <p:cNvSpPr>
            <a:spLocks noGrp="1"/>
          </p:cNvSpPr>
          <p:nvPr>
            <p:ph type="body" sz="quarter" idx="1"/>
          </p:nvPr>
        </p:nvSpPr>
        <p:spPr>
          <a:xfrm>
            <a:off x="485776" y="806807"/>
            <a:ext cx="5495925" cy="318477"/>
          </a:xfrm>
          <a:prstGeom prst="rect">
            <a:avLst/>
          </a:prstGeom>
        </p:spPr>
        <p:txBody>
          <a:bodyPr>
            <a:normAutofit/>
          </a:bodyPr>
          <a:lstStyle>
            <a:lvl1pPr>
              <a:defRPr b="1">
                <a:solidFill>
                  <a:srgbClr val="002C77"/>
                </a:solidFill>
              </a:defRPr>
            </a:lvl1pPr>
            <a:lvl2pPr marL="0" indent="457200">
              <a:buSzTx/>
              <a:buNone/>
              <a:defRPr b="1">
                <a:solidFill>
                  <a:srgbClr val="002C77"/>
                </a:solidFill>
              </a:defRPr>
            </a:lvl2pPr>
            <a:lvl3pPr marL="0" indent="914400">
              <a:buSzTx/>
              <a:buNone/>
              <a:defRPr b="1">
                <a:solidFill>
                  <a:srgbClr val="002C77"/>
                </a:solidFill>
              </a:defRPr>
            </a:lvl3pPr>
            <a:lvl4pPr marL="0" indent="1371600">
              <a:buSzTx/>
              <a:buNone/>
              <a:defRPr b="1">
                <a:solidFill>
                  <a:srgbClr val="002C77"/>
                </a:solidFill>
              </a:defRPr>
            </a:lvl4pPr>
            <a:lvl5pPr marL="0" indent="1828800">
              <a:buSzTx/>
              <a:buNone/>
              <a:defRPr b="1">
                <a:solidFill>
                  <a:srgbClr val="002C77"/>
                </a:solidFill>
              </a:defRPr>
            </a:lvl5pPr>
          </a:lstStyle>
          <a:p>
            <a:r>
              <a:t>Nivel de texto 1</a:t>
            </a:r>
          </a:p>
          <a:p>
            <a:pPr lvl="1"/>
            <a:r>
              <a:t>Nivel de texto 2</a:t>
            </a:r>
          </a:p>
          <a:p>
            <a:pPr lvl="2"/>
            <a:r>
              <a:t>Nivel de texto 3</a:t>
            </a:r>
          </a:p>
          <a:p>
            <a:pPr lvl="3"/>
            <a:r>
              <a:t>Nivel de texto 4</a:t>
            </a:r>
          </a:p>
          <a:p>
            <a:pPr lvl="4"/>
            <a:r>
              <a:t>Nivel de texto 5</a:t>
            </a:r>
          </a:p>
        </p:txBody>
      </p:sp>
      <p:sp>
        <p:nvSpPr>
          <p:cNvPr id="115" name="Shape 115"/>
          <p:cNvSpPr>
            <a:spLocks noGrp="1"/>
          </p:cNvSpPr>
          <p:nvPr>
            <p:ph type="sldNum" sz="quarter" idx="2"/>
          </p:nvPr>
        </p:nvSpPr>
        <p:spPr>
          <a:xfrm>
            <a:off x="10439400" y="6516006"/>
            <a:ext cx="1270000" cy="1270001"/>
          </a:xfrm>
          <a:prstGeom prst="rect">
            <a:avLst/>
          </a:prstGeom>
        </p:spPr>
        <p:txBody>
          <a:bodyPr lIns="0" tIns="0" rIns="0" bIns="0" anchor="t"/>
          <a:lstStyle>
            <a:lvl1pPr>
              <a:defRPr sz="800"/>
            </a:lvl1pPr>
          </a:lstStyle>
          <a:p>
            <a:fld id="{86CB4B4D-7CA3-9044-876B-883B54F8677D}" type="slidenum">
              <a:t>‹Nº›</a:t>
            </a:fld>
            <a:endParaRPr/>
          </a:p>
        </p:txBody>
      </p:sp>
    </p:spTree>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tx">
  <p:cSld name="1_Title slide A: image box">
    <p:bg>
      <p:bgPr>
        <a:solidFill>
          <a:srgbClr val="002C77"/>
        </a:solidFill>
        <a:effectLst/>
      </p:bgPr>
    </p:bg>
    <p:spTree>
      <p:nvGrpSpPr>
        <p:cNvPr id="1" name=""/>
        <p:cNvGrpSpPr/>
        <p:nvPr/>
      </p:nvGrpSpPr>
      <p:grpSpPr>
        <a:xfrm>
          <a:off x="0" y="0"/>
          <a:ext cx="0" cy="0"/>
          <a:chOff x="0" y="0"/>
          <a:chExt cx="0" cy="0"/>
        </a:xfrm>
      </p:grpSpPr>
      <p:sp>
        <p:nvSpPr>
          <p:cNvPr id="268" name="Shape 268"/>
          <p:cNvSpPr/>
          <p:nvPr/>
        </p:nvSpPr>
        <p:spPr>
          <a:xfrm>
            <a:off x="355599" y="6121400"/>
            <a:ext cx="2032001" cy="495300"/>
          </a:xfrm>
          <a:prstGeom prst="rect">
            <a:avLst/>
          </a:prstGeom>
          <a:solidFill>
            <a:srgbClr val="202020"/>
          </a:solidFill>
          <a:ln w="12700">
            <a:miter lim="400000"/>
          </a:ln>
        </p:spPr>
        <p:txBody>
          <a:bodyPr lIns="0" tIns="0" rIns="0" bIns="0" anchor="ctr"/>
          <a:lstStyle/>
          <a:p>
            <a:pPr algn="ctr">
              <a:defRPr>
                <a:solidFill>
                  <a:srgbClr val="FFFFFF"/>
                </a:solidFill>
              </a:defRPr>
            </a:pPr>
            <a:endParaRPr/>
          </a:p>
        </p:txBody>
      </p:sp>
      <p:sp>
        <p:nvSpPr>
          <p:cNvPr id="269" name="Shape 269"/>
          <p:cNvSpPr>
            <a:spLocks noGrp="1"/>
          </p:cNvSpPr>
          <p:nvPr>
            <p:ph type="pic" idx="13"/>
          </p:nvPr>
        </p:nvSpPr>
        <p:spPr>
          <a:xfrm>
            <a:off x="-2" y="-1"/>
            <a:ext cx="12192001" cy="6858001"/>
          </a:xfrm>
          <a:prstGeom prst="rect">
            <a:avLst/>
          </a:prstGeom>
        </p:spPr>
        <p:txBody>
          <a:bodyPr lIns="91439" tIns="45719" rIns="91439" bIns="45719"/>
          <a:lstStyle/>
          <a:p>
            <a:endParaRPr/>
          </a:p>
        </p:txBody>
      </p:sp>
      <p:sp>
        <p:nvSpPr>
          <p:cNvPr id="270" name="Shape 270"/>
          <p:cNvSpPr>
            <a:spLocks noGrp="1"/>
          </p:cNvSpPr>
          <p:nvPr>
            <p:ph type="pic" sz="quarter" idx="14"/>
          </p:nvPr>
        </p:nvSpPr>
        <p:spPr>
          <a:xfrm>
            <a:off x="8133618" y="361950"/>
            <a:ext cx="3575783" cy="495301"/>
          </a:xfrm>
          <a:prstGeom prst="rect">
            <a:avLst/>
          </a:prstGeom>
        </p:spPr>
        <p:txBody>
          <a:bodyPr lIns="91439" tIns="45719" rIns="91439" bIns="45719"/>
          <a:lstStyle/>
          <a:p>
            <a:endParaRPr/>
          </a:p>
        </p:txBody>
      </p:sp>
      <p:sp>
        <p:nvSpPr>
          <p:cNvPr id="271" name="Shape 271"/>
          <p:cNvSpPr>
            <a:spLocks noGrp="1"/>
          </p:cNvSpPr>
          <p:nvPr>
            <p:ph type="body" sz="quarter" idx="15"/>
          </p:nvPr>
        </p:nvSpPr>
        <p:spPr>
          <a:xfrm>
            <a:off x="485775" y="4429126"/>
            <a:ext cx="6448425" cy="1038526"/>
          </a:xfrm>
          <a:prstGeom prst="rect">
            <a:avLst/>
          </a:prstGeom>
        </p:spPr>
        <p:txBody>
          <a:bodyPr anchor="b"/>
          <a:lstStyle>
            <a:lvl1pPr>
              <a:spcBef>
                <a:spcPts val="0"/>
              </a:spcBef>
              <a:defRPr sz="1400"/>
            </a:lvl1pPr>
          </a:lstStyle>
          <a:p>
            <a:r>
              <a:t> </a:t>
            </a:r>
          </a:p>
        </p:txBody>
      </p:sp>
      <p:sp>
        <p:nvSpPr>
          <p:cNvPr id="272" name="Shape 272"/>
          <p:cNvSpPr>
            <a:spLocks noGrp="1"/>
          </p:cNvSpPr>
          <p:nvPr>
            <p:ph type="title"/>
          </p:nvPr>
        </p:nvSpPr>
        <p:spPr>
          <a:xfrm>
            <a:off x="448437" y="1609725"/>
            <a:ext cx="6485764" cy="1600200"/>
          </a:xfrm>
          <a:prstGeom prst="rect">
            <a:avLst/>
          </a:prstGeom>
        </p:spPr>
        <p:txBody>
          <a:bodyPr anchor="b">
            <a:normAutofit/>
          </a:bodyPr>
          <a:lstStyle>
            <a:lvl1pPr>
              <a:lnSpc>
                <a:spcPct val="90000"/>
              </a:lnSpc>
              <a:defRPr sz="4800">
                <a:solidFill>
                  <a:srgbClr val="202020"/>
                </a:solidFill>
              </a:defRPr>
            </a:lvl1pPr>
          </a:lstStyle>
          <a:p>
            <a:r>
              <a:t>Texto del título</a:t>
            </a:r>
          </a:p>
        </p:txBody>
      </p:sp>
      <p:sp>
        <p:nvSpPr>
          <p:cNvPr id="273" name="Shape 273"/>
          <p:cNvSpPr>
            <a:spLocks noGrp="1"/>
          </p:cNvSpPr>
          <p:nvPr>
            <p:ph type="body" sz="quarter" idx="1"/>
          </p:nvPr>
        </p:nvSpPr>
        <p:spPr>
          <a:xfrm>
            <a:off x="462026" y="3405820"/>
            <a:ext cx="6447769" cy="807914"/>
          </a:xfrm>
          <a:prstGeom prst="rect">
            <a:avLst/>
          </a:prstGeom>
        </p:spPr>
        <p:txBody>
          <a:bodyPr>
            <a:normAutofit/>
          </a:bodyPr>
          <a:lstStyle>
            <a:lvl1pPr>
              <a:defRPr sz="2400"/>
            </a:lvl1pPr>
            <a:lvl2pPr marL="0" indent="457200">
              <a:buSzTx/>
              <a:buNone/>
              <a:defRPr sz="2400"/>
            </a:lvl2pPr>
            <a:lvl3pPr marL="0" indent="914400">
              <a:buSzTx/>
              <a:buNone/>
              <a:defRPr sz="2400"/>
            </a:lvl3pPr>
            <a:lvl4pPr marL="0" indent="1371600">
              <a:buSzTx/>
              <a:buNone/>
              <a:defRPr sz="2400"/>
            </a:lvl4pPr>
            <a:lvl5pPr marL="0" indent="1828800">
              <a:buSzTx/>
              <a:buNone/>
              <a:defRPr sz="2400"/>
            </a:lvl5pPr>
          </a:lstStyle>
          <a:p>
            <a:r>
              <a:t>Nivel de texto 1</a:t>
            </a:r>
          </a:p>
          <a:p>
            <a:pPr lvl="1"/>
            <a:r>
              <a:t>Nivel de texto 2</a:t>
            </a:r>
          </a:p>
          <a:p>
            <a:pPr lvl="2"/>
            <a:r>
              <a:t>Nivel de texto 3</a:t>
            </a:r>
          </a:p>
          <a:p>
            <a:pPr lvl="3"/>
            <a:r>
              <a:t>Nivel de texto 4</a:t>
            </a:r>
          </a:p>
          <a:p>
            <a:pPr lvl="4"/>
            <a:r>
              <a:t>Nivel de texto 5</a:t>
            </a:r>
          </a:p>
        </p:txBody>
      </p:sp>
      <p:sp>
        <p:nvSpPr>
          <p:cNvPr id="274" name="Shape 274"/>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2249433569"/>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tx">
  <p:cSld name="Title slide A: image light box">
    <p:bg>
      <p:bgPr>
        <a:solidFill>
          <a:srgbClr val="76D3FF"/>
        </a:solidFill>
        <a:effectLst/>
      </p:bgPr>
    </p:bg>
    <p:spTree>
      <p:nvGrpSpPr>
        <p:cNvPr id="1" name=""/>
        <p:cNvGrpSpPr/>
        <p:nvPr/>
      </p:nvGrpSpPr>
      <p:grpSpPr>
        <a:xfrm>
          <a:off x="0" y="0"/>
          <a:ext cx="0" cy="0"/>
          <a:chOff x="0" y="0"/>
          <a:chExt cx="0" cy="0"/>
        </a:xfrm>
      </p:grpSpPr>
      <p:sp>
        <p:nvSpPr>
          <p:cNvPr id="281" name="Shape 281"/>
          <p:cNvSpPr/>
          <p:nvPr/>
        </p:nvSpPr>
        <p:spPr>
          <a:xfrm>
            <a:off x="355599" y="6121400"/>
            <a:ext cx="2032001" cy="495300"/>
          </a:xfrm>
          <a:prstGeom prst="rect">
            <a:avLst/>
          </a:prstGeom>
          <a:solidFill>
            <a:srgbClr val="002C77"/>
          </a:solidFill>
          <a:ln w="12700">
            <a:miter lim="400000"/>
          </a:ln>
        </p:spPr>
        <p:txBody>
          <a:bodyPr lIns="0" tIns="0" rIns="0" bIns="0" anchor="ctr"/>
          <a:lstStyle/>
          <a:p>
            <a:pPr algn="ctr">
              <a:defRPr>
                <a:solidFill>
                  <a:srgbClr val="FFFFFF"/>
                </a:solidFill>
              </a:defRPr>
            </a:pPr>
            <a:endParaRPr/>
          </a:p>
        </p:txBody>
      </p:sp>
      <p:pic>
        <p:nvPicPr>
          <p:cNvPr id="282" name="image2.png"/>
          <p:cNvPicPr>
            <a:picLocks noChangeAspect="1"/>
          </p:cNvPicPr>
          <p:nvPr/>
        </p:nvPicPr>
        <p:blipFill>
          <a:blip r:embed="rId2"/>
          <a:stretch>
            <a:fillRect/>
          </a:stretch>
        </p:blipFill>
        <p:spPr>
          <a:xfrm>
            <a:off x="486802" y="341761"/>
            <a:ext cx="1623976" cy="338329"/>
          </a:xfrm>
          <a:prstGeom prst="rect">
            <a:avLst/>
          </a:prstGeom>
          <a:ln w="12700">
            <a:miter lim="400000"/>
          </a:ln>
        </p:spPr>
      </p:pic>
      <p:sp>
        <p:nvSpPr>
          <p:cNvPr id="283" name="Shape 283"/>
          <p:cNvSpPr>
            <a:spLocks noGrp="1"/>
          </p:cNvSpPr>
          <p:nvPr>
            <p:ph type="pic" idx="13"/>
          </p:nvPr>
        </p:nvSpPr>
        <p:spPr>
          <a:xfrm>
            <a:off x="-2" y="-1"/>
            <a:ext cx="12192001" cy="6858001"/>
          </a:xfrm>
          <a:prstGeom prst="rect">
            <a:avLst/>
          </a:prstGeom>
        </p:spPr>
        <p:txBody>
          <a:bodyPr lIns="91439" tIns="45719" rIns="91439" bIns="45719"/>
          <a:lstStyle/>
          <a:p>
            <a:endParaRPr/>
          </a:p>
        </p:txBody>
      </p:sp>
      <p:sp>
        <p:nvSpPr>
          <p:cNvPr id="284" name="Shape 284"/>
          <p:cNvSpPr>
            <a:spLocks noGrp="1"/>
          </p:cNvSpPr>
          <p:nvPr>
            <p:ph type="pic" sz="quarter" idx="14"/>
          </p:nvPr>
        </p:nvSpPr>
        <p:spPr>
          <a:xfrm>
            <a:off x="8133618" y="361950"/>
            <a:ext cx="3575783" cy="495301"/>
          </a:xfrm>
          <a:prstGeom prst="rect">
            <a:avLst/>
          </a:prstGeom>
        </p:spPr>
        <p:txBody>
          <a:bodyPr lIns="91439" tIns="45719" rIns="91439" bIns="45719"/>
          <a:lstStyle/>
          <a:p>
            <a:endParaRPr/>
          </a:p>
        </p:txBody>
      </p:sp>
      <p:sp>
        <p:nvSpPr>
          <p:cNvPr id="285" name="Shape 285"/>
          <p:cNvSpPr>
            <a:spLocks noGrp="1"/>
          </p:cNvSpPr>
          <p:nvPr>
            <p:ph type="body" sz="quarter" idx="15"/>
          </p:nvPr>
        </p:nvSpPr>
        <p:spPr>
          <a:xfrm>
            <a:off x="485775" y="4429126"/>
            <a:ext cx="6448425" cy="1038526"/>
          </a:xfrm>
          <a:prstGeom prst="rect">
            <a:avLst/>
          </a:prstGeom>
        </p:spPr>
        <p:txBody>
          <a:bodyPr anchor="b"/>
          <a:lstStyle>
            <a:lvl1pPr>
              <a:spcBef>
                <a:spcPts val="0"/>
              </a:spcBef>
              <a:defRPr sz="1400">
                <a:solidFill>
                  <a:srgbClr val="002C77"/>
                </a:solidFill>
              </a:defRPr>
            </a:lvl1pPr>
          </a:lstStyle>
          <a:p>
            <a:r>
              <a:t> </a:t>
            </a:r>
          </a:p>
        </p:txBody>
      </p:sp>
      <p:sp>
        <p:nvSpPr>
          <p:cNvPr id="286" name="Shape 286"/>
          <p:cNvSpPr>
            <a:spLocks noGrp="1"/>
          </p:cNvSpPr>
          <p:nvPr>
            <p:ph type="title"/>
          </p:nvPr>
        </p:nvSpPr>
        <p:spPr>
          <a:xfrm>
            <a:off x="448437" y="1609725"/>
            <a:ext cx="6485764" cy="1600200"/>
          </a:xfrm>
          <a:prstGeom prst="rect">
            <a:avLst/>
          </a:prstGeom>
        </p:spPr>
        <p:txBody>
          <a:bodyPr anchor="b">
            <a:normAutofit/>
          </a:bodyPr>
          <a:lstStyle>
            <a:lvl1pPr>
              <a:lnSpc>
                <a:spcPct val="90000"/>
              </a:lnSpc>
              <a:defRPr sz="4800"/>
            </a:lvl1pPr>
          </a:lstStyle>
          <a:p>
            <a:r>
              <a:t>Texto del título</a:t>
            </a:r>
          </a:p>
        </p:txBody>
      </p:sp>
      <p:sp>
        <p:nvSpPr>
          <p:cNvPr id="287" name="Shape 287"/>
          <p:cNvSpPr>
            <a:spLocks noGrp="1"/>
          </p:cNvSpPr>
          <p:nvPr>
            <p:ph type="body" sz="quarter" idx="1"/>
          </p:nvPr>
        </p:nvSpPr>
        <p:spPr>
          <a:xfrm>
            <a:off x="462026" y="3405820"/>
            <a:ext cx="6447769" cy="807914"/>
          </a:xfrm>
          <a:prstGeom prst="rect">
            <a:avLst/>
          </a:prstGeom>
        </p:spPr>
        <p:txBody>
          <a:bodyPr>
            <a:normAutofit/>
          </a:bodyPr>
          <a:lstStyle>
            <a:lvl1pPr>
              <a:defRPr sz="2400">
                <a:solidFill>
                  <a:srgbClr val="002C77"/>
                </a:solidFill>
              </a:defRPr>
            </a:lvl1pPr>
            <a:lvl2pPr marL="0" indent="457200">
              <a:buSzTx/>
              <a:buNone/>
              <a:defRPr sz="2400">
                <a:solidFill>
                  <a:srgbClr val="002C77"/>
                </a:solidFill>
              </a:defRPr>
            </a:lvl2pPr>
            <a:lvl3pPr marL="0" indent="914400">
              <a:buSzTx/>
              <a:buNone/>
              <a:defRPr sz="2400">
                <a:solidFill>
                  <a:srgbClr val="002C77"/>
                </a:solidFill>
              </a:defRPr>
            </a:lvl3pPr>
            <a:lvl4pPr marL="0" indent="1371600">
              <a:buSzTx/>
              <a:buNone/>
              <a:defRPr sz="2400">
                <a:solidFill>
                  <a:srgbClr val="002C77"/>
                </a:solidFill>
              </a:defRPr>
            </a:lvl4pPr>
            <a:lvl5pPr marL="0" indent="1828800">
              <a:buSzTx/>
              <a:buNone/>
              <a:defRPr sz="2400">
                <a:solidFill>
                  <a:srgbClr val="002C77"/>
                </a:solidFill>
              </a:defRPr>
            </a:lvl5pPr>
          </a:lstStyle>
          <a:p>
            <a:r>
              <a:t>Nivel de texto 1</a:t>
            </a:r>
          </a:p>
          <a:p>
            <a:pPr lvl="1"/>
            <a:r>
              <a:t>Nivel de texto 2</a:t>
            </a:r>
          </a:p>
          <a:p>
            <a:pPr lvl="2"/>
            <a:r>
              <a:t>Nivel de texto 3</a:t>
            </a:r>
          </a:p>
          <a:p>
            <a:pPr lvl="3"/>
            <a:r>
              <a:t>Nivel de texto 4</a:t>
            </a:r>
          </a:p>
          <a:p>
            <a:pPr lvl="4"/>
            <a:r>
              <a:t>Nivel de texto 5</a:t>
            </a:r>
          </a:p>
        </p:txBody>
      </p:sp>
      <p:sp>
        <p:nvSpPr>
          <p:cNvPr id="288" name="Shape 288"/>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1708342256"/>
      </p:ext>
    </p:extLst>
  </p:cSld>
  <p:clrMapOvr>
    <a:masterClrMapping/>
  </p:clrMapOvr>
  <p:transition spd="med"/>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x">
  <p:cSld name="Title slide A">
    <p:bg>
      <p:bgPr>
        <a:solidFill>
          <a:srgbClr val="FFFFFF"/>
        </a:solidFill>
        <a:effectLst/>
      </p:bgPr>
    </p:bg>
    <p:spTree>
      <p:nvGrpSpPr>
        <p:cNvPr id="1" name=""/>
        <p:cNvGrpSpPr/>
        <p:nvPr/>
      </p:nvGrpSpPr>
      <p:grpSpPr>
        <a:xfrm>
          <a:off x="0" y="0"/>
          <a:ext cx="0" cy="0"/>
          <a:chOff x="0" y="0"/>
          <a:chExt cx="0" cy="0"/>
        </a:xfrm>
      </p:grpSpPr>
      <p:pic>
        <p:nvPicPr>
          <p:cNvPr id="295" name="image2.png"/>
          <p:cNvPicPr>
            <a:picLocks noChangeAspect="1"/>
          </p:cNvPicPr>
          <p:nvPr/>
        </p:nvPicPr>
        <p:blipFill>
          <a:blip r:embed="rId2"/>
          <a:stretch>
            <a:fillRect/>
          </a:stretch>
        </p:blipFill>
        <p:spPr>
          <a:xfrm>
            <a:off x="486802" y="341761"/>
            <a:ext cx="1623976" cy="338329"/>
          </a:xfrm>
          <a:prstGeom prst="rect">
            <a:avLst/>
          </a:prstGeom>
          <a:ln w="12700">
            <a:miter lim="400000"/>
          </a:ln>
        </p:spPr>
      </p:pic>
      <p:sp>
        <p:nvSpPr>
          <p:cNvPr id="296" name="Shape 296"/>
          <p:cNvSpPr/>
          <p:nvPr/>
        </p:nvSpPr>
        <p:spPr>
          <a:xfrm>
            <a:off x="485774" y="6257135"/>
            <a:ext cx="1784624" cy="1397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lvl1pPr>
              <a:defRPr sz="1000"/>
            </a:lvl1pPr>
          </a:lstStyle>
          <a:p>
            <a:r>
              <a:t>A business of Marsh McLennan</a:t>
            </a:r>
          </a:p>
        </p:txBody>
      </p:sp>
      <p:sp>
        <p:nvSpPr>
          <p:cNvPr id="297" name="Shape 297"/>
          <p:cNvSpPr>
            <a:spLocks noGrp="1"/>
          </p:cNvSpPr>
          <p:nvPr>
            <p:ph type="body" sz="quarter" idx="13"/>
          </p:nvPr>
        </p:nvSpPr>
        <p:spPr>
          <a:xfrm>
            <a:off x="485775" y="4870889"/>
            <a:ext cx="7400925" cy="1038526"/>
          </a:xfrm>
          <a:prstGeom prst="rect">
            <a:avLst/>
          </a:prstGeom>
        </p:spPr>
        <p:txBody>
          <a:bodyPr anchor="b"/>
          <a:lstStyle>
            <a:lvl1pPr>
              <a:spcBef>
                <a:spcPts val="0"/>
              </a:spcBef>
              <a:defRPr sz="1400"/>
            </a:lvl1pPr>
          </a:lstStyle>
          <a:p>
            <a:r>
              <a:t> </a:t>
            </a:r>
          </a:p>
        </p:txBody>
      </p:sp>
      <p:sp>
        <p:nvSpPr>
          <p:cNvPr id="298" name="Shape 298"/>
          <p:cNvSpPr>
            <a:spLocks noGrp="1"/>
          </p:cNvSpPr>
          <p:nvPr>
            <p:ph type="pic" sz="quarter" idx="14"/>
          </p:nvPr>
        </p:nvSpPr>
        <p:spPr>
          <a:xfrm>
            <a:off x="8133618" y="361950"/>
            <a:ext cx="3575783" cy="495301"/>
          </a:xfrm>
          <a:prstGeom prst="rect">
            <a:avLst/>
          </a:prstGeom>
        </p:spPr>
        <p:txBody>
          <a:bodyPr lIns="91439" tIns="45719" rIns="91439" bIns="45719"/>
          <a:lstStyle/>
          <a:p>
            <a:endParaRPr/>
          </a:p>
        </p:txBody>
      </p:sp>
      <p:sp>
        <p:nvSpPr>
          <p:cNvPr id="299" name="Shape 299"/>
          <p:cNvSpPr>
            <a:spLocks noGrp="1"/>
          </p:cNvSpPr>
          <p:nvPr>
            <p:ph type="title"/>
          </p:nvPr>
        </p:nvSpPr>
        <p:spPr>
          <a:xfrm>
            <a:off x="448437" y="1765792"/>
            <a:ext cx="9365489" cy="1602883"/>
          </a:xfrm>
          <a:prstGeom prst="rect">
            <a:avLst/>
          </a:prstGeom>
        </p:spPr>
        <p:txBody>
          <a:bodyPr>
            <a:normAutofit/>
          </a:bodyPr>
          <a:lstStyle>
            <a:lvl1pPr>
              <a:lnSpc>
                <a:spcPct val="90000"/>
              </a:lnSpc>
              <a:defRPr sz="6000"/>
            </a:lvl1pPr>
          </a:lstStyle>
          <a:p>
            <a:r>
              <a:t>Texto del título</a:t>
            </a:r>
          </a:p>
        </p:txBody>
      </p:sp>
      <p:sp>
        <p:nvSpPr>
          <p:cNvPr id="300" name="Shape 300"/>
          <p:cNvSpPr>
            <a:spLocks noGrp="1"/>
          </p:cNvSpPr>
          <p:nvPr>
            <p:ph type="body" sz="quarter" idx="1"/>
          </p:nvPr>
        </p:nvSpPr>
        <p:spPr>
          <a:xfrm>
            <a:off x="462026" y="3560886"/>
            <a:ext cx="9310624" cy="807914"/>
          </a:xfrm>
          <a:prstGeom prst="rect">
            <a:avLst/>
          </a:prstGeom>
        </p:spPr>
        <p:txBody>
          <a:bodyPr>
            <a:normAutofit/>
          </a:bodyPr>
          <a:lstStyle>
            <a:lvl1pPr>
              <a:defRPr sz="2400">
                <a:solidFill>
                  <a:srgbClr val="002C77"/>
                </a:solidFill>
              </a:defRPr>
            </a:lvl1pPr>
            <a:lvl2pPr marL="0" indent="457200">
              <a:buSzTx/>
              <a:buNone/>
              <a:defRPr sz="2400">
                <a:solidFill>
                  <a:srgbClr val="002C77"/>
                </a:solidFill>
              </a:defRPr>
            </a:lvl2pPr>
            <a:lvl3pPr marL="0" indent="914400">
              <a:buSzTx/>
              <a:buNone/>
              <a:defRPr sz="2400">
                <a:solidFill>
                  <a:srgbClr val="002C77"/>
                </a:solidFill>
              </a:defRPr>
            </a:lvl3pPr>
            <a:lvl4pPr marL="0" indent="1371600">
              <a:buSzTx/>
              <a:buNone/>
              <a:defRPr sz="2400">
                <a:solidFill>
                  <a:srgbClr val="002C77"/>
                </a:solidFill>
              </a:defRPr>
            </a:lvl4pPr>
            <a:lvl5pPr marL="0" indent="1828800">
              <a:buSzTx/>
              <a:buNone/>
              <a:defRPr sz="2400">
                <a:solidFill>
                  <a:srgbClr val="002C77"/>
                </a:solidFill>
              </a:defRPr>
            </a:lvl5pPr>
          </a:lstStyle>
          <a:p>
            <a:r>
              <a:t>Nivel de texto 1</a:t>
            </a:r>
          </a:p>
          <a:p>
            <a:pPr lvl="1"/>
            <a:r>
              <a:t>Nivel de texto 2</a:t>
            </a:r>
          </a:p>
          <a:p>
            <a:pPr lvl="2"/>
            <a:r>
              <a:t>Nivel de texto 3</a:t>
            </a:r>
          </a:p>
          <a:p>
            <a:pPr lvl="3"/>
            <a:r>
              <a:t>Nivel de texto 4</a:t>
            </a:r>
          </a:p>
          <a:p>
            <a:pPr lvl="4"/>
            <a:r>
              <a:t>Nivel de texto 5</a:t>
            </a:r>
          </a:p>
        </p:txBody>
      </p:sp>
      <p:sp>
        <p:nvSpPr>
          <p:cNvPr id="301" name="Shape 301"/>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2222578126"/>
      </p:ext>
    </p:extLst>
  </p:cSld>
  <p:clrMapOvr>
    <a:masterClrMapping/>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x">
  <p:cSld name="Title slide B: blue">
    <p:bg>
      <p:bgPr>
        <a:solidFill>
          <a:srgbClr val="002C77"/>
        </a:solidFill>
        <a:effectLst/>
      </p:bgPr>
    </p:bg>
    <p:spTree>
      <p:nvGrpSpPr>
        <p:cNvPr id="1" name=""/>
        <p:cNvGrpSpPr/>
        <p:nvPr/>
      </p:nvGrpSpPr>
      <p:grpSpPr>
        <a:xfrm>
          <a:off x="0" y="0"/>
          <a:ext cx="0" cy="0"/>
          <a:chOff x="0" y="0"/>
          <a:chExt cx="0" cy="0"/>
        </a:xfrm>
      </p:grpSpPr>
      <p:pic>
        <p:nvPicPr>
          <p:cNvPr id="308" name="image11.png"/>
          <p:cNvPicPr>
            <a:picLocks noChangeAspect="1"/>
          </p:cNvPicPr>
          <p:nvPr/>
        </p:nvPicPr>
        <p:blipFill>
          <a:blip r:embed="rId2"/>
          <a:stretch>
            <a:fillRect/>
          </a:stretch>
        </p:blipFill>
        <p:spPr>
          <a:xfrm>
            <a:off x="486802" y="341761"/>
            <a:ext cx="1623976" cy="338329"/>
          </a:xfrm>
          <a:prstGeom prst="rect">
            <a:avLst/>
          </a:prstGeom>
          <a:ln w="12700">
            <a:miter lim="400000"/>
          </a:ln>
        </p:spPr>
      </p:pic>
      <p:sp>
        <p:nvSpPr>
          <p:cNvPr id="309" name="Shape 309"/>
          <p:cNvSpPr/>
          <p:nvPr/>
        </p:nvSpPr>
        <p:spPr>
          <a:xfrm>
            <a:off x="485774" y="6257135"/>
            <a:ext cx="1784624" cy="1397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lvl1pPr>
              <a:defRPr sz="1000">
                <a:solidFill>
                  <a:srgbClr val="FFFFFF"/>
                </a:solidFill>
              </a:defRPr>
            </a:lvl1pPr>
          </a:lstStyle>
          <a:p>
            <a:r>
              <a:t>A business of Marsh McLennan</a:t>
            </a:r>
          </a:p>
        </p:txBody>
      </p:sp>
      <p:sp>
        <p:nvSpPr>
          <p:cNvPr id="310" name="Shape 310"/>
          <p:cNvSpPr>
            <a:spLocks noGrp="1"/>
          </p:cNvSpPr>
          <p:nvPr>
            <p:ph type="pic" sz="quarter" idx="13"/>
          </p:nvPr>
        </p:nvSpPr>
        <p:spPr>
          <a:xfrm>
            <a:off x="8133618" y="361950"/>
            <a:ext cx="3575783" cy="495301"/>
          </a:xfrm>
          <a:prstGeom prst="rect">
            <a:avLst/>
          </a:prstGeom>
        </p:spPr>
        <p:txBody>
          <a:bodyPr lIns="91439" tIns="45719" rIns="91439" bIns="45719"/>
          <a:lstStyle/>
          <a:p>
            <a:endParaRPr/>
          </a:p>
        </p:txBody>
      </p:sp>
      <p:sp>
        <p:nvSpPr>
          <p:cNvPr id="311" name="Shape 311"/>
          <p:cNvSpPr>
            <a:spLocks noGrp="1"/>
          </p:cNvSpPr>
          <p:nvPr>
            <p:ph type="body" sz="quarter" idx="14"/>
          </p:nvPr>
        </p:nvSpPr>
        <p:spPr>
          <a:xfrm>
            <a:off x="485775" y="4870889"/>
            <a:ext cx="7400925" cy="1038526"/>
          </a:xfrm>
          <a:prstGeom prst="rect">
            <a:avLst/>
          </a:prstGeom>
        </p:spPr>
        <p:txBody>
          <a:bodyPr anchor="b"/>
          <a:lstStyle>
            <a:lvl1pPr>
              <a:spcBef>
                <a:spcPts val="0"/>
              </a:spcBef>
              <a:defRPr sz="1400">
                <a:solidFill>
                  <a:srgbClr val="FFFFFF"/>
                </a:solidFill>
              </a:defRPr>
            </a:lvl1pPr>
          </a:lstStyle>
          <a:p>
            <a:r>
              <a:t> </a:t>
            </a:r>
          </a:p>
        </p:txBody>
      </p:sp>
      <p:sp>
        <p:nvSpPr>
          <p:cNvPr id="312" name="Shape 312"/>
          <p:cNvSpPr>
            <a:spLocks noGrp="1"/>
          </p:cNvSpPr>
          <p:nvPr>
            <p:ph type="title"/>
          </p:nvPr>
        </p:nvSpPr>
        <p:spPr>
          <a:xfrm>
            <a:off x="448437" y="1764792"/>
            <a:ext cx="9365489" cy="1600201"/>
          </a:xfrm>
          <a:prstGeom prst="rect">
            <a:avLst/>
          </a:prstGeom>
        </p:spPr>
        <p:txBody>
          <a:bodyPr>
            <a:normAutofit/>
          </a:bodyPr>
          <a:lstStyle>
            <a:lvl1pPr>
              <a:lnSpc>
                <a:spcPct val="90000"/>
              </a:lnSpc>
              <a:defRPr sz="6000">
                <a:solidFill>
                  <a:srgbClr val="FFFFFF"/>
                </a:solidFill>
              </a:defRPr>
            </a:lvl1pPr>
          </a:lstStyle>
          <a:p>
            <a:r>
              <a:t>Texto del título</a:t>
            </a:r>
          </a:p>
        </p:txBody>
      </p:sp>
      <p:sp>
        <p:nvSpPr>
          <p:cNvPr id="313" name="Shape 313"/>
          <p:cNvSpPr>
            <a:spLocks noGrp="1"/>
          </p:cNvSpPr>
          <p:nvPr>
            <p:ph type="body" sz="quarter" idx="1"/>
          </p:nvPr>
        </p:nvSpPr>
        <p:spPr>
          <a:xfrm>
            <a:off x="462026" y="3557015"/>
            <a:ext cx="9310624" cy="788378"/>
          </a:xfrm>
          <a:prstGeom prst="rect">
            <a:avLst/>
          </a:prstGeom>
        </p:spPr>
        <p:txBody>
          <a:bodyPr>
            <a:normAutofit/>
          </a:bodyPr>
          <a:lstStyle>
            <a:lvl1pPr>
              <a:defRPr sz="2400">
                <a:solidFill>
                  <a:srgbClr val="FFFFFF"/>
                </a:solidFill>
              </a:defRPr>
            </a:lvl1pPr>
            <a:lvl2pPr marL="0" indent="457200">
              <a:buSzTx/>
              <a:buNone/>
              <a:defRPr sz="2400">
                <a:solidFill>
                  <a:srgbClr val="FFFFFF"/>
                </a:solidFill>
              </a:defRPr>
            </a:lvl2pPr>
            <a:lvl3pPr marL="0" indent="914400">
              <a:buSzTx/>
              <a:buNone/>
              <a:defRPr sz="2400">
                <a:solidFill>
                  <a:srgbClr val="FFFFFF"/>
                </a:solidFill>
              </a:defRPr>
            </a:lvl3pPr>
            <a:lvl4pPr marL="0" indent="1371600">
              <a:buSzTx/>
              <a:buNone/>
              <a:defRPr sz="2400">
                <a:solidFill>
                  <a:srgbClr val="FFFFFF"/>
                </a:solidFill>
              </a:defRPr>
            </a:lvl4pPr>
            <a:lvl5pPr marL="0" indent="1828800">
              <a:buSzTx/>
              <a:buNone/>
              <a:defRPr sz="2400">
                <a:solidFill>
                  <a:srgbClr val="FFFFFF"/>
                </a:solidFill>
              </a:defRPr>
            </a:lvl5pPr>
          </a:lstStyle>
          <a:p>
            <a:r>
              <a:t>Nivel de texto 1</a:t>
            </a:r>
          </a:p>
          <a:p>
            <a:pPr lvl="1"/>
            <a:r>
              <a:t>Nivel de texto 2</a:t>
            </a:r>
          </a:p>
          <a:p>
            <a:pPr lvl="2"/>
            <a:r>
              <a:t>Nivel de texto 3</a:t>
            </a:r>
          </a:p>
          <a:p>
            <a:pPr lvl="3"/>
            <a:r>
              <a:t>Nivel de texto 4</a:t>
            </a:r>
          </a:p>
          <a:p>
            <a:pPr lvl="4"/>
            <a:r>
              <a:t>Nivel de texto 5</a:t>
            </a:r>
          </a:p>
        </p:txBody>
      </p:sp>
      <p:sp>
        <p:nvSpPr>
          <p:cNvPr id="314" name="Shape 314"/>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4159194106"/>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tx">
  <p:cSld name="Title slide B: gradient">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321" name="image11.png"/>
          <p:cNvPicPr>
            <a:picLocks noChangeAspect="1"/>
          </p:cNvPicPr>
          <p:nvPr/>
        </p:nvPicPr>
        <p:blipFill>
          <a:blip r:embed="rId3"/>
          <a:stretch>
            <a:fillRect/>
          </a:stretch>
        </p:blipFill>
        <p:spPr>
          <a:xfrm>
            <a:off x="486802" y="341761"/>
            <a:ext cx="1623976" cy="338329"/>
          </a:xfrm>
          <a:prstGeom prst="rect">
            <a:avLst/>
          </a:prstGeom>
          <a:ln w="12700">
            <a:miter lim="400000"/>
          </a:ln>
        </p:spPr>
      </p:pic>
      <p:sp>
        <p:nvSpPr>
          <p:cNvPr id="322" name="Shape 322"/>
          <p:cNvSpPr/>
          <p:nvPr/>
        </p:nvSpPr>
        <p:spPr>
          <a:xfrm>
            <a:off x="485774" y="6257135"/>
            <a:ext cx="1784624" cy="1397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lvl1pPr>
              <a:defRPr sz="1000">
                <a:solidFill>
                  <a:srgbClr val="FFFFFF"/>
                </a:solidFill>
              </a:defRPr>
            </a:lvl1pPr>
          </a:lstStyle>
          <a:p>
            <a:r>
              <a:t>A business of Marsh McLennan</a:t>
            </a:r>
          </a:p>
        </p:txBody>
      </p:sp>
      <p:sp>
        <p:nvSpPr>
          <p:cNvPr id="323" name="Shape 323"/>
          <p:cNvSpPr>
            <a:spLocks noGrp="1"/>
          </p:cNvSpPr>
          <p:nvPr>
            <p:ph type="pic" sz="quarter" idx="13"/>
          </p:nvPr>
        </p:nvSpPr>
        <p:spPr>
          <a:xfrm>
            <a:off x="8133618" y="361950"/>
            <a:ext cx="3575783" cy="495301"/>
          </a:xfrm>
          <a:prstGeom prst="rect">
            <a:avLst/>
          </a:prstGeom>
        </p:spPr>
        <p:txBody>
          <a:bodyPr lIns="91439" tIns="45719" rIns="91439" bIns="45719"/>
          <a:lstStyle/>
          <a:p>
            <a:endParaRPr/>
          </a:p>
        </p:txBody>
      </p:sp>
      <p:sp>
        <p:nvSpPr>
          <p:cNvPr id="324" name="Shape 324"/>
          <p:cNvSpPr>
            <a:spLocks noGrp="1"/>
          </p:cNvSpPr>
          <p:nvPr>
            <p:ph type="body" sz="quarter" idx="14"/>
          </p:nvPr>
        </p:nvSpPr>
        <p:spPr>
          <a:xfrm>
            <a:off x="485775" y="4870889"/>
            <a:ext cx="7400925" cy="1038526"/>
          </a:xfrm>
          <a:prstGeom prst="rect">
            <a:avLst/>
          </a:prstGeom>
        </p:spPr>
        <p:txBody>
          <a:bodyPr anchor="b"/>
          <a:lstStyle>
            <a:lvl1pPr>
              <a:spcBef>
                <a:spcPts val="0"/>
              </a:spcBef>
              <a:defRPr sz="1400">
                <a:solidFill>
                  <a:srgbClr val="FFFFFF"/>
                </a:solidFill>
              </a:defRPr>
            </a:lvl1pPr>
          </a:lstStyle>
          <a:p>
            <a:r>
              <a:t> </a:t>
            </a:r>
          </a:p>
        </p:txBody>
      </p:sp>
      <p:sp>
        <p:nvSpPr>
          <p:cNvPr id="325" name="Shape 325"/>
          <p:cNvSpPr>
            <a:spLocks noGrp="1"/>
          </p:cNvSpPr>
          <p:nvPr>
            <p:ph type="title"/>
          </p:nvPr>
        </p:nvSpPr>
        <p:spPr>
          <a:xfrm>
            <a:off x="448437" y="1764792"/>
            <a:ext cx="9365489" cy="1600201"/>
          </a:xfrm>
          <a:prstGeom prst="rect">
            <a:avLst/>
          </a:prstGeom>
        </p:spPr>
        <p:txBody>
          <a:bodyPr>
            <a:normAutofit/>
          </a:bodyPr>
          <a:lstStyle>
            <a:lvl1pPr>
              <a:lnSpc>
                <a:spcPct val="90000"/>
              </a:lnSpc>
              <a:defRPr sz="6000">
                <a:solidFill>
                  <a:srgbClr val="FFFFFF"/>
                </a:solidFill>
              </a:defRPr>
            </a:lvl1pPr>
          </a:lstStyle>
          <a:p>
            <a:r>
              <a:t>Texto del título</a:t>
            </a:r>
          </a:p>
        </p:txBody>
      </p:sp>
      <p:sp>
        <p:nvSpPr>
          <p:cNvPr id="326" name="Shape 326"/>
          <p:cNvSpPr>
            <a:spLocks noGrp="1"/>
          </p:cNvSpPr>
          <p:nvPr>
            <p:ph type="body" sz="quarter" idx="1"/>
          </p:nvPr>
        </p:nvSpPr>
        <p:spPr>
          <a:xfrm>
            <a:off x="462026" y="3557015"/>
            <a:ext cx="9310624" cy="788378"/>
          </a:xfrm>
          <a:prstGeom prst="rect">
            <a:avLst/>
          </a:prstGeom>
        </p:spPr>
        <p:txBody>
          <a:bodyPr>
            <a:normAutofit/>
          </a:bodyPr>
          <a:lstStyle>
            <a:lvl1pPr>
              <a:defRPr sz="2400">
                <a:solidFill>
                  <a:srgbClr val="FFFFFF"/>
                </a:solidFill>
              </a:defRPr>
            </a:lvl1pPr>
            <a:lvl2pPr marL="0" indent="457200">
              <a:buSzTx/>
              <a:buNone/>
              <a:defRPr sz="2400">
                <a:solidFill>
                  <a:srgbClr val="FFFFFF"/>
                </a:solidFill>
              </a:defRPr>
            </a:lvl2pPr>
            <a:lvl3pPr marL="0" indent="914400">
              <a:buSzTx/>
              <a:buNone/>
              <a:defRPr sz="2400">
                <a:solidFill>
                  <a:srgbClr val="FFFFFF"/>
                </a:solidFill>
              </a:defRPr>
            </a:lvl3pPr>
            <a:lvl4pPr marL="0" indent="1371600">
              <a:buSzTx/>
              <a:buNone/>
              <a:defRPr sz="2400">
                <a:solidFill>
                  <a:srgbClr val="FFFFFF"/>
                </a:solidFill>
              </a:defRPr>
            </a:lvl4pPr>
            <a:lvl5pPr marL="0" indent="1828800">
              <a:buSzTx/>
              <a:buNone/>
              <a:defRPr sz="2400">
                <a:solidFill>
                  <a:srgbClr val="FFFFFF"/>
                </a:solidFill>
              </a:defRPr>
            </a:lvl5pPr>
          </a:lstStyle>
          <a:p>
            <a:r>
              <a:t>Nivel de texto 1</a:t>
            </a:r>
          </a:p>
          <a:p>
            <a:pPr lvl="1"/>
            <a:r>
              <a:t>Nivel de texto 2</a:t>
            </a:r>
          </a:p>
          <a:p>
            <a:pPr lvl="2"/>
            <a:r>
              <a:t>Nivel de texto 3</a:t>
            </a:r>
          </a:p>
          <a:p>
            <a:pPr lvl="3"/>
            <a:r>
              <a:t>Nivel de texto 4</a:t>
            </a:r>
          </a:p>
          <a:p>
            <a:pPr lvl="4"/>
            <a:r>
              <a:t>Nivel de texto 5</a:t>
            </a:r>
          </a:p>
        </p:txBody>
      </p:sp>
      <p:sp>
        <p:nvSpPr>
          <p:cNvPr id="327" name="Shape 327"/>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605478166"/>
      </p:ext>
    </p:extLst>
  </p:cSld>
  <p:clrMapOvr>
    <a:masterClrMapping/>
  </p:clrMapOvr>
  <p:transition spd="med"/>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x">
  <p:cSld name="Title slide C">
    <p:bg>
      <p:bgPr>
        <a:solidFill>
          <a:srgbClr val="FFFFFF"/>
        </a:solidFill>
        <a:effectLst/>
      </p:bgPr>
    </p:bg>
    <p:spTree>
      <p:nvGrpSpPr>
        <p:cNvPr id="1" name=""/>
        <p:cNvGrpSpPr/>
        <p:nvPr/>
      </p:nvGrpSpPr>
      <p:grpSpPr>
        <a:xfrm>
          <a:off x="0" y="0"/>
          <a:ext cx="0" cy="0"/>
          <a:chOff x="0" y="0"/>
          <a:chExt cx="0" cy="0"/>
        </a:xfrm>
      </p:grpSpPr>
      <p:pic>
        <p:nvPicPr>
          <p:cNvPr id="334" name="image2.png"/>
          <p:cNvPicPr>
            <a:picLocks noChangeAspect="1"/>
          </p:cNvPicPr>
          <p:nvPr/>
        </p:nvPicPr>
        <p:blipFill>
          <a:blip r:embed="rId2"/>
          <a:stretch>
            <a:fillRect/>
          </a:stretch>
        </p:blipFill>
        <p:spPr>
          <a:xfrm>
            <a:off x="486802" y="341761"/>
            <a:ext cx="1623976" cy="338329"/>
          </a:xfrm>
          <a:prstGeom prst="rect">
            <a:avLst/>
          </a:prstGeom>
          <a:ln w="12700">
            <a:miter lim="400000"/>
          </a:ln>
        </p:spPr>
      </p:pic>
      <p:sp>
        <p:nvSpPr>
          <p:cNvPr id="335" name="Shape 335"/>
          <p:cNvSpPr/>
          <p:nvPr/>
        </p:nvSpPr>
        <p:spPr>
          <a:xfrm>
            <a:off x="485774" y="6257135"/>
            <a:ext cx="1784624" cy="1397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lvl1pPr>
              <a:defRPr sz="1000"/>
            </a:lvl1pPr>
          </a:lstStyle>
          <a:p>
            <a:r>
              <a:t>A business of Marsh McLennan</a:t>
            </a:r>
          </a:p>
        </p:txBody>
      </p:sp>
      <p:sp>
        <p:nvSpPr>
          <p:cNvPr id="336" name="Shape 336"/>
          <p:cNvSpPr>
            <a:spLocks noGrp="1"/>
          </p:cNvSpPr>
          <p:nvPr>
            <p:ph type="pic" sz="quarter" idx="13"/>
          </p:nvPr>
        </p:nvSpPr>
        <p:spPr>
          <a:xfrm>
            <a:off x="8133618" y="361950"/>
            <a:ext cx="3575783" cy="495301"/>
          </a:xfrm>
          <a:prstGeom prst="rect">
            <a:avLst/>
          </a:prstGeom>
        </p:spPr>
        <p:txBody>
          <a:bodyPr lIns="91439" tIns="45719" rIns="91439" bIns="45719"/>
          <a:lstStyle/>
          <a:p>
            <a:endParaRPr/>
          </a:p>
        </p:txBody>
      </p:sp>
      <p:sp>
        <p:nvSpPr>
          <p:cNvPr id="337" name="Shape 337"/>
          <p:cNvSpPr>
            <a:spLocks noGrp="1"/>
          </p:cNvSpPr>
          <p:nvPr>
            <p:ph type="body" sz="quarter" idx="14"/>
          </p:nvPr>
        </p:nvSpPr>
        <p:spPr>
          <a:xfrm>
            <a:off x="485775" y="4870889"/>
            <a:ext cx="7400925" cy="1038526"/>
          </a:xfrm>
          <a:prstGeom prst="rect">
            <a:avLst/>
          </a:prstGeom>
        </p:spPr>
        <p:txBody>
          <a:bodyPr anchor="b"/>
          <a:lstStyle>
            <a:lvl1pPr>
              <a:spcBef>
                <a:spcPts val="0"/>
              </a:spcBef>
              <a:defRPr sz="1400"/>
            </a:lvl1pPr>
          </a:lstStyle>
          <a:p>
            <a:r>
              <a:t> </a:t>
            </a:r>
          </a:p>
        </p:txBody>
      </p:sp>
      <p:sp>
        <p:nvSpPr>
          <p:cNvPr id="338" name="Shape 338"/>
          <p:cNvSpPr>
            <a:spLocks noGrp="1"/>
          </p:cNvSpPr>
          <p:nvPr>
            <p:ph type="title"/>
          </p:nvPr>
        </p:nvSpPr>
        <p:spPr>
          <a:xfrm>
            <a:off x="408843" y="2347269"/>
            <a:ext cx="9433657" cy="1519881"/>
          </a:xfrm>
          <a:prstGeom prst="rect">
            <a:avLst/>
          </a:prstGeom>
        </p:spPr>
        <p:txBody>
          <a:bodyPr>
            <a:normAutofit/>
          </a:bodyPr>
          <a:lstStyle>
            <a:lvl1pPr>
              <a:defRPr sz="12000"/>
            </a:lvl1pPr>
          </a:lstStyle>
          <a:p>
            <a:r>
              <a:t>Texto del título</a:t>
            </a:r>
          </a:p>
        </p:txBody>
      </p:sp>
      <p:sp>
        <p:nvSpPr>
          <p:cNvPr id="339" name="Shape 339"/>
          <p:cNvSpPr>
            <a:spLocks noGrp="1"/>
          </p:cNvSpPr>
          <p:nvPr>
            <p:ph type="body" sz="quarter" idx="1"/>
          </p:nvPr>
        </p:nvSpPr>
        <p:spPr>
          <a:xfrm>
            <a:off x="465995" y="1784598"/>
            <a:ext cx="9313006" cy="381733"/>
          </a:xfrm>
          <a:prstGeom prst="rect">
            <a:avLst/>
          </a:prstGeom>
        </p:spPr>
        <p:txBody>
          <a:bodyPr anchor="b">
            <a:normAutofit/>
          </a:bodyPr>
          <a:lstStyle>
            <a:lvl1pPr>
              <a:defRPr sz="2400" b="1">
                <a:solidFill>
                  <a:srgbClr val="002C77"/>
                </a:solidFill>
              </a:defRPr>
            </a:lvl1pPr>
            <a:lvl2pPr marL="0" indent="457200">
              <a:buSzTx/>
              <a:buNone/>
              <a:defRPr sz="2400" b="1">
                <a:solidFill>
                  <a:srgbClr val="002C77"/>
                </a:solidFill>
              </a:defRPr>
            </a:lvl2pPr>
            <a:lvl3pPr marL="0" indent="914400">
              <a:buSzTx/>
              <a:buNone/>
              <a:defRPr sz="2400" b="1">
                <a:solidFill>
                  <a:srgbClr val="002C77"/>
                </a:solidFill>
              </a:defRPr>
            </a:lvl3pPr>
            <a:lvl4pPr marL="0" indent="1371600">
              <a:buSzTx/>
              <a:buNone/>
              <a:defRPr sz="2400" b="1">
                <a:solidFill>
                  <a:srgbClr val="002C77"/>
                </a:solidFill>
              </a:defRPr>
            </a:lvl4pPr>
            <a:lvl5pPr marL="0" indent="1828800">
              <a:buSzTx/>
              <a:buNone/>
              <a:defRPr sz="2400" b="1">
                <a:solidFill>
                  <a:srgbClr val="002C77"/>
                </a:solidFill>
              </a:defRPr>
            </a:lvl5pPr>
          </a:lstStyle>
          <a:p>
            <a:r>
              <a:t>Nivel de texto 1</a:t>
            </a:r>
          </a:p>
          <a:p>
            <a:pPr lvl="1"/>
            <a:r>
              <a:t>Nivel de texto 2</a:t>
            </a:r>
          </a:p>
          <a:p>
            <a:pPr lvl="2"/>
            <a:r>
              <a:t>Nivel de texto 3</a:t>
            </a:r>
          </a:p>
          <a:p>
            <a:pPr lvl="3"/>
            <a:r>
              <a:t>Nivel de texto 4</a:t>
            </a:r>
          </a:p>
          <a:p>
            <a:pPr lvl="4"/>
            <a:r>
              <a:t>Nivel de texto 5</a:t>
            </a:r>
          </a:p>
        </p:txBody>
      </p:sp>
      <p:sp>
        <p:nvSpPr>
          <p:cNvPr id="340" name="Shape 340"/>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3352305581"/>
      </p:ext>
    </p:extLst>
  </p:cSld>
  <p:clrMapOvr>
    <a:masterClrMapping/>
  </p:clrMapOvr>
  <p:transition spd="med"/>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tx">
  <p:cSld name="Title slide C: blue">
    <p:bg>
      <p:bgPr>
        <a:solidFill>
          <a:srgbClr val="002C77"/>
        </a:solidFill>
        <a:effectLst/>
      </p:bgPr>
    </p:bg>
    <p:spTree>
      <p:nvGrpSpPr>
        <p:cNvPr id="1" name=""/>
        <p:cNvGrpSpPr/>
        <p:nvPr/>
      </p:nvGrpSpPr>
      <p:grpSpPr>
        <a:xfrm>
          <a:off x="0" y="0"/>
          <a:ext cx="0" cy="0"/>
          <a:chOff x="0" y="0"/>
          <a:chExt cx="0" cy="0"/>
        </a:xfrm>
      </p:grpSpPr>
      <p:pic>
        <p:nvPicPr>
          <p:cNvPr id="347" name="image11.png"/>
          <p:cNvPicPr>
            <a:picLocks noChangeAspect="1"/>
          </p:cNvPicPr>
          <p:nvPr/>
        </p:nvPicPr>
        <p:blipFill>
          <a:blip r:embed="rId2"/>
          <a:stretch>
            <a:fillRect/>
          </a:stretch>
        </p:blipFill>
        <p:spPr>
          <a:xfrm>
            <a:off x="486802" y="341761"/>
            <a:ext cx="1623976" cy="338329"/>
          </a:xfrm>
          <a:prstGeom prst="rect">
            <a:avLst/>
          </a:prstGeom>
          <a:ln w="12700">
            <a:miter lim="400000"/>
          </a:ln>
        </p:spPr>
      </p:pic>
      <p:sp>
        <p:nvSpPr>
          <p:cNvPr id="348" name="Shape 348"/>
          <p:cNvSpPr/>
          <p:nvPr/>
        </p:nvSpPr>
        <p:spPr>
          <a:xfrm>
            <a:off x="485774" y="6257135"/>
            <a:ext cx="1784624" cy="1397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lvl1pPr>
              <a:defRPr sz="1000">
                <a:solidFill>
                  <a:srgbClr val="FFFFFF"/>
                </a:solidFill>
              </a:defRPr>
            </a:lvl1pPr>
          </a:lstStyle>
          <a:p>
            <a:r>
              <a:t>A business of Marsh McLennan</a:t>
            </a:r>
          </a:p>
        </p:txBody>
      </p:sp>
      <p:sp>
        <p:nvSpPr>
          <p:cNvPr id="349" name="Shape 349"/>
          <p:cNvSpPr>
            <a:spLocks noGrp="1"/>
          </p:cNvSpPr>
          <p:nvPr>
            <p:ph type="pic" sz="quarter" idx="13"/>
          </p:nvPr>
        </p:nvSpPr>
        <p:spPr>
          <a:xfrm>
            <a:off x="8133618" y="361950"/>
            <a:ext cx="3575783" cy="495301"/>
          </a:xfrm>
          <a:prstGeom prst="rect">
            <a:avLst/>
          </a:prstGeom>
        </p:spPr>
        <p:txBody>
          <a:bodyPr lIns="91439" tIns="45719" rIns="91439" bIns="45719"/>
          <a:lstStyle/>
          <a:p>
            <a:endParaRPr/>
          </a:p>
        </p:txBody>
      </p:sp>
      <p:sp>
        <p:nvSpPr>
          <p:cNvPr id="350" name="Shape 350"/>
          <p:cNvSpPr>
            <a:spLocks noGrp="1"/>
          </p:cNvSpPr>
          <p:nvPr>
            <p:ph type="body" sz="quarter" idx="14"/>
          </p:nvPr>
        </p:nvSpPr>
        <p:spPr>
          <a:xfrm>
            <a:off x="485775" y="4870889"/>
            <a:ext cx="7400925" cy="1038526"/>
          </a:xfrm>
          <a:prstGeom prst="rect">
            <a:avLst/>
          </a:prstGeom>
        </p:spPr>
        <p:txBody>
          <a:bodyPr anchor="b"/>
          <a:lstStyle>
            <a:lvl1pPr>
              <a:spcBef>
                <a:spcPts val="0"/>
              </a:spcBef>
              <a:defRPr sz="1400">
                <a:solidFill>
                  <a:srgbClr val="FFFFFF"/>
                </a:solidFill>
              </a:defRPr>
            </a:lvl1pPr>
          </a:lstStyle>
          <a:p>
            <a:r>
              <a:t> </a:t>
            </a:r>
          </a:p>
        </p:txBody>
      </p:sp>
      <p:sp>
        <p:nvSpPr>
          <p:cNvPr id="351" name="Shape 351"/>
          <p:cNvSpPr>
            <a:spLocks noGrp="1"/>
          </p:cNvSpPr>
          <p:nvPr>
            <p:ph type="title"/>
          </p:nvPr>
        </p:nvSpPr>
        <p:spPr>
          <a:xfrm>
            <a:off x="409829" y="2350190"/>
            <a:ext cx="9429496" cy="1516961"/>
          </a:xfrm>
          <a:prstGeom prst="rect">
            <a:avLst/>
          </a:prstGeom>
        </p:spPr>
        <p:txBody>
          <a:bodyPr>
            <a:normAutofit/>
          </a:bodyPr>
          <a:lstStyle>
            <a:lvl1pPr>
              <a:defRPr sz="12000">
                <a:solidFill>
                  <a:srgbClr val="FFFFFF"/>
                </a:solidFill>
              </a:defRPr>
            </a:lvl1pPr>
          </a:lstStyle>
          <a:p>
            <a:r>
              <a:t>Texto del título</a:t>
            </a:r>
          </a:p>
        </p:txBody>
      </p:sp>
      <p:sp>
        <p:nvSpPr>
          <p:cNvPr id="352" name="Shape 352"/>
          <p:cNvSpPr>
            <a:spLocks noGrp="1"/>
          </p:cNvSpPr>
          <p:nvPr>
            <p:ph type="body" sz="quarter" idx="1"/>
          </p:nvPr>
        </p:nvSpPr>
        <p:spPr>
          <a:xfrm>
            <a:off x="465201" y="1783079"/>
            <a:ext cx="9310624" cy="384049"/>
          </a:xfrm>
          <a:prstGeom prst="rect">
            <a:avLst/>
          </a:prstGeom>
        </p:spPr>
        <p:txBody>
          <a:bodyPr anchor="b">
            <a:normAutofit/>
          </a:bodyPr>
          <a:lstStyle>
            <a:lvl1pPr>
              <a:defRPr sz="2400" b="1">
                <a:solidFill>
                  <a:srgbClr val="FFFFFF"/>
                </a:solidFill>
              </a:defRPr>
            </a:lvl1pPr>
            <a:lvl2pPr marL="0" indent="457200">
              <a:buSzTx/>
              <a:buNone/>
              <a:defRPr sz="2400" b="1">
                <a:solidFill>
                  <a:srgbClr val="FFFFFF"/>
                </a:solidFill>
              </a:defRPr>
            </a:lvl2pPr>
            <a:lvl3pPr marL="0" indent="914400">
              <a:buSzTx/>
              <a:buNone/>
              <a:defRPr sz="2400" b="1">
                <a:solidFill>
                  <a:srgbClr val="FFFFFF"/>
                </a:solidFill>
              </a:defRPr>
            </a:lvl3pPr>
            <a:lvl4pPr marL="0" indent="1371600">
              <a:buSzTx/>
              <a:buNone/>
              <a:defRPr sz="2400" b="1">
                <a:solidFill>
                  <a:srgbClr val="FFFFFF"/>
                </a:solidFill>
              </a:defRPr>
            </a:lvl4pPr>
            <a:lvl5pPr marL="0" indent="1828800">
              <a:buSzTx/>
              <a:buNone/>
              <a:defRPr sz="2400" b="1">
                <a:solidFill>
                  <a:srgbClr val="FFFFFF"/>
                </a:solidFill>
              </a:defRPr>
            </a:lvl5pPr>
          </a:lstStyle>
          <a:p>
            <a:r>
              <a:t>Nivel de texto 1</a:t>
            </a:r>
          </a:p>
          <a:p>
            <a:pPr lvl="1"/>
            <a:r>
              <a:t>Nivel de texto 2</a:t>
            </a:r>
          </a:p>
          <a:p>
            <a:pPr lvl="2"/>
            <a:r>
              <a:t>Nivel de texto 3</a:t>
            </a:r>
          </a:p>
          <a:p>
            <a:pPr lvl="3"/>
            <a:r>
              <a:t>Nivel de texto 4</a:t>
            </a:r>
          </a:p>
          <a:p>
            <a:pPr lvl="4"/>
            <a:r>
              <a:t>Nivel de texto 5</a:t>
            </a:r>
          </a:p>
        </p:txBody>
      </p:sp>
      <p:sp>
        <p:nvSpPr>
          <p:cNvPr id="353" name="Shape 353"/>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2048136878"/>
      </p:ext>
    </p:extLst>
  </p:cSld>
  <p:clrMapOvr>
    <a:masterClrMapping/>
  </p:clrMapOvr>
  <p:transition spd="med"/>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x">
  <p:cSld name="COVERS JOINT BUSINESS">
    <p:spTree>
      <p:nvGrpSpPr>
        <p:cNvPr id="1" name=""/>
        <p:cNvGrpSpPr/>
        <p:nvPr/>
      </p:nvGrpSpPr>
      <p:grpSpPr>
        <a:xfrm>
          <a:off x="0" y="0"/>
          <a:ext cx="0" cy="0"/>
          <a:chOff x="0" y="0"/>
          <a:chExt cx="0" cy="0"/>
        </a:xfrm>
      </p:grpSpPr>
      <p:sp>
        <p:nvSpPr>
          <p:cNvPr id="373" name="Shape 373"/>
          <p:cNvSpPr/>
          <p:nvPr/>
        </p:nvSpPr>
        <p:spPr>
          <a:xfrm>
            <a:off x="374977" y="1701329"/>
            <a:ext cx="10258773" cy="3455343"/>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p>
            <a:pPr>
              <a:defRPr sz="12000" b="1">
                <a:solidFill>
                  <a:srgbClr val="FFFFFF"/>
                </a:solidFill>
              </a:defRPr>
            </a:pPr>
            <a:r>
              <a:t>Covers for a</a:t>
            </a:r>
          </a:p>
          <a:p>
            <a:pPr>
              <a:defRPr sz="12000" b="1">
                <a:solidFill>
                  <a:srgbClr val="FFFFFF"/>
                </a:solidFill>
              </a:defRPr>
            </a:pPr>
            <a:r>
              <a:t>joint business</a:t>
            </a:r>
          </a:p>
        </p:txBody>
      </p:sp>
      <p:sp>
        <p:nvSpPr>
          <p:cNvPr id="374" name="Shape 374"/>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1666204684"/>
      </p:ext>
    </p:extLst>
  </p:cSld>
  <p:clrMapOvr>
    <a:masterClrMapping/>
  </p:clrMapOvr>
  <p:transition spd="med"/>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tx">
  <p:cSld name="Title slide A: stripe/logo">
    <p:bg>
      <p:bgPr>
        <a:solidFill>
          <a:srgbClr val="FFFFFF"/>
        </a:solidFill>
        <a:effectLst/>
      </p:bgPr>
    </p:bg>
    <p:spTree>
      <p:nvGrpSpPr>
        <p:cNvPr id="1" name=""/>
        <p:cNvGrpSpPr/>
        <p:nvPr/>
      </p:nvGrpSpPr>
      <p:grpSpPr>
        <a:xfrm>
          <a:off x="0" y="0"/>
          <a:ext cx="0" cy="0"/>
          <a:chOff x="0" y="0"/>
          <a:chExt cx="0" cy="0"/>
        </a:xfrm>
      </p:grpSpPr>
      <p:pic>
        <p:nvPicPr>
          <p:cNvPr id="381" name="image2.png"/>
          <p:cNvPicPr>
            <a:picLocks noChangeAspect="1"/>
          </p:cNvPicPr>
          <p:nvPr/>
        </p:nvPicPr>
        <p:blipFill>
          <a:blip r:embed="rId2"/>
          <a:stretch>
            <a:fillRect/>
          </a:stretch>
        </p:blipFill>
        <p:spPr>
          <a:xfrm>
            <a:off x="486802" y="341761"/>
            <a:ext cx="1623976" cy="338329"/>
          </a:xfrm>
          <a:prstGeom prst="rect">
            <a:avLst/>
          </a:prstGeom>
          <a:ln w="12700">
            <a:miter lim="400000"/>
          </a:ln>
        </p:spPr>
      </p:pic>
      <p:sp>
        <p:nvSpPr>
          <p:cNvPr id="382" name="Shape 382"/>
          <p:cNvSpPr/>
          <p:nvPr/>
        </p:nvSpPr>
        <p:spPr>
          <a:xfrm>
            <a:off x="485775" y="6257135"/>
            <a:ext cx="1819846" cy="1397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lvl1pPr>
              <a:defRPr sz="1000"/>
            </a:lvl1pPr>
          </a:lstStyle>
          <a:p>
            <a:r>
              <a:t>Businesses of Marsh McLennan</a:t>
            </a:r>
          </a:p>
        </p:txBody>
      </p:sp>
      <p:sp>
        <p:nvSpPr>
          <p:cNvPr id="383" name="Shape 383"/>
          <p:cNvSpPr>
            <a:spLocks noGrp="1"/>
          </p:cNvSpPr>
          <p:nvPr>
            <p:ph type="pic" sz="quarter" idx="13"/>
          </p:nvPr>
        </p:nvSpPr>
        <p:spPr>
          <a:xfrm>
            <a:off x="2202227" y="341143"/>
            <a:ext cx="2863215" cy="342901"/>
          </a:xfrm>
          <a:prstGeom prst="rect">
            <a:avLst/>
          </a:prstGeom>
        </p:spPr>
        <p:txBody>
          <a:bodyPr lIns="91439" tIns="45719" rIns="91439" bIns="45719"/>
          <a:lstStyle/>
          <a:p>
            <a:endParaRPr/>
          </a:p>
        </p:txBody>
      </p:sp>
      <p:sp>
        <p:nvSpPr>
          <p:cNvPr id="384" name="Shape 384"/>
          <p:cNvSpPr>
            <a:spLocks noGrp="1"/>
          </p:cNvSpPr>
          <p:nvPr>
            <p:ph type="pic" sz="quarter" idx="14"/>
          </p:nvPr>
        </p:nvSpPr>
        <p:spPr>
          <a:xfrm>
            <a:off x="8133618" y="361950"/>
            <a:ext cx="3575783" cy="495301"/>
          </a:xfrm>
          <a:prstGeom prst="rect">
            <a:avLst/>
          </a:prstGeom>
        </p:spPr>
        <p:txBody>
          <a:bodyPr lIns="91439" tIns="45719" rIns="91439" bIns="45719"/>
          <a:lstStyle/>
          <a:p>
            <a:endParaRPr/>
          </a:p>
        </p:txBody>
      </p:sp>
      <p:sp>
        <p:nvSpPr>
          <p:cNvPr id="385" name="Shape 385"/>
          <p:cNvSpPr>
            <a:spLocks noGrp="1"/>
          </p:cNvSpPr>
          <p:nvPr>
            <p:ph type="body" sz="quarter" idx="15"/>
          </p:nvPr>
        </p:nvSpPr>
        <p:spPr>
          <a:xfrm>
            <a:off x="485775" y="4870889"/>
            <a:ext cx="7400925" cy="1038526"/>
          </a:xfrm>
          <a:prstGeom prst="rect">
            <a:avLst/>
          </a:prstGeom>
        </p:spPr>
        <p:txBody>
          <a:bodyPr anchor="b"/>
          <a:lstStyle>
            <a:lvl1pPr>
              <a:spcBef>
                <a:spcPts val="0"/>
              </a:spcBef>
              <a:defRPr sz="1400"/>
            </a:lvl1pPr>
          </a:lstStyle>
          <a:p>
            <a:r>
              <a:t> </a:t>
            </a:r>
          </a:p>
        </p:txBody>
      </p:sp>
      <p:sp>
        <p:nvSpPr>
          <p:cNvPr id="386" name="Shape 386"/>
          <p:cNvSpPr>
            <a:spLocks noGrp="1"/>
          </p:cNvSpPr>
          <p:nvPr>
            <p:ph type="title"/>
          </p:nvPr>
        </p:nvSpPr>
        <p:spPr>
          <a:xfrm>
            <a:off x="448437" y="1765792"/>
            <a:ext cx="9365489" cy="1602883"/>
          </a:xfrm>
          <a:prstGeom prst="rect">
            <a:avLst/>
          </a:prstGeom>
        </p:spPr>
        <p:txBody>
          <a:bodyPr>
            <a:normAutofit/>
          </a:bodyPr>
          <a:lstStyle>
            <a:lvl1pPr>
              <a:lnSpc>
                <a:spcPct val="90000"/>
              </a:lnSpc>
              <a:defRPr sz="6000"/>
            </a:lvl1pPr>
          </a:lstStyle>
          <a:p>
            <a:r>
              <a:t>Texto del título</a:t>
            </a:r>
          </a:p>
        </p:txBody>
      </p:sp>
      <p:sp>
        <p:nvSpPr>
          <p:cNvPr id="387" name="Shape 387"/>
          <p:cNvSpPr>
            <a:spLocks noGrp="1"/>
          </p:cNvSpPr>
          <p:nvPr>
            <p:ph type="body" sz="quarter" idx="1"/>
          </p:nvPr>
        </p:nvSpPr>
        <p:spPr>
          <a:xfrm>
            <a:off x="462026" y="3560886"/>
            <a:ext cx="9310624" cy="807914"/>
          </a:xfrm>
          <a:prstGeom prst="rect">
            <a:avLst/>
          </a:prstGeom>
        </p:spPr>
        <p:txBody>
          <a:bodyPr>
            <a:normAutofit/>
          </a:bodyPr>
          <a:lstStyle>
            <a:lvl1pPr>
              <a:defRPr sz="2400">
                <a:solidFill>
                  <a:srgbClr val="002C77"/>
                </a:solidFill>
              </a:defRPr>
            </a:lvl1pPr>
            <a:lvl2pPr marL="0" indent="457200">
              <a:buSzTx/>
              <a:buNone/>
              <a:defRPr sz="2400">
                <a:solidFill>
                  <a:srgbClr val="002C77"/>
                </a:solidFill>
              </a:defRPr>
            </a:lvl2pPr>
            <a:lvl3pPr marL="0" indent="914400">
              <a:buSzTx/>
              <a:buNone/>
              <a:defRPr sz="2400">
                <a:solidFill>
                  <a:srgbClr val="002C77"/>
                </a:solidFill>
              </a:defRPr>
            </a:lvl3pPr>
            <a:lvl4pPr marL="0" indent="1371600">
              <a:buSzTx/>
              <a:buNone/>
              <a:defRPr sz="2400">
                <a:solidFill>
                  <a:srgbClr val="002C77"/>
                </a:solidFill>
              </a:defRPr>
            </a:lvl4pPr>
            <a:lvl5pPr marL="0" indent="1828800">
              <a:buSzTx/>
              <a:buNone/>
              <a:defRPr sz="2400">
                <a:solidFill>
                  <a:srgbClr val="002C77"/>
                </a:solidFill>
              </a:defRPr>
            </a:lvl5pPr>
          </a:lstStyle>
          <a:p>
            <a:r>
              <a:t>Nivel de texto 1</a:t>
            </a:r>
          </a:p>
          <a:p>
            <a:pPr lvl="1"/>
            <a:r>
              <a:t>Nivel de texto 2</a:t>
            </a:r>
          </a:p>
          <a:p>
            <a:pPr lvl="2"/>
            <a:r>
              <a:t>Nivel de texto 3</a:t>
            </a:r>
          </a:p>
          <a:p>
            <a:pPr lvl="3"/>
            <a:r>
              <a:t>Nivel de texto 4</a:t>
            </a:r>
          </a:p>
          <a:p>
            <a:pPr lvl="4"/>
            <a:r>
              <a:t>Nivel de texto 5</a:t>
            </a:r>
          </a:p>
        </p:txBody>
      </p:sp>
      <p:sp>
        <p:nvSpPr>
          <p:cNvPr id="388" name="Shape 388"/>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794784483"/>
      </p:ext>
    </p:extLst>
  </p:cSld>
  <p:clrMapOvr>
    <a:masterClrMapping/>
  </p:clrMapOvr>
  <p:transition spd="med"/>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tx">
  <p:cSld name="Title slide A: blue - stripe/logo">
    <p:bg>
      <p:bgPr>
        <a:solidFill>
          <a:srgbClr val="002C77"/>
        </a:solidFill>
        <a:effectLst/>
      </p:bgPr>
    </p:bg>
    <p:spTree>
      <p:nvGrpSpPr>
        <p:cNvPr id="1" name=""/>
        <p:cNvGrpSpPr/>
        <p:nvPr/>
      </p:nvGrpSpPr>
      <p:grpSpPr>
        <a:xfrm>
          <a:off x="0" y="0"/>
          <a:ext cx="0" cy="0"/>
          <a:chOff x="0" y="0"/>
          <a:chExt cx="0" cy="0"/>
        </a:xfrm>
      </p:grpSpPr>
      <p:pic>
        <p:nvPicPr>
          <p:cNvPr id="395" name="image11.png"/>
          <p:cNvPicPr>
            <a:picLocks noChangeAspect="1"/>
          </p:cNvPicPr>
          <p:nvPr/>
        </p:nvPicPr>
        <p:blipFill>
          <a:blip r:embed="rId2"/>
          <a:stretch>
            <a:fillRect/>
          </a:stretch>
        </p:blipFill>
        <p:spPr>
          <a:xfrm>
            <a:off x="486802" y="341761"/>
            <a:ext cx="1623976" cy="338329"/>
          </a:xfrm>
          <a:prstGeom prst="rect">
            <a:avLst/>
          </a:prstGeom>
          <a:ln w="12700">
            <a:miter lim="400000"/>
          </a:ln>
        </p:spPr>
      </p:pic>
      <p:sp>
        <p:nvSpPr>
          <p:cNvPr id="396" name="Shape 396"/>
          <p:cNvSpPr/>
          <p:nvPr/>
        </p:nvSpPr>
        <p:spPr>
          <a:xfrm>
            <a:off x="485775" y="6257135"/>
            <a:ext cx="1819846" cy="1397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lvl1pPr>
              <a:defRPr sz="1000">
                <a:solidFill>
                  <a:srgbClr val="FFFFFF"/>
                </a:solidFill>
              </a:defRPr>
            </a:lvl1pPr>
          </a:lstStyle>
          <a:p>
            <a:r>
              <a:t>Businesses of Marsh McLennan</a:t>
            </a:r>
          </a:p>
        </p:txBody>
      </p:sp>
      <p:sp>
        <p:nvSpPr>
          <p:cNvPr id="397" name="Shape 397"/>
          <p:cNvSpPr>
            <a:spLocks noGrp="1"/>
          </p:cNvSpPr>
          <p:nvPr>
            <p:ph type="pic" sz="quarter" idx="13"/>
          </p:nvPr>
        </p:nvSpPr>
        <p:spPr>
          <a:xfrm>
            <a:off x="2202227" y="341143"/>
            <a:ext cx="2863215" cy="342901"/>
          </a:xfrm>
          <a:prstGeom prst="rect">
            <a:avLst/>
          </a:prstGeom>
        </p:spPr>
        <p:txBody>
          <a:bodyPr lIns="91439" tIns="45719" rIns="91439" bIns="45719"/>
          <a:lstStyle/>
          <a:p>
            <a:endParaRPr/>
          </a:p>
        </p:txBody>
      </p:sp>
      <p:sp>
        <p:nvSpPr>
          <p:cNvPr id="398" name="Shape 398"/>
          <p:cNvSpPr>
            <a:spLocks noGrp="1"/>
          </p:cNvSpPr>
          <p:nvPr>
            <p:ph type="pic" sz="quarter" idx="14"/>
          </p:nvPr>
        </p:nvSpPr>
        <p:spPr>
          <a:xfrm>
            <a:off x="8133618" y="361950"/>
            <a:ext cx="3575783" cy="495301"/>
          </a:xfrm>
          <a:prstGeom prst="rect">
            <a:avLst/>
          </a:prstGeom>
        </p:spPr>
        <p:txBody>
          <a:bodyPr lIns="91439" tIns="45719" rIns="91439" bIns="45719"/>
          <a:lstStyle/>
          <a:p>
            <a:endParaRPr/>
          </a:p>
        </p:txBody>
      </p:sp>
      <p:sp>
        <p:nvSpPr>
          <p:cNvPr id="399" name="Shape 399"/>
          <p:cNvSpPr>
            <a:spLocks noGrp="1"/>
          </p:cNvSpPr>
          <p:nvPr>
            <p:ph type="body" sz="quarter" idx="15"/>
          </p:nvPr>
        </p:nvSpPr>
        <p:spPr>
          <a:xfrm>
            <a:off x="485775" y="4870889"/>
            <a:ext cx="7400925" cy="1038526"/>
          </a:xfrm>
          <a:prstGeom prst="rect">
            <a:avLst/>
          </a:prstGeom>
        </p:spPr>
        <p:txBody>
          <a:bodyPr anchor="b"/>
          <a:lstStyle>
            <a:lvl1pPr>
              <a:spcBef>
                <a:spcPts val="0"/>
              </a:spcBef>
              <a:defRPr sz="1400">
                <a:solidFill>
                  <a:srgbClr val="FFFFFF"/>
                </a:solidFill>
              </a:defRPr>
            </a:lvl1pPr>
          </a:lstStyle>
          <a:p>
            <a:r>
              <a:t> </a:t>
            </a:r>
          </a:p>
        </p:txBody>
      </p:sp>
      <p:sp>
        <p:nvSpPr>
          <p:cNvPr id="400" name="Shape 400"/>
          <p:cNvSpPr>
            <a:spLocks noGrp="1"/>
          </p:cNvSpPr>
          <p:nvPr>
            <p:ph type="title"/>
          </p:nvPr>
        </p:nvSpPr>
        <p:spPr>
          <a:xfrm>
            <a:off x="448437" y="1764792"/>
            <a:ext cx="9365489" cy="1600201"/>
          </a:xfrm>
          <a:prstGeom prst="rect">
            <a:avLst/>
          </a:prstGeom>
        </p:spPr>
        <p:txBody>
          <a:bodyPr>
            <a:normAutofit/>
          </a:bodyPr>
          <a:lstStyle>
            <a:lvl1pPr>
              <a:lnSpc>
                <a:spcPct val="90000"/>
              </a:lnSpc>
              <a:defRPr sz="6000">
                <a:solidFill>
                  <a:srgbClr val="FFFFFF"/>
                </a:solidFill>
              </a:defRPr>
            </a:lvl1pPr>
          </a:lstStyle>
          <a:p>
            <a:r>
              <a:t>Texto del título</a:t>
            </a:r>
          </a:p>
        </p:txBody>
      </p:sp>
      <p:sp>
        <p:nvSpPr>
          <p:cNvPr id="401" name="Shape 401"/>
          <p:cNvSpPr>
            <a:spLocks noGrp="1"/>
          </p:cNvSpPr>
          <p:nvPr>
            <p:ph type="body" sz="quarter" idx="1"/>
          </p:nvPr>
        </p:nvSpPr>
        <p:spPr>
          <a:xfrm>
            <a:off x="462026" y="3557015"/>
            <a:ext cx="9310624" cy="788378"/>
          </a:xfrm>
          <a:prstGeom prst="rect">
            <a:avLst/>
          </a:prstGeom>
        </p:spPr>
        <p:txBody>
          <a:bodyPr>
            <a:normAutofit/>
          </a:bodyPr>
          <a:lstStyle>
            <a:lvl1pPr>
              <a:defRPr sz="2400">
                <a:solidFill>
                  <a:srgbClr val="FFFFFF"/>
                </a:solidFill>
              </a:defRPr>
            </a:lvl1pPr>
            <a:lvl2pPr marL="0" indent="457200">
              <a:buSzTx/>
              <a:buNone/>
              <a:defRPr sz="2400">
                <a:solidFill>
                  <a:srgbClr val="FFFFFF"/>
                </a:solidFill>
              </a:defRPr>
            </a:lvl2pPr>
            <a:lvl3pPr marL="0" indent="914400">
              <a:buSzTx/>
              <a:buNone/>
              <a:defRPr sz="2400">
                <a:solidFill>
                  <a:srgbClr val="FFFFFF"/>
                </a:solidFill>
              </a:defRPr>
            </a:lvl3pPr>
            <a:lvl4pPr marL="0" indent="1371600">
              <a:buSzTx/>
              <a:buNone/>
              <a:defRPr sz="2400">
                <a:solidFill>
                  <a:srgbClr val="FFFFFF"/>
                </a:solidFill>
              </a:defRPr>
            </a:lvl4pPr>
            <a:lvl5pPr marL="0" indent="1828800">
              <a:buSzTx/>
              <a:buNone/>
              <a:defRPr sz="2400">
                <a:solidFill>
                  <a:srgbClr val="FFFFFF"/>
                </a:solidFill>
              </a:defRPr>
            </a:lvl5pPr>
          </a:lstStyle>
          <a:p>
            <a:r>
              <a:t>Nivel de texto 1</a:t>
            </a:r>
          </a:p>
          <a:p>
            <a:pPr lvl="1"/>
            <a:r>
              <a:t>Nivel de texto 2</a:t>
            </a:r>
          </a:p>
          <a:p>
            <a:pPr lvl="2"/>
            <a:r>
              <a:t>Nivel de texto 3</a:t>
            </a:r>
          </a:p>
          <a:p>
            <a:pPr lvl="3"/>
            <a:r>
              <a:t>Nivel de texto 4</a:t>
            </a:r>
          </a:p>
          <a:p>
            <a:pPr lvl="4"/>
            <a:r>
              <a:t>Nivel de texto 5</a:t>
            </a:r>
          </a:p>
        </p:txBody>
      </p:sp>
      <p:sp>
        <p:nvSpPr>
          <p:cNvPr id="402" name="Shape 402"/>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4232695827"/>
      </p:ext>
    </p:extLst>
  </p:cSld>
  <p:clrMapOvr>
    <a:masterClrMapping/>
  </p:clrMapOvr>
  <p:transition spd="med"/>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3.xml"/><Relationship Id="rId21" Type="http://schemas.openxmlformats.org/officeDocument/2006/relationships/slideLayout" Target="../slideLayouts/slideLayout88.xml"/><Relationship Id="rId42" Type="http://schemas.openxmlformats.org/officeDocument/2006/relationships/slideLayout" Target="../slideLayouts/slideLayout109.xml"/><Relationship Id="rId47" Type="http://schemas.openxmlformats.org/officeDocument/2006/relationships/slideLayout" Target="../slideLayouts/slideLayout114.xml"/><Relationship Id="rId63" Type="http://schemas.openxmlformats.org/officeDocument/2006/relationships/slideLayout" Target="../slideLayouts/slideLayout130.xml"/><Relationship Id="rId68" Type="http://schemas.openxmlformats.org/officeDocument/2006/relationships/slideLayout" Target="../slideLayouts/slideLayout135.xml"/><Relationship Id="rId7" Type="http://schemas.openxmlformats.org/officeDocument/2006/relationships/slideLayout" Target="../slideLayouts/slideLayout74.xml"/><Relationship Id="rId71" Type="http://schemas.openxmlformats.org/officeDocument/2006/relationships/theme" Target="../theme/theme2.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9" Type="http://schemas.openxmlformats.org/officeDocument/2006/relationships/slideLayout" Target="../slideLayouts/slideLayout96.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slideLayout" Target="../slideLayouts/slideLayout99.xml"/><Relationship Id="rId37" Type="http://schemas.openxmlformats.org/officeDocument/2006/relationships/slideLayout" Target="../slideLayouts/slideLayout104.xml"/><Relationship Id="rId40" Type="http://schemas.openxmlformats.org/officeDocument/2006/relationships/slideLayout" Target="../slideLayouts/slideLayout107.xml"/><Relationship Id="rId45" Type="http://schemas.openxmlformats.org/officeDocument/2006/relationships/slideLayout" Target="../slideLayouts/slideLayout112.xml"/><Relationship Id="rId53" Type="http://schemas.openxmlformats.org/officeDocument/2006/relationships/slideLayout" Target="../slideLayouts/slideLayout120.xml"/><Relationship Id="rId58" Type="http://schemas.openxmlformats.org/officeDocument/2006/relationships/slideLayout" Target="../slideLayouts/slideLayout125.xml"/><Relationship Id="rId66" Type="http://schemas.openxmlformats.org/officeDocument/2006/relationships/slideLayout" Target="../slideLayouts/slideLayout133.xml"/><Relationship Id="rId5" Type="http://schemas.openxmlformats.org/officeDocument/2006/relationships/slideLayout" Target="../slideLayouts/slideLayout72.xml"/><Relationship Id="rId61" Type="http://schemas.openxmlformats.org/officeDocument/2006/relationships/slideLayout" Target="../slideLayouts/slideLayout128.xml"/><Relationship Id="rId19" Type="http://schemas.openxmlformats.org/officeDocument/2006/relationships/slideLayout" Target="../slideLayouts/slideLayout8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35" Type="http://schemas.openxmlformats.org/officeDocument/2006/relationships/slideLayout" Target="../slideLayouts/slideLayout102.xml"/><Relationship Id="rId43" Type="http://schemas.openxmlformats.org/officeDocument/2006/relationships/slideLayout" Target="../slideLayouts/slideLayout110.xml"/><Relationship Id="rId48" Type="http://schemas.openxmlformats.org/officeDocument/2006/relationships/slideLayout" Target="../slideLayouts/slideLayout115.xml"/><Relationship Id="rId56" Type="http://schemas.openxmlformats.org/officeDocument/2006/relationships/slideLayout" Target="../slideLayouts/slideLayout123.xml"/><Relationship Id="rId64" Type="http://schemas.openxmlformats.org/officeDocument/2006/relationships/slideLayout" Target="../slideLayouts/slideLayout131.xml"/><Relationship Id="rId69" Type="http://schemas.openxmlformats.org/officeDocument/2006/relationships/slideLayout" Target="../slideLayouts/slideLayout136.xml"/><Relationship Id="rId8" Type="http://schemas.openxmlformats.org/officeDocument/2006/relationships/slideLayout" Target="../slideLayouts/slideLayout75.xml"/><Relationship Id="rId51" Type="http://schemas.openxmlformats.org/officeDocument/2006/relationships/slideLayout" Target="../slideLayouts/slideLayout118.xml"/><Relationship Id="rId3" Type="http://schemas.openxmlformats.org/officeDocument/2006/relationships/slideLayout" Target="../slideLayouts/slideLayout70.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slideLayout" Target="../slideLayouts/slideLayout100.xml"/><Relationship Id="rId38" Type="http://schemas.openxmlformats.org/officeDocument/2006/relationships/slideLayout" Target="../slideLayouts/slideLayout105.xml"/><Relationship Id="rId46" Type="http://schemas.openxmlformats.org/officeDocument/2006/relationships/slideLayout" Target="../slideLayouts/slideLayout113.xml"/><Relationship Id="rId59" Type="http://schemas.openxmlformats.org/officeDocument/2006/relationships/slideLayout" Target="../slideLayouts/slideLayout126.xml"/><Relationship Id="rId67" Type="http://schemas.openxmlformats.org/officeDocument/2006/relationships/slideLayout" Target="../slideLayouts/slideLayout134.xml"/><Relationship Id="rId20" Type="http://schemas.openxmlformats.org/officeDocument/2006/relationships/slideLayout" Target="../slideLayouts/slideLayout87.xml"/><Relationship Id="rId41" Type="http://schemas.openxmlformats.org/officeDocument/2006/relationships/slideLayout" Target="../slideLayouts/slideLayout108.xml"/><Relationship Id="rId54" Type="http://schemas.openxmlformats.org/officeDocument/2006/relationships/slideLayout" Target="../slideLayouts/slideLayout121.xml"/><Relationship Id="rId62" Type="http://schemas.openxmlformats.org/officeDocument/2006/relationships/slideLayout" Target="../slideLayouts/slideLayout129.xml"/><Relationship Id="rId70" Type="http://schemas.openxmlformats.org/officeDocument/2006/relationships/slideLayout" Target="../slideLayouts/slideLayout13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36" Type="http://schemas.openxmlformats.org/officeDocument/2006/relationships/slideLayout" Target="../slideLayouts/slideLayout103.xml"/><Relationship Id="rId49" Type="http://schemas.openxmlformats.org/officeDocument/2006/relationships/slideLayout" Target="../slideLayouts/slideLayout116.xml"/><Relationship Id="rId57" Type="http://schemas.openxmlformats.org/officeDocument/2006/relationships/slideLayout" Target="../slideLayouts/slideLayout124.xml"/><Relationship Id="rId10" Type="http://schemas.openxmlformats.org/officeDocument/2006/relationships/slideLayout" Target="../slideLayouts/slideLayout77.xml"/><Relationship Id="rId31" Type="http://schemas.openxmlformats.org/officeDocument/2006/relationships/slideLayout" Target="../slideLayouts/slideLayout98.xml"/><Relationship Id="rId44" Type="http://schemas.openxmlformats.org/officeDocument/2006/relationships/slideLayout" Target="../slideLayouts/slideLayout111.xml"/><Relationship Id="rId52" Type="http://schemas.openxmlformats.org/officeDocument/2006/relationships/slideLayout" Target="../slideLayouts/slideLayout119.xml"/><Relationship Id="rId60" Type="http://schemas.openxmlformats.org/officeDocument/2006/relationships/slideLayout" Target="../slideLayouts/slideLayout127.xml"/><Relationship Id="rId65" Type="http://schemas.openxmlformats.org/officeDocument/2006/relationships/slideLayout" Target="../slideLayouts/slideLayout132.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9" Type="http://schemas.openxmlformats.org/officeDocument/2006/relationships/slideLayout" Target="../slideLayouts/slideLayout106.xml"/><Relationship Id="rId34" Type="http://schemas.openxmlformats.org/officeDocument/2006/relationships/slideLayout" Target="../slideLayouts/slideLayout101.xml"/><Relationship Id="rId50" Type="http://schemas.openxmlformats.org/officeDocument/2006/relationships/slideLayout" Target="../slideLayouts/slideLayout117.xml"/><Relationship Id="rId55" Type="http://schemas.openxmlformats.org/officeDocument/2006/relationships/slideLayout" Target="../slideLayouts/slideLayout122.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63.xml"/><Relationship Id="rId21" Type="http://schemas.openxmlformats.org/officeDocument/2006/relationships/slideLayout" Target="../slideLayouts/slideLayout158.xml"/><Relationship Id="rId34" Type="http://schemas.openxmlformats.org/officeDocument/2006/relationships/slideLayout" Target="../slideLayouts/slideLayout171.xml"/><Relationship Id="rId42" Type="http://schemas.openxmlformats.org/officeDocument/2006/relationships/slideLayout" Target="../slideLayouts/slideLayout179.xml"/><Relationship Id="rId47" Type="http://schemas.openxmlformats.org/officeDocument/2006/relationships/slideLayout" Target="../slideLayouts/slideLayout184.xml"/><Relationship Id="rId50" Type="http://schemas.openxmlformats.org/officeDocument/2006/relationships/slideLayout" Target="../slideLayouts/slideLayout187.xml"/><Relationship Id="rId55" Type="http://schemas.openxmlformats.org/officeDocument/2006/relationships/slideLayout" Target="../slideLayouts/slideLayout192.xml"/><Relationship Id="rId63" Type="http://schemas.openxmlformats.org/officeDocument/2006/relationships/tags" Target="../tags/tag2.xml"/><Relationship Id="rId7" Type="http://schemas.openxmlformats.org/officeDocument/2006/relationships/slideLayout" Target="../slideLayouts/slideLayout14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9" Type="http://schemas.openxmlformats.org/officeDocument/2006/relationships/slideLayout" Target="../slideLayouts/slideLayout166.xml"/><Relationship Id="rId11" Type="http://schemas.openxmlformats.org/officeDocument/2006/relationships/slideLayout" Target="../slideLayouts/slideLayout148.xml"/><Relationship Id="rId24" Type="http://schemas.openxmlformats.org/officeDocument/2006/relationships/slideLayout" Target="../slideLayouts/slideLayout161.xml"/><Relationship Id="rId32" Type="http://schemas.openxmlformats.org/officeDocument/2006/relationships/slideLayout" Target="../slideLayouts/slideLayout169.xml"/><Relationship Id="rId37" Type="http://schemas.openxmlformats.org/officeDocument/2006/relationships/slideLayout" Target="../slideLayouts/slideLayout174.xml"/><Relationship Id="rId40" Type="http://schemas.openxmlformats.org/officeDocument/2006/relationships/slideLayout" Target="../slideLayouts/slideLayout177.xml"/><Relationship Id="rId45" Type="http://schemas.openxmlformats.org/officeDocument/2006/relationships/slideLayout" Target="../slideLayouts/slideLayout182.xml"/><Relationship Id="rId53" Type="http://schemas.openxmlformats.org/officeDocument/2006/relationships/slideLayout" Target="../slideLayouts/slideLayout190.xml"/><Relationship Id="rId58" Type="http://schemas.openxmlformats.org/officeDocument/2006/relationships/slideLayout" Target="../slideLayouts/slideLayout195.xml"/><Relationship Id="rId66" Type="http://schemas.openxmlformats.org/officeDocument/2006/relationships/image" Target="../media/image1.png"/><Relationship Id="rId5" Type="http://schemas.openxmlformats.org/officeDocument/2006/relationships/slideLayout" Target="../slideLayouts/slideLayout142.xml"/><Relationship Id="rId61" Type="http://schemas.openxmlformats.org/officeDocument/2006/relationships/slideLayout" Target="../slideLayouts/slideLayout198.xml"/><Relationship Id="rId19" Type="http://schemas.openxmlformats.org/officeDocument/2006/relationships/slideLayout" Target="../slideLayouts/slideLayout156.xml"/><Relationship Id="rId14" Type="http://schemas.openxmlformats.org/officeDocument/2006/relationships/slideLayout" Target="../slideLayouts/slideLayout151.xml"/><Relationship Id="rId22" Type="http://schemas.openxmlformats.org/officeDocument/2006/relationships/slideLayout" Target="../slideLayouts/slideLayout159.xml"/><Relationship Id="rId27" Type="http://schemas.openxmlformats.org/officeDocument/2006/relationships/slideLayout" Target="../slideLayouts/slideLayout164.xml"/><Relationship Id="rId30" Type="http://schemas.openxmlformats.org/officeDocument/2006/relationships/slideLayout" Target="../slideLayouts/slideLayout167.xml"/><Relationship Id="rId35" Type="http://schemas.openxmlformats.org/officeDocument/2006/relationships/slideLayout" Target="../slideLayouts/slideLayout172.xml"/><Relationship Id="rId43" Type="http://schemas.openxmlformats.org/officeDocument/2006/relationships/slideLayout" Target="../slideLayouts/slideLayout180.xml"/><Relationship Id="rId48" Type="http://schemas.openxmlformats.org/officeDocument/2006/relationships/slideLayout" Target="../slideLayouts/slideLayout185.xml"/><Relationship Id="rId56" Type="http://schemas.openxmlformats.org/officeDocument/2006/relationships/slideLayout" Target="../slideLayouts/slideLayout193.xml"/><Relationship Id="rId64" Type="http://schemas.openxmlformats.org/officeDocument/2006/relationships/oleObject" Target="../embeddings/oleObject2.bin"/><Relationship Id="rId8" Type="http://schemas.openxmlformats.org/officeDocument/2006/relationships/slideLayout" Target="../slideLayouts/slideLayout145.xml"/><Relationship Id="rId51" Type="http://schemas.openxmlformats.org/officeDocument/2006/relationships/slideLayout" Target="../slideLayouts/slideLayout188.xml"/><Relationship Id="rId3" Type="http://schemas.openxmlformats.org/officeDocument/2006/relationships/slideLayout" Target="../slideLayouts/slideLayout140.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5" Type="http://schemas.openxmlformats.org/officeDocument/2006/relationships/slideLayout" Target="../slideLayouts/slideLayout162.xml"/><Relationship Id="rId33" Type="http://schemas.openxmlformats.org/officeDocument/2006/relationships/slideLayout" Target="../slideLayouts/slideLayout170.xml"/><Relationship Id="rId38" Type="http://schemas.openxmlformats.org/officeDocument/2006/relationships/slideLayout" Target="../slideLayouts/slideLayout175.xml"/><Relationship Id="rId46" Type="http://schemas.openxmlformats.org/officeDocument/2006/relationships/slideLayout" Target="../slideLayouts/slideLayout183.xml"/><Relationship Id="rId59" Type="http://schemas.openxmlformats.org/officeDocument/2006/relationships/slideLayout" Target="../slideLayouts/slideLayout196.xml"/><Relationship Id="rId67" Type="http://schemas.openxmlformats.org/officeDocument/2006/relationships/image" Target="../media/image9.svg"/><Relationship Id="rId20" Type="http://schemas.openxmlformats.org/officeDocument/2006/relationships/slideLayout" Target="../slideLayouts/slideLayout157.xml"/><Relationship Id="rId41" Type="http://schemas.openxmlformats.org/officeDocument/2006/relationships/slideLayout" Target="../slideLayouts/slideLayout178.xml"/><Relationship Id="rId54" Type="http://schemas.openxmlformats.org/officeDocument/2006/relationships/slideLayout" Target="../slideLayouts/slideLayout191.xml"/><Relationship Id="rId62" Type="http://schemas.openxmlformats.org/officeDocument/2006/relationships/theme" Target="../theme/theme3.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5" Type="http://schemas.openxmlformats.org/officeDocument/2006/relationships/slideLayout" Target="../slideLayouts/slideLayout152.xml"/><Relationship Id="rId23" Type="http://schemas.openxmlformats.org/officeDocument/2006/relationships/slideLayout" Target="../slideLayouts/slideLayout160.xml"/><Relationship Id="rId28" Type="http://schemas.openxmlformats.org/officeDocument/2006/relationships/slideLayout" Target="../slideLayouts/slideLayout165.xml"/><Relationship Id="rId36" Type="http://schemas.openxmlformats.org/officeDocument/2006/relationships/slideLayout" Target="../slideLayouts/slideLayout173.xml"/><Relationship Id="rId49" Type="http://schemas.openxmlformats.org/officeDocument/2006/relationships/slideLayout" Target="../slideLayouts/slideLayout186.xml"/><Relationship Id="rId57" Type="http://schemas.openxmlformats.org/officeDocument/2006/relationships/slideLayout" Target="../slideLayouts/slideLayout194.xml"/><Relationship Id="rId10" Type="http://schemas.openxmlformats.org/officeDocument/2006/relationships/slideLayout" Target="../slideLayouts/slideLayout147.xml"/><Relationship Id="rId31" Type="http://schemas.openxmlformats.org/officeDocument/2006/relationships/slideLayout" Target="../slideLayouts/slideLayout168.xml"/><Relationship Id="rId44" Type="http://schemas.openxmlformats.org/officeDocument/2006/relationships/slideLayout" Target="../slideLayouts/slideLayout181.xml"/><Relationship Id="rId52" Type="http://schemas.openxmlformats.org/officeDocument/2006/relationships/slideLayout" Target="../slideLayouts/slideLayout189.xml"/><Relationship Id="rId60" Type="http://schemas.openxmlformats.org/officeDocument/2006/relationships/slideLayout" Target="../slideLayouts/slideLayout197.xml"/><Relationship Id="rId65" Type="http://schemas.openxmlformats.org/officeDocument/2006/relationships/image" Target="../media/image8.emf"/><Relationship Id="rId4" Type="http://schemas.openxmlformats.org/officeDocument/2006/relationships/slideLayout" Target="../slideLayouts/slideLayout141.xml"/><Relationship Id="rId9" Type="http://schemas.openxmlformats.org/officeDocument/2006/relationships/slideLayout" Target="../slideLayouts/slideLayout146.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9" Type="http://schemas.openxmlformats.org/officeDocument/2006/relationships/slideLayout" Target="../slideLayouts/slideLayout176.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224.xml"/><Relationship Id="rId21" Type="http://schemas.openxmlformats.org/officeDocument/2006/relationships/slideLayout" Target="../slideLayouts/slideLayout219.xml"/><Relationship Id="rId34" Type="http://schemas.openxmlformats.org/officeDocument/2006/relationships/slideLayout" Target="../slideLayouts/slideLayout232.xml"/><Relationship Id="rId42" Type="http://schemas.openxmlformats.org/officeDocument/2006/relationships/slideLayout" Target="../slideLayouts/slideLayout240.xml"/><Relationship Id="rId47" Type="http://schemas.openxmlformats.org/officeDocument/2006/relationships/slideLayout" Target="../slideLayouts/slideLayout245.xml"/><Relationship Id="rId50" Type="http://schemas.openxmlformats.org/officeDocument/2006/relationships/slideLayout" Target="../slideLayouts/slideLayout248.xml"/><Relationship Id="rId55" Type="http://schemas.openxmlformats.org/officeDocument/2006/relationships/slideLayout" Target="../slideLayouts/slideLayout253.xml"/><Relationship Id="rId63" Type="http://schemas.openxmlformats.org/officeDocument/2006/relationships/theme" Target="../theme/theme4.xml"/><Relationship Id="rId68" Type="http://schemas.openxmlformats.org/officeDocument/2006/relationships/image" Target="../media/image9.svg"/><Relationship Id="rId7" Type="http://schemas.openxmlformats.org/officeDocument/2006/relationships/slideLayout" Target="../slideLayouts/slideLayout205.xml"/><Relationship Id="rId2" Type="http://schemas.openxmlformats.org/officeDocument/2006/relationships/slideLayout" Target="../slideLayouts/slideLayout200.xml"/><Relationship Id="rId16" Type="http://schemas.openxmlformats.org/officeDocument/2006/relationships/slideLayout" Target="../slideLayouts/slideLayout214.xml"/><Relationship Id="rId29" Type="http://schemas.openxmlformats.org/officeDocument/2006/relationships/slideLayout" Target="../slideLayouts/slideLayout227.xml"/><Relationship Id="rId11" Type="http://schemas.openxmlformats.org/officeDocument/2006/relationships/slideLayout" Target="../slideLayouts/slideLayout209.xml"/><Relationship Id="rId24" Type="http://schemas.openxmlformats.org/officeDocument/2006/relationships/slideLayout" Target="../slideLayouts/slideLayout222.xml"/><Relationship Id="rId32" Type="http://schemas.openxmlformats.org/officeDocument/2006/relationships/slideLayout" Target="../slideLayouts/slideLayout230.xml"/><Relationship Id="rId37" Type="http://schemas.openxmlformats.org/officeDocument/2006/relationships/slideLayout" Target="../slideLayouts/slideLayout235.xml"/><Relationship Id="rId40" Type="http://schemas.openxmlformats.org/officeDocument/2006/relationships/slideLayout" Target="../slideLayouts/slideLayout238.xml"/><Relationship Id="rId45" Type="http://schemas.openxmlformats.org/officeDocument/2006/relationships/slideLayout" Target="../slideLayouts/slideLayout243.xml"/><Relationship Id="rId53" Type="http://schemas.openxmlformats.org/officeDocument/2006/relationships/slideLayout" Target="../slideLayouts/slideLayout251.xml"/><Relationship Id="rId58" Type="http://schemas.openxmlformats.org/officeDocument/2006/relationships/slideLayout" Target="../slideLayouts/slideLayout256.xml"/><Relationship Id="rId66" Type="http://schemas.openxmlformats.org/officeDocument/2006/relationships/image" Target="../media/image8.emf"/><Relationship Id="rId5" Type="http://schemas.openxmlformats.org/officeDocument/2006/relationships/slideLayout" Target="../slideLayouts/slideLayout203.xml"/><Relationship Id="rId61" Type="http://schemas.openxmlformats.org/officeDocument/2006/relationships/slideLayout" Target="../slideLayouts/slideLayout259.xml"/><Relationship Id="rId19" Type="http://schemas.openxmlformats.org/officeDocument/2006/relationships/slideLayout" Target="../slideLayouts/slideLayout217.xml"/><Relationship Id="rId14" Type="http://schemas.openxmlformats.org/officeDocument/2006/relationships/slideLayout" Target="../slideLayouts/slideLayout212.xml"/><Relationship Id="rId22" Type="http://schemas.openxmlformats.org/officeDocument/2006/relationships/slideLayout" Target="../slideLayouts/slideLayout220.xml"/><Relationship Id="rId27" Type="http://schemas.openxmlformats.org/officeDocument/2006/relationships/slideLayout" Target="../slideLayouts/slideLayout225.xml"/><Relationship Id="rId30" Type="http://schemas.openxmlformats.org/officeDocument/2006/relationships/slideLayout" Target="../slideLayouts/slideLayout228.xml"/><Relationship Id="rId35" Type="http://schemas.openxmlformats.org/officeDocument/2006/relationships/slideLayout" Target="../slideLayouts/slideLayout233.xml"/><Relationship Id="rId43" Type="http://schemas.openxmlformats.org/officeDocument/2006/relationships/slideLayout" Target="../slideLayouts/slideLayout241.xml"/><Relationship Id="rId48" Type="http://schemas.openxmlformats.org/officeDocument/2006/relationships/slideLayout" Target="../slideLayouts/slideLayout246.xml"/><Relationship Id="rId56" Type="http://schemas.openxmlformats.org/officeDocument/2006/relationships/slideLayout" Target="../slideLayouts/slideLayout254.xml"/><Relationship Id="rId64" Type="http://schemas.openxmlformats.org/officeDocument/2006/relationships/tags" Target="../tags/tag62.xml"/><Relationship Id="rId8" Type="http://schemas.openxmlformats.org/officeDocument/2006/relationships/slideLayout" Target="../slideLayouts/slideLayout206.xml"/><Relationship Id="rId51" Type="http://schemas.openxmlformats.org/officeDocument/2006/relationships/slideLayout" Target="../slideLayouts/slideLayout249.xml"/><Relationship Id="rId3" Type="http://schemas.openxmlformats.org/officeDocument/2006/relationships/slideLayout" Target="../slideLayouts/slideLayout201.xml"/><Relationship Id="rId12" Type="http://schemas.openxmlformats.org/officeDocument/2006/relationships/slideLayout" Target="../slideLayouts/slideLayout210.xml"/><Relationship Id="rId17" Type="http://schemas.openxmlformats.org/officeDocument/2006/relationships/slideLayout" Target="../slideLayouts/slideLayout215.xml"/><Relationship Id="rId25" Type="http://schemas.openxmlformats.org/officeDocument/2006/relationships/slideLayout" Target="../slideLayouts/slideLayout223.xml"/><Relationship Id="rId33" Type="http://schemas.openxmlformats.org/officeDocument/2006/relationships/slideLayout" Target="../slideLayouts/slideLayout231.xml"/><Relationship Id="rId38" Type="http://schemas.openxmlformats.org/officeDocument/2006/relationships/slideLayout" Target="../slideLayouts/slideLayout236.xml"/><Relationship Id="rId46" Type="http://schemas.openxmlformats.org/officeDocument/2006/relationships/slideLayout" Target="../slideLayouts/slideLayout244.xml"/><Relationship Id="rId59" Type="http://schemas.openxmlformats.org/officeDocument/2006/relationships/slideLayout" Target="../slideLayouts/slideLayout257.xml"/><Relationship Id="rId67" Type="http://schemas.openxmlformats.org/officeDocument/2006/relationships/image" Target="../media/image1.png"/><Relationship Id="rId20" Type="http://schemas.openxmlformats.org/officeDocument/2006/relationships/slideLayout" Target="../slideLayouts/slideLayout218.xml"/><Relationship Id="rId41" Type="http://schemas.openxmlformats.org/officeDocument/2006/relationships/slideLayout" Target="../slideLayouts/slideLayout239.xml"/><Relationship Id="rId54" Type="http://schemas.openxmlformats.org/officeDocument/2006/relationships/slideLayout" Target="../slideLayouts/slideLayout252.xml"/><Relationship Id="rId62" Type="http://schemas.openxmlformats.org/officeDocument/2006/relationships/slideLayout" Target="../slideLayouts/slideLayout260.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5" Type="http://schemas.openxmlformats.org/officeDocument/2006/relationships/slideLayout" Target="../slideLayouts/slideLayout213.xml"/><Relationship Id="rId23" Type="http://schemas.openxmlformats.org/officeDocument/2006/relationships/slideLayout" Target="../slideLayouts/slideLayout221.xml"/><Relationship Id="rId28" Type="http://schemas.openxmlformats.org/officeDocument/2006/relationships/slideLayout" Target="../slideLayouts/slideLayout226.xml"/><Relationship Id="rId36" Type="http://schemas.openxmlformats.org/officeDocument/2006/relationships/slideLayout" Target="../slideLayouts/slideLayout234.xml"/><Relationship Id="rId49" Type="http://schemas.openxmlformats.org/officeDocument/2006/relationships/slideLayout" Target="../slideLayouts/slideLayout247.xml"/><Relationship Id="rId57" Type="http://schemas.openxmlformats.org/officeDocument/2006/relationships/slideLayout" Target="../slideLayouts/slideLayout255.xml"/><Relationship Id="rId10" Type="http://schemas.openxmlformats.org/officeDocument/2006/relationships/slideLayout" Target="../slideLayouts/slideLayout208.xml"/><Relationship Id="rId31" Type="http://schemas.openxmlformats.org/officeDocument/2006/relationships/slideLayout" Target="../slideLayouts/slideLayout229.xml"/><Relationship Id="rId44" Type="http://schemas.openxmlformats.org/officeDocument/2006/relationships/slideLayout" Target="../slideLayouts/slideLayout242.xml"/><Relationship Id="rId52" Type="http://schemas.openxmlformats.org/officeDocument/2006/relationships/slideLayout" Target="../slideLayouts/slideLayout250.xml"/><Relationship Id="rId60" Type="http://schemas.openxmlformats.org/officeDocument/2006/relationships/slideLayout" Target="../slideLayouts/slideLayout258.xml"/><Relationship Id="rId65" Type="http://schemas.openxmlformats.org/officeDocument/2006/relationships/oleObject" Target="../embeddings/oleObject51.bin"/><Relationship Id="rId4" Type="http://schemas.openxmlformats.org/officeDocument/2006/relationships/slideLayout" Target="../slideLayouts/slideLayout202.xml"/><Relationship Id="rId9" Type="http://schemas.openxmlformats.org/officeDocument/2006/relationships/slideLayout" Target="../slideLayouts/slideLayout207.xml"/><Relationship Id="rId13" Type="http://schemas.openxmlformats.org/officeDocument/2006/relationships/slideLayout" Target="../slideLayouts/slideLayout211.xml"/><Relationship Id="rId18" Type="http://schemas.openxmlformats.org/officeDocument/2006/relationships/slideLayout" Target="../slideLayouts/slideLayout216.xml"/><Relationship Id="rId39" Type="http://schemas.openxmlformats.org/officeDocument/2006/relationships/slideLayout" Target="../slideLayouts/slideLayout23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68.xml"/><Relationship Id="rId13" Type="http://schemas.openxmlformats.org/officeDocument/2006/relationships/theme" Target="../theme/theme5.xml"/><Relationship Id="rId18" Type="http://schemas.openxmlformats.org/officeDocument/2006/relationships/tags" Target="../tags/tag126.xml"/><Relationship Id="rId3" Type="http://schemas.openxmlformats.org/officeDocument/2006/relationships/slideLayout" Target="../slideLayouts/slideLayout263.xml"/><Relationship Id="rId7" Type="http://schemas.openxmlformats.org/officeDocument/2006/relationships/slideLayout" Target="../slideLayouts/slideLayout267.xml"/><Relationship Id="rId12" Type="http://schemas.openxmlformats.org/officeDocument/2006/relationships/slideLayout" Target="../slideLayouts/slideLayout272.xml"/><Relationship Id="rId17" Type="http://schemas.openxmlformats.org/officeDocument/2006/relationships/tags" Target="../tags/tag125.xml"/><Relationship Id="rId2" Type="http://schemas.openxmlformats.org/officeDocument/2006/relationships/slideLayout" Target="../slideLayouts/slideLayout262.xml"/><Relationship Id="rId16" Type="http://schemas.openxmlformats.org/officeDocument/2006/relationships/tags" Target="../tags/tag124.xml"/><Relationship Id="rId20" Type="http://schemas.openxmlformats.org/officeDocument/2006/relationships/tags" Target="../tags/tag128.xml"/><Relationship Id="rId1" Type="http://schemas.openxmlformats.org/officeDocument/2006/relationships/slideLayout" Target="../slideLayouts/slideLayout261.xml"/><Relationship Id="rId6" Type="http://schemas.openxmlformats.org/officeDocument/2006/relationships/slideLayout" Target="../slideLayouts/slideLayout266.xml"/><Relationship Id="rId11" Type="http://schemas.openxmlformats.org/officeDocument/2006/relationships/slideLayout" Target="../slideLayouts/slideLayout271.xml"/><Relationship Id="rId5" Type="http://schemas.openxmlformats.org/officeDocument/2006/relationships/slideLayout" Target="../slideLayouts/slideLayout265.xml"/><Relationship Id="rId15" Type="http://schemas.openxmlformats.org/officeDocument/2006/relationships/tags" Target="../tags/tag123.xml"/><Relationship Id="rId10" Type="http://schemas.openxmlformats.org/officeDocument/2006/relationships/slideLayout" Target="../slideLayouts/slideLayout270.xml"/><Relationship Id="rId19" Type="http://schemas.openxmlformats.org/officeDocument/2006/relationships/tags" Target="../tags/tag127.xml"/><Relationship Id="rId4" Type="http://schemas.openxmlformats.org/officeDocument/2006/relationships/slideLayout" Target="../slideLayouts/slideLayout264.xml"/><Relationship Id="rId9" Type="http://schemas.openxmlformats.org/officeDocument/2006/relationships/slideLayout" Target="../slideLayouts/slideLayout269.xml"/><Relationship Id="rId14" Type="http://schemas.openxmlformats.org/officeDocument/2006/relationships/tags" Target="../tags/tag122.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298.xml"/><Relationship Id="rId21" Type="http://schemas.openxmlformats.org/officeDocument/2006/relationships/slideLayout" Target="../slideLayouts/slideLayout293.xml"/><Relationship Id="rId34" Type="http://schemas.openxmlformats.org/officeDocument/2006/relationships/slideLayout" Target="../slideLayouts/slideLayout306.xml"/><Relationship Id="rId42" Type="http://schemas.openxmlformats.org/officeDocument/2006/relationships/slideLayout" Target="../slideLayouts/slideLayout314.xml"/><Relationship Id="rId47" Type="http://schemas.openxmlformats.org/officeDocument/2006/relationships/slideLayout" Target="../slideLayouts/slideLayout319.xml"/><Relationship Id="rId50" Type="http://schemas.openxmlformats.org/officeDocument/2006/relationships/slideLayout" Target="../slideLayouts/slideLayout322.xml"/><Relationship Id="rId55" Type="http://schemas.openxmlformats.org/officeDocument/2006/relationships/slideLayout" Target="../slideLayouts/slideLayout327.xml"/><Relationship Id="rId63" Type="http://schemas.openxmlformats.org/officeDocument/2006/relationships/tags" Target="../tags/tag133.xml"/><Relationship Id="rId7" Type="http://schemas.openxmlformats.org/officeDocument/2006/relationships/slideLayout" Target="../slideLayouts/slideLayout279.xml"/><Relationship Id="rId2" Type="http://schemas.openxmlformats.org/officeDocument/2006/relationships/slideLayout" Target="../slideLayouts/slideLayout274.xml"/><Relationship Id="rId16" Type="http://schemas.openxmlformats.org/officeDocument/2006/relationships/slideLayout" Target="../slideLayouts/slideLayout288.xml"/><Relationship Id="rId29" Type="http://schemas.openxmlformats.org/officeDocument/2006/relationships/slideLayout" Target="../slideLayouts/slideLayout301.xml"/><Relationship Id="rId11" Type="http://schemas.openxmlformats.org/officeDocument/2006/relationships/slideLayout" Target="../slideLayouts/slideLayout283.xml"/><Relationship Id="rId24" Type="http://schemas.openxmlformats.org/officeDocument/2006/relationships/slideLayout" Target="../slideLayouts/slideLayout296.xml"/><Relationship Id="rId32" Type="http://schemas.openxmlformats.org/officeDocument/2006/relationships/slideLayout" Target="../slideLayouts/slideLayout304.xml"/><Relationship Id="rId37" Type="http://schemas.openxmlformats.org/officeDocument/2006/relationships/slideLayout" Target="../slideLayouts/slideLayout309.xml"/><Relationship Id="rId40" Type="http://schemas.openxmlformats.org/officeDocument/2006/relationships/slideLayout" Target="../slideLayouts/slideLayout312.xml"/><Relationship Id="rId45" Type="http://schemas.openxmlformats.org/officeDocument/2006/relationships/slideLayout" Target="../slideLayouts/slideLayout317.xml"/><Relationship Id="rId53" Type="http://schemas.openxmlformats.org/officeDocument/2006/relationships/slideLayout" Target="../slideLayouts/slideLayout325.xml"/><Relationship Id="rId58" Type="http://schemas.openxmlformats.org/officeDocument/2006/relationships/slideLayout" Target="../slideLayouts/slideLayout330.xml"/><Relationship Id="rId66" Type="http://schemas.openxmlformats.org/officeDocument/2006/relationships/image" Target="../media/image32.png"/><Relationship Id="rId5" Type="http://schemas.openxmlformats.org/officeDocument/2006/relationships/slideLayout" Target="../slideLayouts/slideLayout277.xml"/><Relationship Id="rId61" Type="http://schemas.openxmlformats.org/officeDocument/2006/relationships/slideLayout" Target="../slideLayouts/slideLayout333.xml"/><Relationship Id="rId19" Type="http://schemas.openxmlformats.org/officeDocument/2006/relationships/slideLayout" Target="../slideLayouts/slideLayout291.xml"/><Relationship Id="rId14" Type="http://schemas.openxmlformats.org/officeDocument/2006/relationships/slideLayout" Target="../slideLayouts/slideLayout286.xml"/><Relationship Id="rId22" Type="http://schemas.openxmlformats.org/officeDocument/2006/relationships/slideLayout" Target="../slideLayouts/slideLayout294.xml"/><Relationship Id="rId27" Type="http://schemas.openxmlformats.org/officeDocument/2006/relationships/slideLayout" Target="../slideLayouts/slideLayout299.xml"/><Relationship Id="rId30" Type="http://schemas.openxmlformats.org/officeDocument/2006/relationships/slideLayout" Target="../slideLayouts/slideLayout302.xml"/><Relationship Id="rId35" Type="http://schemas.openxmlformats.org/officeDocument/2006/relationships/slideLayout" Target="../slideLayouts/slideLayout307.xml"/><Relationship Id="rId43" Type="http://schemas.openxmlformats.org/officeDocument/2006/relationships/slideLayout" Target="../slideLayouts/slideLayout315.xml"/><Relationship Id="rId48" Type="http://schemas.openxmlformats.org/officeDocument/2006/relationships/slideLayout" Target="../slideLayouts/slideLayout320.xml"/><Relationship Id="rId56" Type="http://schemas.openxmlformats.org/officeDocument/2006/relationships/slideLayout" Target="../slideLayouts/slideLayout328.xml"/><Relationship Id="rId64" Type="http://schemas.openxmlformats.org/officeDocument/2006/relationships/oleObject" Target="../embeddings/oleObject99.bin"/><Relationship Id="rId8" Type="http://schemas.openxmlformats.org/officeDocument/2006/relationships/slideLayout" Target="../slideLayouts/slideLayout280.xml"/><Relationship Id="rId51" Type="http://schemas.openxmlformats.org/officeDocument/2006/relationships/slideLayout" Target="../slideLayouts/slideLayout323.xml"/><Relationship Id="rId3" Type="http://schemas.openxmlformats.org/officeDocument/2006/relationships/slideLayout" Target="../slideLayouts/slideLayout275.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5" Type="http://schemas.openxmlformats.org/officeDocument/2006/relationships/slideLayout" Target="../slideLayouts/slideLayout297.xml"/><Relationship Id="rId33" Type="http://schemas.openxmlformats.org/officeDocument/2006/relationships/slideLayout" Target="../slideLayouts/slideLayout305.xml"/><Relationship Id="rId38" Type="http://schemas.openxmlformats.org/officeDocument/2006/relationships/slideLayout" Target="../slideLayouts/slideLayout310.xml"/><Relationship Id="rId46" Type="http://schemas.openxmlformats.org/officeDocument/2006/relationships/slideLayout" Target="../slideLayouts/slideLayout318.xml"/><Relationship Id="rId59" Type="http://schemas.openxmlformats.org/officeDocument/2006/relationships/slideLayout" Target="../slideLayouts/slideLayout331.xml"/><Relationship Id="rId67" Type="http://schemas.openxmlformats.org/officeDocument/2006/relationships/image" Target="../media/image9.svg"/><Relationship Id="rId20" Type="http://schemas.openxmlformats.org/officeDocument/2006/relationships/slideLayout" Target="../slideLayouts/slideLayout292.xml"/><Relationship Id="rId41" Type="http://schemas.openxmlformats.org/officeDocument/2006/relationships/slideLayout" Target="../slideLayouts/slideLayout313.xml"/><Relationship Id="rId54" Type="http://schemas.openxmlformats.org/officeDocument/2006/relationships/slideLayout" Target="../slideLayouts/slideLayout326.xml"/><Relationship Id="rId62" Type="http://schemas.openxmlformats.org/officeDocument/2006/relationships/theme" Target="../theme/theme6.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5" Type="http://schemas.openxmlformats.org/officeDocument/2006/relationships/slideLayout" Target="../slideLayouts/slideLayout287.xml"/><Relationship Id="rId23" Type="http://schemas.openxmlformats.org/officeDocument/2006/relationships/slideLayout" Target="../slideLayouts/slideLayout295.xml"/><Relationship Id="rId28" Type="http://schemas.openxmlformats.org/officeDocument/2006/relationships/slideLayout" Target="../slideLayouts/slideLayout300.xml"/><Relationship Id="rId36" Type="http://schemas.openxmlformats.org/officeDocument/2006/relationships/slideLayout" Target="../slideLayouts/slideLayout308.xml"/><Relationship Id="rId49" Type="http://schemas.openxmlformats.org/officeDocument/2006/relationships/slideLayout" Target="../slideLayouts/slideLayout321.xml"/><Relationship Id="rId57" Type="http://schemas.openxmlformats.org/officeDocument/2006/relationships/slideLayout" Target="../slideLayouts/slideLayout329.xml"/><Relationship Id="rId10" Type="http://schemas.openxmlformats.org/officeDocument/2006/relationships/slideLayout" Target="../slideLayouts/slideLayout282.xml"/><Relationship Id="rId31" Type="http://schemas.openxmlformats.org/officeDocument/2006/relationships/slideLayout" Target="../slideLayouts/slideLayout303.xml"/><Relationship Id="rId44" Type="http://schemas.openxmlformats.org/officeDocument/2006/relationships/slideLayout" Target="../slideLayouts/slideLayout316.xml"/><Relationship Id="rId52" Type="http://schemas.openxmlformats.org/officeDocument/2006/relationships/slideLayout" Target="../slideLayouts/slideLayout324.xml"/><Relationship Id="rId60" Type="http://schemas.openxmlformats.org/officeDocument/2006/relationships/slideLayout" Target="../slideLayouts/slideLayout332.xml"/><Relationship Id="rId65" Type="http://schemas.openxmlformats.org/officeDocument/2006/relationships/image" Target="../media/image8.emf"/><Relationship Id="rId4" Type="http://schemas.openxmlformats.org/officeDocument/2006/relationships/slideLayout" Target="../slideLayouts/slideLayout276.xml"/><Relationship Id="rId9" Type="http://schemas.openxmlformats.org/officeDocument/2006/relationships/slideLayout" Target="../slideLayouts/slideLayout281.xml"/><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39" Type="http://schemas.openxmlformats.org/officeDocument/2006/relationships/slideLayout" Target="../slideLayouts/slideLayout311.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359.xml"/><Relationship Id="rId21" Type="http://schemas.openxmlformats.org/officeDocument/2006/relationships/slideLayout" Target="../slideLayouts/slideLayout354.xml"/><Relationship Id="rId34" Type="http://schemas.openxmlformats.org/officeDocument/2006/relationships/slideLayout" Target="../slideLayouts/slideLayout367.xml"/><Relationship Id="rId42" Type="http://schemas.openxmlformats.org/officeDocument/2006/relationships/slideLayout" Target="../slideLayouts/slideLayout375.xml"/><Relationship Id="rId47" Type="http://schemas.openxmlformats.org/officeDocument/2006/relationships/slideLayout" Target="../slideLayouts/slideLayout380.xml"/><Relationship Id="rId50" Type="http://schemas.openxmlformats.org/officeDocument/2006/relationships/slideLayout" Target="../slideLayouts/slideLayout383.xml"/><Relationship Id="rId55" Type="http://schemas.openxmlformats.org/officeDocument/2006/relationships/slideLayout" Target="../slideLayouts/slideLayout388.xml"/><Relationship Id="rId63" Type="http://schemas.openxmlformats.org/officeDocument/2006/relationships/tags" Target="../tags/tag193.xml"/><Relationship Id="rId7" Type="http://schemas.openxmlformats.org/officeDocument/2006/relationships/slideLayout" Target="../slideLayouts/slideLayout340.xml"/><Relationship Id="rId2" Type="http://schemas.openxmlformats.org/officeDocument/2006/relationships/slideLayout" Target="../slideLayouts/slideLayout335.xml"/><Relationship Id="rId16" Type="http://schemas.openxmlformats.org/officeDocument/2006/relationships/slideLayout" Target="../slideLayouts/slideLayout349.xml"/><Relationship Id="rId29" Type="http://schemas.openxmlformats.org/officeDocument/2006/relationships/slideLayout" Target="../slideLayouts/slideLayout362.xml"/><Relationship Id="rId11" Type="http://schemas.openxmlformats.org/officeDocument/2006/relationships/slideLayout" Target="../slideLayouts/slideLayout344.xml"/><Relationship Id="rId24" Type="http://schemas.openxmlformats.org/officeDocument/2006/relationships/slideLayout" Target="../slideLayouts/slideLayout357.xml"/><Relationship Id="rId32" Type="http://schemas.openxmlformats.org/officeDocument/2006/relationships/slideLayout" Target="../slideLayouts/slideLayout365.xml"/><Relationship Id="rId37" Type="http://schemas.openxmlformats.org/officeDocument/2006/relationships/slideLayout" Target="../slideLayouts/slideLayout370.xml"/><Relationship Id="rId40" Type="http://schemas.openxmlformats.org/officeDocument/2006/relationships/slideLayout" Target="../slideLayouts/slideLayout373.xml"/><Relationship Id="rId45" Type="http://schemas.openxmlformats.org/officeDocument/2006/relationships/slideLayout" Target="../slideLayouts/slideLayout378.xml"/><Relationship Id="rId53" Type="http://schemas.openxmlformats.org/officeDocument/2006/relationships/slideLayout" Target="../slideLayouts/slideLayout386.xml"/><Relationship Id="rId58" Type="http://schemas.openxmlformats.org/officeDocument/2006/relationships/slideLayout" Target="../slideLayouts/slideLayout391.xml"/><Relationship Id="rId66" Type="http://schemas.openxmlformats.org/officeDocument/2006/relationships/image" Target="../media/image34.png"/><Relationship Id="rId5" Type="http://schemas.openxmlformats.org/officeDocument/2006/relationships/slideLayout" Target="../slideLayouts/slideLayout338.xml"/><Relationship Id="rId61" Type="http://schemas.openxmlformats.org/officeDocument/2006/relationships/slideLayout" Target="../slideLayouts/slideLayout394.xml"/><Relationship Id="rId19" Type="http://schemas.openxmlformats.org/officeDocument/2006/relationships/slideLayout" Target="../slideLayouts/slideLayout352.xml"/><Relationship Id="rId14" Type="http://schemas.openxmlformats.org/officeDocument/2006/relationships/slideLayout" Target="../slideLayouts/slideLayout347.xml"/><Relationship Id="rId22" Type="http://schemas.openxmlformats.org/officeDocument/2006/relationships/slideLayout" Target="../slideLayouts/slideLayout355.xml"/><Relationship Id="rId27" Type="http://schemas.openxmlformats.org/officeDocument/2006/relationships/slideLayout" Target="../slideLayouts/slideLayout360.xml"/><Relationship Id="rId30" Type="http://schemas.openxmlformats.org/officeDocument/2006/relationships/slideLayout" Target="../slideLayouts/slideLayout363.xml"/><Relationship Id="rId35" Type="http://schemas.openxmlformats.org/officeDocument/2006/relationships/slideLayout" Target="../slideLayouts/slideLayout368.xml"/><Relationship Id="rId43" Type="http://schemas.openxmlformats.org/officeDocument/2006/relationships/slideLayout" Target="../slideLayouts/slideLayout376.xml"/><Relationship Id="rId48" Type="http://schemas.openxmlformats.org/officeDocument/2006/relationships/slideLayout" Target="../slideLayouts/slideLayout381.xml"/><Relationship Id="rId56" Type="http://schemas.openxmlformats.org/officeDocument/2006/relationships/slideLayout" Target="../slideLayouts/slideLayout389.xml"/><Relationship Id="rId64" Type="http://schemas.openxmlformats.org/officeDocument/2006/relationships/oleObject" Target="../embeddings/oleObject147.bin"/><Relationship Id="rId8" Type="http://schemas.openxmlformats.org/officeDocument/2006/relationships/slideLayout" Target="../slideLayouts/slideLayout341.xml"/><Relationship Id="rId51" Type="http://schemas.openxmlformats.org/officeDocument/2006/relationships/slideLayout" Target="../slideLayouts/slideLayout384.xml"/><Relationship Id="rId3" Type="http://schemas.openxmlformats.org/officeDocument/2006/relationships/slideLayout" Target="../slideLayouts/slideLayout336.xml"/><Relationship Id="rId12" Type="http://schemas.openxmlformats.org/officeDocument/2006/relationships/slideLayout" Target="../slideLayouts/slideLayout345.xml"/><Relationship Id="rId17" Type="http://schemas.openxmlformats.org/officeDocument/2006/relationships/slideLayout" Target="../slideLayouts/slideLayout350.xml"/><Relationship Id="rId25" Type="http://schemas.openxmlformats.org/officeDocument/2006/relationships/slideLayout" Target="../slideLayouts/slideLayout358.xml"/><Relationship Id="rId33" Type="http://schemas.openxmlformats.org/officeDocument/2006/relationships/slideLayout" Target="../slideLayouts/slideLayout366.xml"/><Relationship Id="rId38" Type="http://schemas.openxmlformats.org/officeDocument/2006/relationships/slideLayout" Target="../slideLayouts/slideLayout371.xml"/><Relationship Id="rId46" Type="http://schemas.openxmlformats.org/officeDocument/2006/relationships/slideLayout" Target="../slideLayouts/slideLayout379.xml"/><Relationship Id="rId59" Type="http://schemas.openxmlformats.org/officeDocument/2006/relationships/slideLayout" Target="../slideLayouts/slideLayout392.xml"/><Relationship Id="rId67" Type="http://schemas.openxmlformats.org/officeDocument/2006/relationships/image" Target="../media/image9.svg"/><Relationship Id="rId20" Type="http://schemas.openxmlformats.org/officeDocument/2006/relationships/slideLayout" Target="../slideLayouts/slideLayout353.xml"/><Relationship Id="rId41" Type="http://schemas.openxmlformats.org/officeDocument/2006/relationships/slideLayout" Target="../slideLayouts/slideLayout374.xml"/><Relationship Id="rId54" Type="http://schemas.openxmlformats.org/officeDocument/2006/relationships/slideLayout" Target="../slideLayouts/slideLayout387.xml"/><Relationship Id="rId62" Type="http://schemas.openxmlformats.org/officeDocument/2006/relationships/theme" Target="../theme/theme7.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5" Type="http://schemas.openxmlformats.org/officeDocument/2006/relationships/slideLayout" Target="../slideLayouts/slideLayout348.xml"/><Relationship Id="rId23" Type="http://schemas.openxmlformats.org/officeDocument/2006/relationships/slideLayout" Target="../slideLayouts/slideLayout356.xml"/><Relationship Id="rId28" Type="http://schemas.openxmlformats.org/officeDocument/2006/relationships/slideLayout" Target="../slideLayouts/slideLayout361.xml"/><Relationship Id="rId36" Type="http://schemas.openxmlformats.org/officeDocument/2006/relationships/slideLayout" Target="../slideLayouts/slideLayout369.xml"/><Relationship Id="rId49" Type="http://schemas.openxmlformats.org/officeDocument/2006/relationships/slideLayout" Target="../slideLayouts/slideLayout382.xml"/><Relationship Id="rId57" Type="http://schemas.openxmlformats.org/officeDocument/2006/relationships/slideLayout" Target="../slideLayouts/slideLayout390.xml"/><Relationship Id="rId10" Type="http://schemas.openxmlformats.org/officeDocument/2006/relationships/slideLayout" Target="../slideLayouts/slideLayout343.xml"/><Relationship Id="rId31" Type="http://schemas.openxmlformats.org/officeDocument/2006/relationships/slideLayout" Target="../slideLayouts/slideLayout364.xml"/><Relationship Id="rId44" Type="http://schemas.openxmlformats.org/officeDocument/2006/relationships/slideLayout" Target="../slideLayouts/slideLayout377.xml"/><Relationship Id="rId52" Type="http://schemas.openxmlformats.org/officeDocument/2006/relationships/slideLayout" Target="../slideLayouts/slideLayout385.xml"/><Relationship Id="rId60" Type="http://schemas.openxmlformats.org/officeDocument/2006/relationships/slideLayout" Target="../slideLayouts/slideLayout393.xml"/><Relationship Id="rId65" Type="http://schemas.openxmlformats.org/officeDocument/2006/relationships/image" Target="../media/image8.emf"/><Relationship Id="rId4" Type="http://schemas.openxmlformats.org/officeDocument/2006/relationships/slideLayout" Target="../slideLayouts/slideLayout337.xml"/><Relationship Id="rId9" Type="http://schemas.openxmlformats.org/officeDocument/2006/relationships/slideLayout" Target="../slideLayouts/slideLayout342.xml"/><Relationship Id="rId13" Type="http://schemas.openxmlformats.org/officeDocument/2006/relationships/slideLayout" Target="../slideLayouts/slideLayout346.xml"/><Relationship Id="rId18" Type="http://schemas.openxmlformats.org/officeDocument/2006/relationships/slideLayout" Target="../slideLayouts/slideLayout351.xml"/><Relationship Id="rId39" Type="http://schemas.openxmlformats.org/officeDocument/2006/relationships/slideLayout" Target="../slideLayouts/slideLayout37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202020"/>
        </a:solidFill>
        <a:effectLst/>
      </p:bgPr>
    </p:bg>
    <p:spTree>
      <p:nvGrpSpPr>
        <p:cNvPr id="1" name=""/>
        <p:cNvGrpSpPr/>
        <p:nvPr/>
      </p:nvGrpSpPr>
      <p:grpSpPr>
        <a:xfrm>
          <a:off x="0" y="0"/>
          <a:ext cx="0" cy="0"/>
          <a:chOff x="0" y="0"/>
          <a:chExt cx="0" cy="0"/>
        </a:xfrm>
      </p:grpSpPr>
      <p:sp>
        <p:nvSpPr>
          <p:cNvPr id="2" name="Shape 2"/>
          <p:cNvSpPr/>
          <p:nvPr/>
        </p:nvSpPr>
        <p:spPr>
          <a:xfrm>
            <a:off x="374977" y="2577629"/>
            <a:ext cx="8423034" cy="170274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lvl1pPr>
              <a:defRPr sz="12000" b="1">
                <a:solidFill>
                  <a:srgbClr val="FFFFFF"/>
                </a:solidFill>
              </a:defRPr>
            </a:lvl1pPr>
          </a:lstStyle>
          <a:p>
            <a:r>
              <a:t>Content</a:t>
            </a:r>
          </a:p>
        </p:txBody>
      </p:sp>
      <p:sp>
        <p:nvSpPr>
          <p:cNvPr id="3" name="Shape 3"/>
          <p:cNvSpPr>
            <a:spLocks noGrp="1"/>
          </p:cNvSpPr>
          <p:nvPr>
            <p:ph type="sldNum" sz="quarter" idx="2"/>
          </p:nvPr>
        </p:nvSpPr>
        <p:spPr>
          <a:xfrm>
            <a:off x="5892800" y="5991225"/>
            <a:ext cx="2844800" cy="365125"/>
          </a:xfrm>
          <a:prstGeom prst="rect">
            <a:avLst/>
          </a:prstGeom>
          <a:ln w="12700">
            <a:miter lim="400000"/>
          </a:ln>
        </p:spPr>
        <p:txBody>
          <a:bodyPr lIns="45719" rIns="45719" anchor="ctr"/>
          <a:lstStyle>
            <a:lvl1pPr algn="r">
              <a:defRPr sz="1200"/>
            </a:lvl1pPr>
          </a:lstStyle>
          <a:p>
            <a:fld id="{86CB4B4D-7CA3-9044-876B-883B54F8677D}" type="slidenum">
              <a:t>‹Nº›</a:t>
            </a:fld>
            <a:endParaRPr/>
          </a:p>
        </p:txBody>
      </p:sp>
      <p:sp>
        <p:nvSpPr>
          <p:cNvPr id="4" name="Shape 4"/>
          <p:cNvSpPr>
            <a:spLocks noGrp="1"/>
          </p:cNvSpPr>
          <p:nvPr>
            <p:ph type="title"/>
          </p:nvPr>
        </p:nvSpPr>
        <p:spPr>
          <a:xfrm>
            <a:off x="609600" y="274637"/>
            <a:ext cx="10972800" cy="1325563"/>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p>
            <a:r>
              <a:t>Texto del título</a:t>
            </a:r>
          </a:p>
        </p:txBody>
      </p:sp>
      <p:sp>
        <p:nvSpPr>
          <p:cNvPr id="5" name="Shape 5"/>
          <p:cNvSpPr>
            <a:spLocks noGrp="1"/>
          </p:cNvSpPr>
          <p:nvPr>
            <p:ph type="body" idx="1"/>
          </p:nvPr>
        </p:nvSpPr>
        <p:spPr>
          <a:xfrm>
            <a:off x="609600" y="1600200"/>
            <a:ext cx="10972800" cy="5257800"/>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lvl2pPr marL="273684" indent="-270509">
              <a:buSzPct val="100000"/>
              <a:buChar char="•"/>
            </a:lvl2pPr>
            <a:lvl3pPr marL="571500" indent="-342900">
              <a:buSzPct val="100000"/>
              <a:buChar char="–"/>
            </a:lvl3pPr>
            <a:lvl4pPr marL="800100" indent="-342900">
              <a:buSzPct val="100000"/>
              <a:buChar char="•"/>
            </a:lvl4pPr>
            <a:lvl5pPr marL="1028700" indent="-342900">
              <a:buSzPct val="100000"/>
              <a:buChar char="–"/>
            </a:lvl5pPr>
          </a:lstStyle>
          <a:p>
            <a:r>
              <a:t>Nivel de texto 1</a:t>
            </a:r>
          </a:p>
          <a:p>
            <a:pPr lvl="1"/>
            <a:r>
              <a:t>Nivel de texto 2</a:t>
            </a:r>
          </a:p>
          <a:p>
            <a:pPr lvl="2"/>
            <a:r>
              <a:t>Nivel de texto 3</a:t>
            </a:r>
          </a:p>
          <a:p>
            <a:pPr lvl="3"/>
            <a:r>
              <a:t>Nivel de texto 4</a:t>
            </a:r>
          </a:p>
          <a:p>
            <a:pPr lvl="4"/>
            <a:r>
              <a:t>Nivel de texto 5</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8" r:id="rId9"/>
    <p:sldLayoutId id="2147483659" r:id="rId10"/>
    <p:sldLayoutId id="2147483660" r:id="rId11"/>
    <p:sldLayoutId id="2147483661" r:id="rId12"/>
    <p:sldLayoutId id="2147483662" r:id="rId13"/>
    <p:sldLayoutId id="2147483663" r:id="rId14"/>
    <p:sldLayoutId id="2147483664" r:id="rId15"/>
    <p:sldLayoutId id="2147483665" r:id="rId16"/>
    <p:sldLayoutId id="2147483666" r:id="rId17"/>
    <p:sldLayoutId id="2147483667" r:id="rId18"/>
    <p:sldLayoutId id="2147483668" r:id="rId19"/>
    <p:sldLayoutId id="2147483669" r:id="rId20"/>
    <p:sldLayoutId id="2147483670" r:id="rId21"/>
    <p:sldLayoutId id="2147483672" r:id="rId22"/>
    <p:sldLayoutId id="2147483673" r:id="rId23"/>
    <p:sldLayoutId id="2147483674" r:id="rId24"/>
    <p:sldLayoutId id="2147483675" r:id="rId25"/>
    <p:sldLayoutId id="2147483676" r:id="rId26"/>
    <p:sldLayoutId id="2147483677" r:id="rId27"/>
    <p:sldLayoutId id="2147483678" r:id="rId28"/>
    <p:sldLayoutId id="2147483679" r:id="rId29"/>
    <p:sldLayoutId id="2147483680" r:id="rId30"/>
    <p:sldLayoutId id="2147483681" r:id="rId31"/>
    <p:sldLayoutId id="2147483682" r:id="rId32"/>
    <p:sldLayoutId id="2147483683" r:id="rId33"/>
    <p:sldLayoutId id="2147483684" r:id="rId34"/>
    <p:sldLayoutId id="2147483685" r:id="rId35"/>
    <p:sldLayoutId id="2147483686" r:id="rId36"/>
    <p:sldLayoutId id="2147483687" r:id="rId37"/>
    <p:sldLayoutId id="2147483688" r:id="rId38"/>
    <p:sldLayoutId id="2147483690" r:id="rId39"/>
    <p:sldLayoutId id="2147483691" r:id="rId40"/>
    <p:sldLayoutId id="2147483692" r:id="rId41"/>
    <p:sldLayoutId id="2147483693" r:id="rId42"/>
    <p:sldLayoutId id="2147483694" r:id="rId43"/>
    <p:sldLayoutId id="2147483695" r:id="rId44"/>
    <p:sldLayoutId id="2147483696" r:id="rId45"/>
    <p:sldLayoutId id="2147483698" r:id="rId46"/>
    <p:sldLayoutId id="2147483699" r:id="rId47"/>
    <p:sldLayoutId id="2147483700" r:id="rId48"/>
    <p:sldLayoutId id="2147483701" r:id="rId49"/>
    <p:sldLayoutId id="2147483702" r:id="rId50"/>
    <p:sldLayoutId id="2147483703" r:id="rId51"/>
    <p:sldLayoutId id="2147483704" r:id="rId52"/>
    <p:sldLayoutId id="2147483705" r:id="rId53"/>
    <p:sldLayoutId id="2147483706" r:id="rId54"/>
    <p:sldLayoutId id="2147483707" r:id="rId55"/>
    <p:sldLayoutId id="2147483708" r:id="rId56"/>
    <p:sldLayoutId id="2147483709" r:id="rId57"/>
    <p:sldLayoutId id="2147483711" r:id="rId58"/>
    <p:sldLayoutId id="2147483712" r:id="rId59"/>
    <p:sldLayoutId id="2147483713" r:id="rId60"/>
    <p:sldLayoutId id="2147483714" r:id="rId61"/>
    <p:sldLayoutId id="2147483715" r:id="rId62"/>
    <p:sldLayoutId id="2147483716" r:id="rId63"/>
    <p:sldLayoutId id="2147483717" r:id="rId64"/>
    <p:sldLayoutId id="2147483718" r:id="rId65"/>
    <p:sldLayoutId id="2147483719" r:id="rId66"/>
    <p:sldLayoutId id="2147483720" r:id="rId67"/>
  </p:sldLayoutIdLst>
  <p:transition spd="med"/>
  <p:txStyles>
    <p:titleStyle>
      <a:lvl1pPr marL="0" marR="0" indent="0" algn="l" defTabSz="457200" latinLnBrk="0">
        <a:lnSpc>
          <a:spcPct val="80000"/>
        </a:lnSpc>
        <a:spcBef>
          <a:spcPts val="0"/>
        </a:spcBef>
        <a:spcAft>
          <a:spcPts val="0"/>
        </a:spcAft>
        <a:buClrTx/>
        <a:buSzTx/>
        <a:buFontTx/>
        <a:buNone/>
        <a:tabLst/>
        <a:defRPr sz="3000" b="1" i="0" u="none" strike="noStrike" cap="none" spc="0" baseline="0">
          <a:ln>
            <a:noFill/>
          </a:ln>
          <a:solidFill>
            <a:srgbClr val="002C77"/>
          </a:solidFill>
          <a:uFillTx/>
          <a:latin typeface="+mn-lt"/>
          <a:ea typeface="+mn-ea"/>
          <a:cs typeface="+mn-cs"/>
          <a:sym typeface="Arial"/>
        </a:defRPr>
      </a:lvl1pPr>
      <a:lvl2pPr marL="0" marR="0" indent="228600" algn="l" defTabSz="457200" latinLnBrk="0">
        <a:lnSpc>
          <a:spcPct val="80000"/>
        </a:lnSpc>
        <a:spcBef>
          <a:spcPts val="0"/>
        </a:spcBef>
        <a:spcAft>
          <a:spcPts val="0"/>
        </a:spcAft>
        <a:buClrTx/>
        <a:buSzTx/>
        <a:buFontTx/>
        <a:buNone/>
        <a:tabLst/>
        <a:defRPr sz="3000" b="1" i="0" u="none" strike="noStrike" cap="none" spc="0" baseline="0">
          <a:ln>
            <a:noFill/>
          </a:ln>
          <a:solidFill>
            <a:srgbClr val="002C77"/>
          </a:solidFill>
          <a:uFillTx/>
          <a:latin typeface="+mn-lt"/>
          <a:ea typeface="+mn-ea"/>
          <a:cs typeface="+mn-cs"/>
          <a:sym typeface="Arial"/>
        </a:defRPr>
      </a:lvl2pPr>
      <a:lvl3pPr marL="0" marR="0" indent="457200" algn="l" defTabSz="457200" latinLnBrk="0">
        <a:lnSpc>
          <a:spcPct val="80000"/>
        </a:lnSpc>
        <a:spcBef>
          <a:spcPts val="0"/>
        </a:spcBef>
        <a:spcAft>
          <a:spcPts val="0"/>
        </a:spcAft>
        <a:buClrTx/>
        <a:buSzTx/>
        <a:buFontTx/>
        <a:buNone/>
        <a:tabLst/>
        <a:defRPr sz="3000" b="1" i="0" u="none" strike="noStrike" cap="none" spc="0" baseline="0">
          <a:ln>
            <a:noFill/>
          </a:ln>
          <a:solidFill>
            <a:srgbClr val="002C77"/>
          </a:solidFill>
          <a:uFillTx/>
          <a:latin typeface="+mn-lt"/>
          <a:ea typeface="+mn-ea"/>
          <a:cs typeface="+mn-cs"/>
          <a:sym typeface="Arial"/>
        </a:defRPr>
      </a:lvl3pPr>
      <a:lvl4pPr marL="0" marR="0" indent="685800" algn="l" defTabSz="457200" latinLnBrk="0">
        <a:lnSpc>
          <a:spcPct val="80000"/>
        </a:lnSpc>
        <a:spcBef>
          <a:spcPts val="0"/>
        </a:spcBef>
        <a:spcAft>
          <a:spcPts val="0"/>
        </a:spcAft>
        <a:buClrTx/>
        <a:buSzTx/>
        <a:buFontTx/>
        <a:buNone/>
        <a:tabLst/>
        <a:defRPr sz="3000" b="1" i="0" u="none" strike="noStrike" cap="none" spc="0" baseline="0">
          <a:ln>
            <a:noFill/>
          </a:ln>
          <a:solidFill>
            <a:srgbClr val="002C77"/>
          </a:solidFill>
          <a:uFillTx/>
          <a:latin typeface="+mn-lt"/>
          <a:ea typeface="+mn-ea"/>
          <a:cs typeface="+mn-cs"/>
          <a:sym typeface="Arial"/>
        </a:defRPr>
      </a:lvl4pPr>
      <a:lvl5pPr marL="0" marR="0" indent="914400" algn="l" defTabSz="457200" latinLnBrk="0">
        <a:lnSpc>
          <a:spcPct val="80000"/>
        </a:lnSpc>
        <a:spcBef>
          <a:spcPts val="0"/>
        </a:spcBef>
        <a:spcAft>
          <a:spcPts val="0"/>
        </a:spcAft>
        <a:buClrTx/>
        <a:buSzTx/>
        <a:buFontTx/>
        <a:buNone/>
        <a:tabLst/>
        <a:defRPr sz="3000" b="1" i="0" u="none" strike="noStrike" cap="none" spc="0" baseline="0">
          <a:ln>
            <a:noFill/>
          </a:ln>
          <a:solidFill>
            <a:srgbClr val="002C77"/>
          </a:solidFill>
          <a:uFillTx/>
          <a:latin typeface="+mn-lt"/>
          <a:ea typeface="+mn-ea"/>
          <a:cs typeface="+mn-cs"/>
          <a:sym typeface="Arial"/>
        </a:defRPr>
      </a:lvl5pPr>
      <a:lvl6pPr marL="0" marR="0" indent="1143000" algn="l" defTabSz="457200" latinLnBrk="0">
        <a:lnSpc>
          <a:spcPct val="80000"/>
        </a:lnSpc>
        <a:spcBef>
          <a:spcPts val="0"/>
        </a:spcBef>
        <a:spcAft>
          <a:spcPts val="0"/>
        </a:spcAft>
        <a:buClrTx/>
        <a:buSzTx/>
        <a:buFontTx/>
        <a:buNone/>
        <a:tabLst/>
        <a:defRPr sz="3000" b="1" i="0" u="none" strike="noStrike" cap="none" spc="0" baseline="0">
          <a:ln>
            <a:noFill/>
          </a:ln>
          <a:solidFill>
            <a:srgbClr val="002C77"/>
          </a:solidFill>
          <a:uFillTx/>
          <a:latin typeface="+mn-lt"/>
          <a:ea typeface="+mn-ea"/>
          <a:cs typeface="+mn-cs"/>
          <a:sym typeface="Arial"/>
        </a:defRPr>
      </a:lvl6pPr>
      <a:lvl7pPr marL="0" marR="0" indent="1371600" algn="l" defTabSz="457200" latinLnBrk="0">
        <a:lnSpc>
          <a:spcPct val="80000"/>
        </a:lnSpc>
        <a:spcBef>
          <a:spcPts val="0"/>
        </a:spcBef>
        <a:spcAft>
          <a:spcPts val="0"/>
        </a:spcAft>
        <a:buClrTx/>
        <a:buSzTx/>
        <a:buFontTx/>
        <a:buNone/>
        <a:tabLst/>
        <a:defRPr sz="3000" b="1" i="0" u="none" strike="noStrike" cap="none" spc="0" baseline="0">
          <a:ln>
            <a:noFill/>
          </a:ln>
          <a:solidFill>
            <a:srgbClr val="002C77"/>
          </a:solidFill>
          <a:uFillTx/>
          <a:latin typeface="+mn-lt"/>
          <a:ea typeface="+mn-ea"/>
          <a:cs typeface="+mn-cs"/>
          <a:sym typeface="Arial"/>
        </a:defRPr>
      </a:lvl7pPr>
      <a:lvl8pPr marL="0" marR="0" indent="1600200" algn="l" defTabSz="457200" latinLnBrk="0">
        <a:lnSpc>
          <a:spcPct val="80000"/>
        </a:lnSpc>
        <a:spcBef>
          <a:spcPts val="0"/>
        </a:spcBef>
        <a:spcAft>
          <a:spcPts val="0"/>
        </a:spcAft>
        <a:buClrTx/>
        <a:buSzTx/>
        <a:buFontTx/>
        <a:buNone/>
        <a:tabLst/>
        <a:defRPr sz="3000" b="1" i="0" u="none" strike="noStrike" cap="none" spc="0" baseline="0">
          <a:ln>
            <a:noFill/>
          </a:ln>
          <a:solidFill>
            <a:srgbClr val="002C77"/>
          </a:solidFill>
          <a:uFillTx/>
          <a:latin typeface="+mn-lt"/>
          <a:ea typeface="+mn-ea"/>
          <a:cs typeface="+mn-cs"/>
          <a:sym typeface="Arial"/>
        </a:defRPr>
      </a:lvl8pPr>
      <a:lvl9pPr marL="0" marR="0" indent="1828800" algn="l" defTabSz="457200" latinLnBrk="0">
        <a:lnSpc>
          <a:spcPct val="80000"/>
        </a:lnSpc>
        <a:spcBef>
          <a:spcPts val="0"/>
        </a:spcBef>
        <a:spcAft>
          <a:spcPts val="0"/>
        </a:spcAft>
        <a:buClrTx/>
        <a:buSzTx/>
        <a:buFontTx/>
        <a:buNone/>
        <a:tabLst/>
        <a:defRPr sz="3000" b="1" i="0" u="none" strike="noStrike" cap="none" spc="0" baseline="0">
          <a:ln>
            <a:noFill/>
          </a:ln>
          <a:solidFill>
            <a:srgbClr val="002C77"/>
          </a:solidFill>
          <a:uFillTx/>
          <a:latin typeface="+mn-lt"/>
          <a:ea typeface="+mn-ea"/>
          <a:cs typeface="+mn-cs"/>
          <a:sym typeface="Arial"/>
        </a:defRPr>
      </a:lvl9pPr>
    </p:titleStyle>
    <p:bodyStyle>
      <a:lvl1pPr marL="0" marR="0" indent="0" algn="l" defTabSz="457200" latinLnBrk="0">
        <a:lnSpc>
          <a:spcPct val="100000"/>
        </a:lnSpc>
        <a:spcBef>
          <a:spcPts val="1200"/>
        </a:spcBef>
        <a:spcAft>
          <a:spcPts val="0"/>
        </a:spcAft>
        <a:buClrTx/>
        <a:buSzTx/>
        <a:buFontTx/>
        <a:buNone/>
        <a:tabLst/>
        <a:defRPr sz="1800" b="0" i="0" u="none" strike="noStrike" cap="none" spc="0" baseline="0">
          <a:ln>
            <a:noFill/>
          </a:ln>
          <a:solidFill>
            <a:srgbClr val="202020"/>
          </a:solidFill>
          <a:uFillTx/>
          <a:latin typeface="+mn-lt"/>
          <a:ea typeface="+mn-ea"/>
          <a:cs typeface="+mn-cs"/>
          <a:sym typeface="Arial"/>
        </a:defRPr>
      </a:lvl1pPr>
      <a:lvl2pPr marL="0" marR="0" indent="3175" algn="l" defTabSz="457200" latinLnBrk="0">
        <a:lnSpc>
          <a:spcPct val="100000"/>
        </a:lnSpc>
        <a:spcBef>
          <a:spcPts val="1200"/>
        </a:spcBef>
        <a:spcAft>
          <a:spcPts val="0"/>
        </a:spcAft>
        <a:buClrTx/>
        <a:buSzTx/>
        <a:buFontTx/>
        <a:buNone/>
        <a:tabLst/>
        <a:defRPr sz="1800" b="0" i="0" u="none" strike="noStrike" cap="none" spc="0" baseline="0">
          <a:ln>
            <a:noFill/>
          </a:ln>
          <a:solidFill>
            <a:srgbClr val="202020"/>
          </a:solidFill>
          <a:uFillTx/>
          <a:latin typeface="+mn-lt"/>
          <a:ea typeface="+mn-ea"/>
          <a:cs typeface="+mn-cs"/>
          <a:sym typeface="Arial"/>
        </a:defRPr>
      </a:lvl2pPr>
      <a:lvl3pPr marL="0" marR="0" indent="228600" algn="l" defTabSz="457200" latinLnBrk="0">
        <a:lnSpc>
          <a:spcPct val="100000"/>
        </a:lnSpc>
        <a:spcBef>
          <a:spcPts val="1200"/>
        </a:spcBef>
        <a:spcAft>
          <a:spcPts val="0"/>
        </a:spcAft>
        <a:buClrTx/>
        <a:buSzTx/>
        <a:buFontTx/>
        <a:buNone/>
        <a:tabLst/>
        <a:defRPr sz="1800" b="0" i="0" u="none" strike="noStrike" cap="none" spc="0" baseline="0">
          <a:ln>
            <a:noFill/>
          </a:ln>
          <a:solidFill>
            <a:srgbClr val="202020"/>
          </a:solidFill>
          <a:uFillTx/>
          <a:latin typeface="+mn-lt"/>
          <a:ea typeface="+mn-ea"/>
          <a:cs typeface="+mn-cs"/>
          <a:sym typeface="Arial"/>
        </a:defRPr>
      </a:lvl3pPr>
      <a:lvl4pPr marL="0" marR="0" indent="457200" algn="l" defTabSz="457200" latinLnBrk="0">
        <a:lnSpc>
          <a:spcPct val="100000"/>
        </a:lnSpc>
        <a:spcBef>
          <a:spcPts val="1200"/>
        </a:spcBef>
        <a:spcAft>
          <a:spcPts val="0"/>
        </a:spcAft>
        <a:buClrTx/>
        <a:buSzTx/>
        <a:buFontTx/>
        <a:buNone/>
        <a:tabLst/>
        <a:defRPr sz="1800" b="0" i="0" u="none" strike="noStrike" cap="none" spc="0" baseline="0">
          <a:ln>
            <a:noFill/>
          </a:ln>
          <a:solidFill>
            <a:srgbClr val="202020"/>
          </a:solidFill>
          <a:uFillTx/>
          <a:latin typeface="+mn-lt"/>
          <a:ea typeface="+mn-ea"/>
          <a:cs typeface="+mn-cs"/>
          <a:sym typeface="Arial"/>
        </a:defRPr>
      </a:lvl4pPr>
      <a:lvl5pPr marL="0" marR="0" indent="685800" algn="l" defTabSz="457200" latinLnBrk="0">
        <a:lnSpc>
          <a:spcPct val="100000"/>
        </a:lnSpc>
        <a:spcBef>
          <a:spcPts val="1200"/>
        </a:spcBef>
        <a:spcAft>
          <a:spcPts val="0"/>
        </a:spcAft>
        <a:buClrTx/>
        <a:buSzTx/>
        <a:buFontTx/>
        <a:buNone/>
        <a:tabLst/>
        <a:defRPr sz="1800" b="0" i="0" u="none" strike="noStrike" cap="none" spc="0" baseline="0">
          <a:ln>
            <a:noFill/>
          </a:ln>
          <a:solidFill>
            <a:srgbClr val="202020"/>
          </a:solidFill>
          <a:uFillTx/>
          <a:latin typeface="+mn-lt"/>
          <a:ea typeface="+mn-ea"/>
          <a:cs typeface="+mn-cs"/>
          <a:sym typeface="Arial"/>
        </a:defRPr>
      </a:lvl5pPr>
      <a:lvl6pPr marL="0" marR="0" indent="919162" algn="l" defTabSz="457200" latinLnBrk="0">
        <a:lnSpc>
          <a:spcPct val="100000"/>
        </a:lnSpc>
        <a:spcBef>
          <a:spcPts val="1200"/>
        </a:spcBef>
        <a:spcAft>
          <a:spcPts val="0"/>
        </a:spcAft>
        <a:buClrTx/>
        <a:buSzTx/>
        <a:buFontTx/>
        <a:buNone/>
        <a:tabLst/>
        <a:defRPr sz="1800" b="0" i="0" u="none" strike="noStrike" cap="none" spc="0" baseline="0">
          <a:ln>
            <a:noFill/>
          </a:ln>
          <a:solidFill>
            <a:srgbClr val="202020"/>
          </a:solidFill>
          <a:uFillTx/>
          <a:latin typeface="+mn-lt"/>
          <a:ea typeface="+mn-ea"/>
          <a:cs typeface="+mn-cs"/>
          <a:sym typeface="Arial"/>
        </a:defRPr>
      </a:lvl6pPr>
      <a:lvl7pPr marL="0" marR="0" indent="1146175" algn="l" defTabSz="457200" latinLnBrk="0">
        <a:lnSpc>
          <a:spcPct val="100000"/>
        </a:lnSpc>
        <a:spcBef>
          <a:spcPts val="1200"/>
        </a:spcBef>
        <a:spcAft>
          <a:spcPts val="0"/>
        </a:spcAft>
        <a:buClrTx/>
        <a:buSzTx/>
        <a:buFontTx/>
        <a:buNone/>
        <a:tabLst/>
        <a:defRPr sz="1800" b="0" i="0" u="none" strike="noStrike" cap="none" spc="0" baseline="0">
          <a:ln>
            <a:noFill/>
          </a:ln>
          <a:solidFill>
            <a:srgbClr val="202020"/>
          </a:solidFill>
          <a:uFillTx/>
          <a:latin typeface="+mn-lt"/>
          <a:ea typeface="+mn-ea"/>
          <a:cs typeface="+mn-cs"/>
          <a:sym typeface="Arial"/>
        </a:defRPr>
      </a:lvl7pPr>
      <a:lvl8pPr marL="0" marR="0" indent="1374775" algn="l" defTabSz="457200" latinLnBrk="0">
        <a:lnSpc>
          <a:spcPct val="100000"/>
        </a:lnSpc>
        <a:spcBef>
          <a:spcPts val="1200"/>
        </a:spcBef>
        <a:spcAft>
          <a:spcPts val="0"/>
        </a:spcAft>
        <a:buClrTx/>
        <a:buSzTx/>
        <a:buFontTx/>
        <a:buNone/>
        <a:tabLst/>
        <a:defRPr sz="1800" b="0" i="0" u="none" strike="noStrike" cap="none" spc="0" baseline="0">
          <a:ln>
            <a:noFill/>
          </a:ln>
          <a:solidFill>
            <a:srgbClr val="202020"/>
          </a:solidFill>
          <a:uFillTx/>
          <a:latin typeface="+mn-lt"/>
          <a:ea typeface="+mn-ea"/>
          <a:cs typeface="+mn-cs"/>
          <a:sym typeface="Arial"/>
        </a:defRPr>
      </a:lvl8pPr>
      <a:lvl9pPr marL="0" marR="0" indent="1603375" algn="l" defTabSz="457200" latinLnBrk="0">
        <a:lnSpc>
          <a:spcPct val="100000"/>
        </a:lnSpc>
        <a:spcBef>
          <a:spcPts val="1200"/>
        </a:spcBef>
        <a:spcAft>
          <a:spcPts val="0"/>
        </a:spcAft>
        <a:buClrTx/>
        <a:buSzTx/>
        <a:buFontTx/>
        <a:buNone/>
        <a:tabLst/>
        <a:defRPr sz="1800" b="0" i="0" u="none" strike="noStrike" cap="none" spc="0" baseline="0">
          <a:ln>
            <a:noFill/>
          </a:ln>
          <a:solidFill>
            <a:srgbClr val="202020"/>
          </a:solidFill>
          <a:uFillTx/>
          <a:latin typeface="+mn-lt"/>
          <a:ea typeface="+mn-ea"/>
          <a:cs typeface="+mn-cs"/>
          <a:sym typeface="Arial"/>
        </a:defRPr>
      </a:lvl9pPr>
    </p:bodyStyle>
    <p:otherStyle>
      <a:lvl1pPr marL="0" marR="0" indent="0" algn="r" defTabSz="45720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1pPr>
      <a:lvl2pPr marL="0" marR="0" indent="228600" algn="r" defTabSz="45720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2pPr>
      <a:lvl3pPr marL="0" marR="0" indent="457200" algn="r" defTabSz="45720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3pPr>
      <a:lvl4pPr marL="0" marR="0" indent="685800" algn="r" defTabSz="45720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4pPr>
      <a:lvl5pPr marL="0" marR="0" indent="914400" algn="r" defTabSz="45720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5pPr>
      <a:lvl6pPr marL="0" marR="0" indent="1143000" algn="r" defTabSz="45720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6pPr>
      <a:lvl7pPr marL="0" marR="0" indent="1371600" algn="r" defTabSz="45720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7pPr>
      <a:lvl8pPr marL="0" marR="0" indent="1600200" algn="r" defTabSz="45720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8pPr>
      <a:lvl9pPr marL="0" marR="0" indent="1828800" algn="r" defTabSz="45720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202020"/>
        </a:solidFill>
        <a:effectLst/>
      </p:bgPr>
    </p:bg>
    <p:spTree>
      <p:nvGrpSpPr>
        <p:cNvPr id="1" name=""/>
        <p:cNvGrpSpPr/>
        <p:nvPr/>
      </p:nvGrpSpPr>
      <p:grpSpPr>
        <a:xfrm>
          <a:off x="0" y="0"/>
          <a:ext cx="0" cy="0"/>
          <a:chOff x="0" y="0"/>
          <a:chExt cx="0" cy="0"/>
        </a:xfrm>
      </p:grpSpPr>
      <p:sp>
        <p:nvSpPr>
          <p:cNvPr id="2" name="Shape 2"/>
          <p:cNvSpPr/>
          <p:nvPr/>
        </p:nvSpPr>
        <p:spPr>
          <a:xfrm>
            <a:off x="374977" y="2577629"/>
            <a:ext cx="8423034" cy="170274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lvl1pPr>
              <a:defRPr sz="12000" b="1">
                <a:solidFill>
                  <a:srgbClr val="FFFFFF"/>
                </a:solidFill>
              </a:defRPr>
            </a:lvl1pPr>
          </a:lstStyle>
          <a:p>
            <a:r>
              <a:t>Content</a:t>
            </a:r>
          </a:p>
        </p:txBody>
      </p:sp>
      <p:sp>
        <p:nvSpPr>
          <p:cNvPr id="3" name="Shape 3"/>
          <p:cNvSpPr>
            <a:spLocks noGrp="1"/>
          </p:cNvSpPr>
          <p:nvPr>
            <p:ph type="sldNum" sz="quarter" idx="2"/>
          </p:nvPr>
        </p:nvSpPr>
        <p:spPr>
          <a:xfrm>
            <a:off x="5892800" y="5991225"/>
            <a:ext cx="2844800" cy="365125"/>
          </a:xfrm>
          <a:prstGeom prst="rect">
            <a:avLst/>
          </a:prstGeom>
          <a:ln w="12700">
            <a:miter lim="400000"/>
          </a:ln>
        </p:spPr>
        <p:txBody>
          <a:bodyPr lIns="45719" rIns="45719" anchor="ctr"/>
          <a:lstStyle>
            <a:lvl1pPr algn="r">
              <a:defRPr sz="1200"/>
            </a:lvl1pPr>
          </a:lstStyle>
          <a:p>
            <a:fld id="{86CB4B4D-7CA3-9044-876B-883B54F8677D}" type="slidenum">
              <a:t>‹Nº›</a:t>
            </a:fld>
            <a:endParaRPr/>
          </a:p>
        </p:txBody>
      </p:sp>
      <p:sp>
        <p:nvSpPr>
          <p:cNvPr id="4" name="Shape 4"/>
          <p:cNvSpPr>
            <a:spLocks noGrp="1"/>
          </p:cNvSpPr>
          <p:nvPr>
            <p:ph type="title"/>
          </p:nvPr>
        </p:nvSpPr>
        <p:spPr>
          <a:xfrm>
            <a:off x="609600" y="274637"/>
            <a:ext cx="10972800" cy="1325563"/>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p>
            <a:r>
              <a:t>Texto del título</a:t>
            </a:r>
          </a:p>
        </p:txBody>
      </p:sp>
      <p:sp>
        <p:nvSpPr>
          <p:cNvPr id="5" name="Shape 5"/>
          <p:cNvSpPr>
            <a:spLocks noGrp="1"/>
          </p:cNvSpPr>
          <p:nvPr>
            <p:ph type="body" idx="1"/>
          </p:nvPr>
        </p:nvSpPr>
        <p:spPr>
          <a:xfrm>
            <a:off x="609600" y="1600200"/>
            <a:ext cx="10972800" cy="5257800"/>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lvl2pPr marL="273684" indent="-270509">
              <a:buSzPct val="100000"/>
              <a:buChar char="•"/>
            </a:lvl2pPr>
            <a:lvl3pPr marL="571500" indent="-342900">
              <a:buSzPct val="100000"/>
              <a:buChar char="–"/>
            </a:lvl3pPr>
            <a:lvl4pPr marL="800100" indent="-342900">
              <a:buSzPct val="100000"/>
              <a:buChar char="•"/>
            </a:lvl4pPr>
            <a:lvl5pPr marL="1028700" indent="-342900">
              <a:buSzPct val="100000"/>
              <a:buChar char="–"/>
            </a:lvl5pPr>
          </a:lstStyle>
          <a:p>
            <a:r>
              <a:t>Nivel de texto 1</a:t>
            </a:r>
          </a:p>
          <a:p>
            <a:pPr lvl="1"/>
            <a:r>
              <a:t>Nivel de texto 2</a:t>
            </a:r>
          </a:p>
          <a:p>
            <a:pPr lvl="2"/>
            <a:r>
              <a:t>Nivel de texto 3</a:t>
            </a:r>
          </a:p>
          <a:p>
            <a:pPr lvl="3"/>
            <a:r>
              <a:t>Nivel de texto 4</a:t>
            </a:r>
          </a:p>
          <a:p>
            <a:pPr lvl="4"/>
            <a:r>
              <a:t>Nivel de texto 5</a:t>
            </a:r>
          </a:p>
        </p:txBody>
      </p:sp>
    </p:spTree>
    <p:extLst>
      <p:ext uri="{BB962C8B-B14F-4D97-AF65-F5344CB8AC3E}">
        <p14:creationId xmlns:p14="http://schemas.microsoft.com/office/powerpoint/2010/main" val="3897008796"/>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 id="2147483746" r:id="rId23"/>
    <p:sldLayoutId id="2147483747" r:id="rId24"/>
    <p:sldLayoutId id="2147483748" r:id="rId25"/>
    <p:sldLayoutId id="2147483749" r:id="rId26"/>
    <p:sldLayoutId id="2147483750" r:id="rId27"/>
    <p:sldLayoutId id="2147483751" r:id="rId28"/>
    <p:sldLayoutId id="2147483752" r:id="rId29"/>
    <p:sldLayoutId id="2147483754" r:id="rId30"/>
    <p:sldLayoutId id="2147483755" r:id="rId31"/>
    <p:sldLayoutId id="2147483756" r:id="rId32"/>
    <p:sldLayoutId id="2147483757" r:id="rId33"/>
    <p:sldLayoutId id="2147483758" r:id="rId34"/>
    <p:sldLayoutId id="2147483759" r:id="rId35"/>
    <p:sldLayoutId id="2147483760" r:id="rId36"/>
    <p:sldLayoutId id="2147483761" r:id="rId37"/>
    <p:sldLayoutId id="2147483762" r:id="rId38"/>
    <p:sldLayoutId id="2147483764" r:id="rId39"/>
    <p:sldLayoutId id="2147483765" r:id="rId40"/>
    <p:sldLayoutId id="2147483766" r:id="rId41"/>
    <p:sldLayoutId id="2147483767" r:id="rId42"/>
    <p:sldLayoutId id="2147483768" r:id="rId43"/>
    <p:sldLayoutId id="2147483769" r:id="rId44"/>
    <p:sldLayoutId id="2147483770" r:id="rId45"/>
    <p:sldLayoutId id="2147483771" r:id="rId46"/>
    <p:sldLayoutId id="2147483772" r:id="rId47"/>
    <p:sldLayoutId id="2147483773" r:id="rId48"/>
    <p:sldLayoutId id="2147483774" r:id="rId49"/>
    <p:sldLayoutId id="2147483775" r:id="rId50"/>
    <p:sldLayoutId id="2147483776" r:id="rId51"/>
    <p:sldLayoutId id="2147483777" r:id="rId52"/>
    <p:sldLayoutId id="2147483778" r:id="rId53"/>
    <p:sldLayoutId id="2147483779" r:id="rId54"/>
    <p:sldLayoutId id="2147483780" r:id="rId55"/>
    <p:sldLayoutId id="2147483781" r:id="rId56"/>
    <p:sldLayoutId id="2147483782" r:id="rId57"/>
    <p:sldLayoutId id="2147483783" r:id="rId58"/>
    <p:sldLayoutId id="2147483784" r:id="rId59"/>
    <p:sldLayoutId id="2147483785" r:id="rId60"/>
    <p:sldLayoutId id="2147483786" r:id="rId61"/>
    <p:sldLayoutId id="2147483787" r:id="rId62"/>
    <p:sldLayoutId id="2147483788" r:id="rId63"/>
    <p:sldLayoutId id="2147483789" r:id="rId64"/>
    <p:sldLayoutId id="2147483790" r:id="rId65"/>
    <p:sldLayoutId id="2147483791" r:id="rId66"/>
    <p:sldLayoutId id="2147483792" r:id="rId67"/>
    <p:sldLayoutId id="2147483793" r:id="rId68"/>
    <p:sldLayoutId id="2147483794" r:id="rId69"/>
    <p:sldLayoutId id="2147483933" r:id="rId70"/>
  </p:sldLayoutIdLst>
  <p:transition spd="med"/>
  <p:txStyles>
    <p:titleStyle>
      <a:lvl1pPr marL="0" marR="0" indent="0" algn="l" defTabSz="457200" latinLnBrk="0">
        <a:lnSpc>
          <a:spcPct val="80000"/>
        </a:lnSpc>
        <a:spcBef>
          <a:spcPts val="0"/>
        </a:spcBef>
        <a:spcAft>
          <a:spcPts val="0"/>
        </a:spcAft>
        <a:buClrTx/>
        <a:buSzTx/>
        <a:buFontTx/>
        <a:buNone/>
        <a:tabLst/>
        <a:defRPr sz="3000" b="1" i="0" u="none" strike="noStrike" cap="none" spc="0" baseline="0">
          <a:ln>
            <a:noFill/>
          </a:ln>
          <a:solidFill>
            <a:srgbClr val="002C77"/>
          </a:solidFill>
          <a:uFillTx/>
          <a:latin typeface="+mn-lt"/>
          <a:ea typeface="+mn-ea"/>
          <a:cs typeface="+mn-cs"/>
          <a:sym typeface="Arial"/>
        </a:defRPr>
      </a:lvl1pPr>
      <a:lvl2pPr marL="0" marR="0" indent="228600" algn="l" defTabSz="457200" latinLnBrk="0">
        <a:lnSpc>
          <a:spcPct val="80000"/>
        </a:lnSpc>
        <a:spcBef>
          <a:spcPts val="0"/>
        </a:spcBef>
        <a:spcAft>
          <a:spcPts val="0"/>
        </a:spcAft>
        <a:buClrTx/>
        <a:buSzTx/>
        <a:buFontTx/>
        <a:buNone/>
        <a:tabLst/>
        <a:defRPr sz="3000" b="1" i="0" u="none" strike="noStrike" cap="none" spc="0" baseline="0">
          <a:ln>
            <a:noFill/>
          </a:ln>
          <a:solidFill>
            <a:srgbClr val="002C77"/>
          </a:solidFill>
          <a:uFillTx/>
          <a:latin typeface="+mn-lt"/>
          <a:ea typeface="+mn-ea"/>
          <a:cs typeface="+mn-cs"/>
          <a:sym typeface="Arial"/>
        </a:defRPr>
      </a:lvl2pPr>
      <a:lvl3pPr marL="0" marR="0" indent="457200" algn="l" defTabSz="457200" latinLnBrk="0">
        <a:lnSpc>
          <a:spcPct val="80000"/>
        </a:lnSpc>
        <a:spcBef>
          <a:spcPts val="0"/>
        </a:spcBef>
        <a:spcAft>
          <a:spcPts val="0"/>
        </a:spcAft>
        <a:buClrTx/>
        <a:buSzTx/>
        <a:buFontTx/>
        <a:buNone/>
        <a:tabLst/>
        <a:defRPr sz="3000" b="1" i="0" u="none" strike="noStrike" cap="none" spc="0" baseline="0">
          <a:ln>
            <a:noFill/>
          </a:ln>
          <a:solidFill>
            <a:srgbClr val="002C77"/>
          </a:solidFill>
          <a:uFillTx/>
          <a:latin typeface="+mn-lt"/>
          <a:ea typeface="+mn-ea"/>
          <a:cs typeface="+mn-cs"/>
          <a:sym typeface="Arial"/>
        </a:defRPr>
      </a:lvl3pPr>
      <a:lvl4pPr marL="0" marR="0" indent="685800" algn="l" defTabSz="457200" latinLnBrk="0">
        <a:lnSpc>
          <a:spcPct val="80000"/>
        </a:lnSpc>
        <a:spcBef>
          <a:spcPts val="0"/>
        </a:spcBef>
        <a:spcAft>
          <a:spcPts val="0"/>
        </a:spcAft>
        <a:buClrTx/>
        <a:buSzTx/>
        <a:buFontTx/>
        <a:buNone/>
        <a:tabLst/>
        <a:defRPr sz="3000" b="1" i="0" u="none" strike="noStrike" cap="none" spc="0" baseline="0">
          <a:ln>
            <a:noFill/>
          </a:ln>
          <a:solidFill>
            <a:srgbClr val="002C77"/>
          </a:solidFill>
          <a:uFillTx/>
          <a:latin typeface="+mn-lt"/>
          <a:ea typeface="+mn-ea"/>
          <a:cs typeface="+mn-cs"/>
          <a:sym typeface="Arial"/>
        </a:defRPr>
      </a:lvl4pPr>
      <a:lvl5pPr marL="0" marR="0" indent="914400" algn="l" defTabSz="457200" latinLnBrk="0">
        <a:lnSpc>
          <a:spcPct val="80000"/>
        </a:lnSpc>
        <a:spcBef>
          <a:spcPts val="0"/>
        </a:spcBef>
        <a:spcAft>
          <a:spcPts val="0"/>
        </a:spcAft>
        <a:buClrTx/>
        <a:buSzTx/>
        <a:buFontTx/>
        <a:buNone/>
        <a:tabLst/>
        <a:defRPr sz="3000" b="1" i="0" u="none" strike="noStrike" cap="none" spc="0" baseline="0">
          <a:ln>
            <a:noFill/>
          </a:ln>
          <a:solidFill>
            <a:srgbClr val="002C77"/>
          </a:solidFill>
          <a:uFillTx/>
          <a:latin typeface="+mn-lt"/>
          <a:ea typeface="+mn-ea"/>
          <a:cs typeface="+mn-cs"/>
          <a:sym typeface="Arial"/>
        </a:defRPr>
      </a:lvl5pPr>
      <a:lvl6pPr marL="0" marR="0" indent="1143000" algn="l" defTabSz="457200" latinLnBrk="0">
        <a:lnSpc>
          <a:spcPct val="80000"/>
        </a:lnSpc>
        <a:spcBef>
          <a:spcPts val="0"/>
        </a:spcBef>
        <a:spcAft>
          <a:spcPts val="0"/>
        </a:spcAft>
        <a:buClrTx/>
        <a:buSzTx/>
        <a:buFontTx/>
        <a:buNone/>
        <a:tabLst/>
        <a:defRPr sz="3000" b="1" i="0" u="none" strike="noStrike" cap="none" spc="0" baseline="0">
          <a:ln>
            <a:noFill/>
          </a:ln>
          <a:solidFill>
            <a:srgbClr val="002C77"/>
          </a:solidFill>
          <a:uFillTx/>
          <a:latin typeface="+mn-lt"/>
          <a:ea typeface="+mn-ea"/>
          <a:cs typeface="+mn-cs"/>
          <a:sym typeface="Arial"/>
        </a:defRPr>
      </a:lvl6pPr>
      <a:lvl7pPr marL="0" marR="0" indent="1371600" algn="l" defTabSz="457200" latinLnBrk="0">
        <a:lnSpc>
          <a:spcPct val="80000"/>
        </a:lnSpc>
        <a:spcBef>
          <a:spcPts val="0"/>
        </a:spcBef>
        <a:spcAft>
          <a:spcPts val="0"/>
        </a:spcAft>
        <a:buClrTx/>
        <a:buSzTx/>
        <a:buFontTx/>
        <a:buNone/>
        <a:tabLst/>
        <a:defRPr sz="3000" b="1" i="0" u="none" strike="noStrike" cap="none" spc="0" baseline="0">
          <a:ln>
            <a:noFill/>
          </a:ln>
          <a:solidFill>
            <a:srgbClr val="002C77"/>
          </a:solidFill>
          <a:uFillTx/>
          <a:latin typeface="+mn-lt"/>
          <a:ea typeface="+mn-ea"/>
          <a:cs typeface="+mn-cs"/>
          <a:sym typeface="Arial"/>
        </a:defRPr>
      </a:lvl7pPr>
      <a:lvl8pPr marL="0" marR="0" indent="1600200" algn="l" defTabSz="457200" latinLnBrk="0">
        <a:lnSpc>
          <a:spcPct val="80000"/>
        </a:lnSpc>
        <a:spcBef>
          <a:spcPts val="0"/>
        </a:spcBef>
        <a:spcAft>
          <a:spcPts val="0"/>
        </a:spcAft>
        <a:buClrTx/>
        <a:buSzTx/>
        <a:buFontTx/>
        <a:buNone/>
        <a:tabLst/>
        <a:defRPr sz="3000" b="1" i="0" u="none" strike="noStrike" cap="none" spc="0" baseline="0">
          <a:ln>
            <a:noFill/>
          </a:ln>
          <a:solidFill>
            <a:srgbClr val="002C77"/>
          </a:solidFill>
          <a:uFillTx/>
          <a:latin typeface="+mn-lt"/>
          <a:ea typeface="+mn-ea"/>
          <a:cs typeface="+mn-cs"/>
          <a:sym typeface="Arial"/>
        </a:defRPr>
      </a:lvl8pPr>
      <a:lvl9pPr marL="0" marR="0" indent="1828800" algn="l" defTabSz="457200" latinLnBrk="0">
        <a:lnSpc>
          <a:spcPct val="80000"/>
        </a:lnSpc>
        <a:spcBef>
          <a:spcPts val="0"/>
        </a:spcBef>
        <a:spcAft>
          <a:spcPts val="0"/>
        </a:spcAft>
        <a:buClrTx/>
        <a:buSzTx/>
        <a:buFontTx/>
        <a:buNone/>
        <a:tabLst/>
        <a:defRPr sz="3000" b="1" i="0" u="none" strike="noStrike" cap="none" spc="0" baseline="0">
          <a:ln>
            <a:noFill/>
          </a:ln>
          <a:solidFill>
            <a:srgbClr val="002C77"/>
          </a:solidFill>
          <a:uFillTx/>
          <a:latin typeface="+mn-lt"/>
          <a:ea typeface="+mn-ea"/>
          <a:cs typeface="+mn-cs"/>
          <a:sym typeface="Arial"/>
        </a:defRPr>
      </a:lvl9pPr>
    </p:titleStyle>
    <p:bodyStyle>
      <a:lvl1pPr marL="0" marR="0" indent="0" algn="l" defTabSz="457200" latinLnBrk="0">
        <a:lnSpc>
          <a:spcPct val="100000"/>
        </a:lnSpc>
        <a:spcBef>
          <a:spcPts val="1200"/>
        </a:spcBef>
        <a:spcAft>
          <a:spcPts val="0"/>
        </a:spcAft>
        <a:buClrTx/>
        <a:buSzTx/>
        <a:buFontTx/>
        <a:buNone/>
        <a:tabLst/>
        <a:defRPr sz="1800" b="0" i="0" u="none" strike="noStrike" cap="none" spc="0" baseline="0">
          <a:ln>
            <a:noFill/>
          </a:ln>
          <a:solidFill>
            <a:srgbClr val="202020"/>
          </a:solidFill>
          <a:uFillTx/>
          <a:latin typeface="+mn-lt"/>
          <a:ea typeface="+mn-ea"/>
          <a:cs typeface="+mn-cs"/>
          <a:sym typeface="Arial"/>
        </a:defRPr>
      </a:lvl1pPr>
      <a:lvl2pPr marL="0" marR="0" indent="3175" algn="l" defTabSz="457200" latinLnBrk="0">
        <a:lnSpc>
          <a:spcPct val="100000"/>
        </a:lnSpc>
        <a:spcBef>
          <a:spcPts val="1200"/>
        </a:spcBef>
        <a:spcAft>
          <a:spcPts val="0"/>
        </a:spcAft>
        <a:buClrTx/>
        <a:buSzTx/>
        <a:buFontTx/>
        <a:buNone/>
        <a:tabLst/>
        <a:defRPr sz="1800" b="0" i="0" u="none" strike="noStrike" cap="none" spc="0" baseline="0">
          <a:ln>
            <a:noFill/>
          </a:ln>
          <a:solidFill>
            <a:srgbClr val="202020"/>
          </a:solidFill>
          <a:uFillTx/>
          <a:latin typeface="+mn-lt"/>
          <a:ea typeface="+mn-ea"/>
          <a:cs typeface="+mn-cs"/>
          <a:sym typeface="Arial"/>
        </a:defRPr>
      </a:lvl2pPr>
      <a:lvl3pPr marL="0" marR="0" indent="228600" algn="l" defTabSz="457200" latinLnBrk="0">
        <a:lnSpc>
          <a:spcPct val="100000"/>
        </a:lnSpc>
        <a:spcBef>
          <a:spcPts val="1200"/>
        </a:spcBef>
        <a:spcAft>
          <a:spcPts val="0"/>
        </a:spcAft>
        <a:buClrTx/>
        <a:buSzTx/>
        <a:buFontTx/>
        <a:buNone/>
        <a:tabLst/>
        <a:defRPr sz="1800" b="0" i="0" u="none" strike="noStrike" cap="none" spc="0" baseline="0">
          <a:ln>
            <a:noFill/>
          </a:ln>
          <a:solidFill>
            <a:srgbClr val="202020"/>
          </a:solidFill>
          <a:uFillTx/>
          <a:latin typeface="+mn-lt"/>
          <a:ea typeface="+mn-ea"/>
          <a:cs typeface="+mn-cs"/>
          <a:sym typeface="Arial"/>
        </a:defRPr>
      </a:lvl3pPr>
      <a:lvl4pPr marL="0" marR="0" indent="457200" algn="l" defTabSz="457200" latinLnBrk="0">
        <a:lnSpc>
          <a:spcPct val="100000"/>
        </a:lnSpc>
        <a:spcBef>
          <a:spcPts val="1200"/>
        </a:spcBef>
        <a:spcAft>
          <a:spcPts val="0"/>
        </a:spcAft>
        <a:buClrTx/>
        <a:buSzTx/>
        <a:buFontTx/>
        <a:buNone/>
        <a:tabLst/>
        <a:defRPr sz="1800" b="0" i="0" u="none" strike="noStrike" cap="none" spc="0" baseline="0">
          <a:ln>
            <a:noFill/>
          </a:ln>
          <a:solidFill>
            <a:srgbClr val="202020"/>
          </a:solidFill>
          <a:uFillTx/>
          <a:latin typeface="+mn-lt"/>
          <a:ea typeface="+mn-ea"/>
          <a:cs typeface="+mn-cs"/>
          <a:sym typeface="Arial"/>
        </a:defRPr>
      </a:lvl4pPr>
      <a:lvl5pPr marL="0" marR="0" indent="685800" algn="l" defTabSz="457200" latinLnBrk="0">
        <a:lnSpc>
          <a:spcPct val="100000"/>
        </a:lnSpc>
        <a:spcBef>
          <a:spcPts val="1200"/>
        </a:spcBef>
        <a:spcAft>
          <a:spcPts val="0"/>
        </a:spcAft>
        <a:buClrTx/>
        <a:buSzTx/>
        <a:buFontTx/>
        <a:buNone/>
        <a:tabLst/>
        <a:defRPr sz="1800" b="0" i="0" u="none" strike="noStrike" cap="none" spc="0" baseline="0">
          <a:ln>
            <a:noFill/>
          </a:ln>
          <a:solidFill>
            <a:srgbClr val="202020"/>
          </a:solidFill>
          <a:uFillTx/>
          <a:latin typeface="+mn-lt"/>
          <a:ea typeface="+mn-ea"/>
          <a:cs typeface="+mn-cs"/>
          <a:sym typeface="Arial"/>
        </a:defRPr>
      </a:lvl5pPr>
      <a:lvl6pPr marL="0" marR="0" indent="919162" algn="l" defTabSz="457200" latinLnBrk="0">
        <a:lnSpc>
          <a:spcPct val="100000"/>
        </a:lnSpc>
        <a:spcBef>
          <a:spcPts val="1200"/>
        </a:spcBef>
        <a:spcAft>
          <a:spcPts val="0"/>
        </a:spcAft>
        <a:buClrTx/>
        <a:buSzTx/>
        <a:buFontTx/>
        <a:buNone/>
        <a:tabLst/>
        <a:defRPr sz="1800" b="0" i="0" u="none" strike="noStrike" cap="none" spc="0" baseline="0">
          <a:ln>
            <a:noFill/>
          </a:ln>
          <a:solidFill>
            <a:srgbClr val="202020"/>
          </a:solidFill>
          <a:uFillTx/>
          <a:latin typeface="+mn-lt"/>
          <a:ea typeface="+mn-ea"/>
          <a:cs typeface="+mn-cs"/>
          <a:sym typeface="Arial"/>
        </a:defRPr>
      </a:lvl6pPr>
      <a:lvl7pPr marL="0" marR="0" indent="1146175" algn="l" defTabSz="457200" latinLnBrk="0">
        <a:lnSpc>
          <a:spcPct val="100000"/>
        </a:lnSpc>
        <a:spcBef>
          <a:spcPts val="1200"/>
        </a:spcBef>
        <a:spcAft>
          <a:spcPts val="0"/>
        </a:spcAft>
        <a:buClrTx/>
        <a:buSzTx/>
        <a:buFontTx/>
        <a:buNone/>
        <a:tabLst/>
        <a:defRPr sz="1800" b="0" i="0" u="none" strike="noStrike" cap="none" spc="0" baseline="0">
          <a:ln>
            <a:noFill/>
          </a:ln>
          <a:solidFill>
            <a:srgbClr val="202020"/>
          </a:solidFill>
          <a:uFillTx/>
          <a:latin typeface="+mn-lt"/>
          <a:ea typeface="+mn-ea"/>
          <a:cs typeface="+mn-cs"/>
          <a:sym typeface="Arial"/>
        </a:defRPr>
      </a:lvl7pPr>
      <a:lvl8pPr marL="0" marR="0" indent="1374775" algn="l" defTabSz="457200" latinLnBrk="0">
        <a:lnSpc>
          <a:spcPct val="100000"/>
        </a:lnSpc>
        <a:spcBef>
          <a:spcPts val="1200"/>
        </a:spcBef>
        <a:spcAft>
          <a:spcPts val="0"/>
        </a:spcAft>
        <a:buClrTx/>
        <a:buSzTx/>
        <a:buFontTx/>
        <a:buNone/>
        <a:tabLst/>
        <a:defRPr sz="1800" b="0" i="0" u="none" strike="noStrike" cap="none" spc="0" baseline="0">
          <a:ln>
            <a:noFill/>
          </a:ln>
          <a:solidFill>
            <a:srgbClr val="202020"/>
          </a:solidFill>
          <a:uFillTx/>
          <a:latin typeface="+mn-lt"/>
          <a:ea typeface="+mn-ea"/>
          <a:cs typeface="+mn-cs"/>
          <a:sym typeface="Arial"/>
        </a:defRPr>
      </a:lvl8pPr>
      <a:lvl9pPr marL="0" marR="0" indent="1603375" algn="l" defTabSz="457200" latinLnBrk="0">
        <a:lnSpc>
          <a:spcPct val="100000"/>
        </a:lnSpc>
        <a:spcBef>
          <a:spcPts val="1200"/>
        </a:spcBef>
        <a:spcAft>
          <a:spcPts val="0"/>
        </a:spcAft>
        <a:buClrTx/>
        <a:buSzTx/>
        <a:buFontTx/>
        <a:buNone/>
        <a:tabLst/>
        <a:defRPr sz="1800" b="0" i="0" u="none" strike="noStrike" cap="none" spc="0" baseline="0">
          <a:ln>
            <a:noFill/>
          </a:ln>
          <a:solidFill>
            <a:srgbClr val="202020"/>
          </a:solidFill>
          <a:uFillTx/>
          <a:latin typeface="+mn-lt"/>
          <a:ea typeface="+mn-ea"/>
          <a:cs typeface="+mn-cs"/>
          <a:sym typeface="Arial"/>
        </a:defRPr>
      </a:lvl9pPr>
    </p:bodyStyle>
    <p:otherStyle>
      <a:lvl1pPr marL="0" marR="0" indent="0" algn="r" defTabSz="45720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1pPr>
      <a:lvl2pPr marL="0" marR="0" indent="228600" algn="r" defTabSz="45720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2pPr>
      <a:lvl3pPr marL="0" marR="0" indent="457200" algn="r" defTabSz="45720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3pPr>
      <a:lvl4pPr marL="0" marR="0" indent="685800" algn="r" defTabSz="45720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4pPr>
      <a:lvl5pPr marL="0" marR="0" indent="914400" algn="r" defTabSz="45720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5pPr>
      <a:lvl6pPr marL="0" marR="0" indent="1143000" algn="r" defTabSz="45720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6pPr>
      <a:lvl7pPr marL="0" marR="0" indent="1371600" algn="r" defTabSz="45720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7pPr>
      <a:lvl8pPr marL="0" marR="0" indent="1600200" algn="r" defTabSz="45720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8pPr>
      <a:lvl9pPr marL="0" marR="0" indent="1828800" algn="r" defTabSz="45720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609EAE9-575C-BC49-807B-2EA04A66243B}"/>
              </a:ext>
            </a:extLst>
          </p:cNvPr>
          <p:cNvGraphicFramePr>
            <a:graphicFrameLocks noChangeAspect="1"/>
          </p:cNvGraphicFramePr>
          <p:nvPr>
            <p:custDataLst>
              <p:tags r:id="rId6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4" imgW="7772400" imgH="10058400" progId="TCLayout.ActiveDocument.1">
                  <p:embed/>
                </p:oleObj>
              </mc:Choice>
              <mc:Fallback>
                <p:oleObj name="think-cell Slide" r:id="rId64" imgW="7772400" imgH="10058400" progId="TCLayout.ActiveDocument.1">
                  <p:embed/>
                  <p:pic>
                    <p:nvPicPr>
                      <p:cNvPr id="8" name="Object 7" hidden="1">
                        <a:extLst>
                          <a:ext uri="{FF2B5EF4-FFF2-40B4-BE49-F238E27FC236}">
                            <a16:creationId xmlns:a16="http://schemas.microsoft.com/office/drawing/2014/main" id="{0609EAE9-575C-BC49-807B-2EA04A66243B}"/>
                          </a:ext>
                        </a:extLst>
                      </p:cNvPr>
                      <p:cNvPicPr/>
                      <p:nvPr/>
                    </p:nvPicPr>
                    <p:blipFill>
                      <a:blip r:embed="rId6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58217" y="355601"/>
            <a:ext cx="11223624" cy="495299"/>
          </a:xfrm>
          <a:prstGeom prst="rect">
            <a:avLst/>
          </a:prstGeom>
        </p:spPr>
        <p:txBody>
          <a:bodyPr vert="horz" lIns="0" tIns="0" rIns="0" bIns="0" rtlCol="0" anchor="t">
            <a:noAutofit/>
          </a:bodyPr>
          <a:lstStyle/>
          <a:p>
            <a:r>
              <a:rPr lang="es-ES"/>
              <a:t>Haga clic para modificar el estilo de título del patrón</a:t>
            </a:r>
            <a:endParaRPr lang="en-US" dirty="0"/>
          </a:p>
        </p:txBody>
      </p:sp>
      <p:sp>
        <p:nvSpPr>
          <p:cNvPr id="3" name="Text Placeholder 2"/>
          <p:cNvSpPr>
            <a:spLocks noGrp="1"/>
          </p:cNvSpPr>
          <p:nvPr>
            <p:ph type="body" idx="1"/>
          </p:nvPr>
        </p:nvSpPr>
        <p:spPr>
          <a:xfrm>
            <a:off x="485776" y="1609725"/>
            <a:ext cx="11223624" cy="4514302"/>
          </a:xfrm>
          <a:prstGeom prst="rect">
            <a:avLst/>
          </a:prstGeom>
        </p:spPr>
        <p:txBody>
          <a:bodyPr vert="horz" lIns="0" tIns="0" rIns="0" bIns="0" rtlCol="0" anchor="t">
            <a:noAutofit/>
          </a:bodyPr>
          <a:lstStyle/>
          <a:p>
            <a:pPr lvl="0"/>
            <a:r>
              <a:rPr lang="en-US" dirty="0"/>
              <a:t>Click to edit Master text styles</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27" name="TextBox 26">
            <a:extLst>
              <a:ext uri="{FF2B5EF4-FFF2-40B4-BE49-F238E27FC236}">
                <a16:creationId xmlns:a16="http://schemas.microsoft.com/office/drawing/2014/main" id="{9A6A4D16-2CB5-DA4B-9931-20D3477C5477}"/>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tx1"/>
                </a:solidFill>
                <a:effectLst/>
                <a:latin typeface="+mn-lt"/>
                <a:ea typeface="+mn-ea"/>
                <a:cs typeface="+mn-cs"/>
              </a:rPr>
              <a:t>‹Nº›</a:t>
            </a:fld>
            <a:endParaRPr lang="en-US" sz="800" kern="1200" dirty="0">
              <a:solidFill>
                <a:schemeClr val="tx1"/>
              </a:solidFill>
              <a:effectLst/>
              <a:latin typeface="+mn-lt"/>
              <a:ea typeface="+mn-ea"/>
              <a:cs typeface="+mn-cs"/>
            </a:endParaRPr>
          </a:p>
        </p:txBody>
      </p:sp>
      <p:pic>
        <p:nvPicPr>
          <p:cNvPr id="10" name="Graphic 9">
            <a:extLst>
              <a:ext uri="{FF2B5EF4-FFF2-40B4-BE49-F238E27FC236}">
                <a16:creationId xmlns:a16="http://schemas.microsoft.com/office/drawing/2014/main" id="{D0BD2358-DC70-594C-AEF2-F1AF15153B94}"/>
              </a:ext>
            </a:extLst>
          </p:cNvPr>
          <p:cNvPicPr>
            <a:picLocks noChangeAspect="1"/>
          </p:cNvPicPr>
          <p:nvPr/>
        </p:nvPicPr>
        <p:blipFill>
          <a:blip r:embed="rId66">
            <a:extLst>
              <a:ext uri="{96DAC541-7B7A-43D3-8B79-37D633B846F1}">
                <asvg:svgBlip xmlns:asvg="http://schemas.microsoft.com/office/drawing/2016/SVG/main" r:embed="rId67"/>
              </a:ext>
            </a:extLst>
          </a:blip>
          <a:stretch>
            <a:fillRect/>
          </a:stretch>
        </p:blipFill>
        <p:spPr>
          <a:xfrm>
            <a:off x="485608" y="6515100"/>
            <a:ext cx="630936" cy="131445"/>
          </a:xfrm>
          <a:prstGeom prst="rect">
            <a:avLst/>
          </a:prstGeom>
        </p:spPr>
      </p:pic>
      <p:sp>
        <p:nvSpPr>
          <p:cNvPr id="7" name="TextBox 6">
            <a:extLst>
              <a:ext uri="{FF2B5EF4-FFF2-40B4-BE49-F238E27FC236}">
                <a16:creationId xmlns:a16="http://schemas.microsoft.com/office/drawing/2014/main" id="{09BA50B2-6484-EC4D-AF6E-8573FB70C5FE}"/>
              </a:ext>
            </a:extLst>
          </p:cNvPr>
          <p:cNvSpPr txBox="1"/>
          <p:nvPr userDrawn="1"/>
        </p:nvSpPr>
        <p:spPr>
          <a:xfrm>
            <a:off x="1409700" y="6517153"/>
            <a:ext cx="3606800" cy="121966"/>
          </a:xfrm>
          <a:prstGeom prst="rect">
            <a:avLst/>
          </a:prstGeom>
          <a:noFill/>
        </p:spPr>
        <p:txBody>
          <a:bodyPr wrap="none" lIns="0" tIns="0" rIns="0" bIns="0" rtlCol="0">
            <a:noAutofit/>
          </a:bodyPr>
          <a:lstStyle/>
          <a:p>
            <a:pPr indent="-457200">
              <a:spcBef>
                <a:spcPts val="1800"/>
              </a:spcBef>
            </a:pPr>
            <a:endParaRPr lang="en-US" sz="800" dirty="0">
              <a:solidFill>
                <a:schemeClr val="bg2"/>
              </a:solidFill>
            </a:endParaRPr>
          </a:p>
        </p:txBody>
      </p:sp>
    </p:spTree>
    <p:extLst>
      <p:ext uri="{BB962C8B-B14F-4D97-AF65-F5344CB8AC3E}">
        <p14:creationId xmlns:p14="http://schemas.microsoft.com/office/powerpoint/2010/main" val="2546990591"/>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 id="2147483813" r:id="rId17"/>
    <p:sldLayoutId id="2147483814" r:id="rId18"/>
    <p:sldLayoutId id="2147483815" r:id="rId19"/>
    <p:sldLayoutId id="2147483816" r:id="rId20"/>
    <p:sldLayoutId id="2147483817" r:id="rId21"/>
    <p:sldLayoutId id="2147483818" r:id="rId22"/>
    <p:sldLayoutId id="2147483819" r:id="rId23"/>
    <p:sldLayoutId id="2147483820" r:id="rId24"/>
    <p:sldLayoutId id="2147483821" r:id="rId25"/>
    <p:sldLayoutId id="2147483822" r:id="rId26"/>
    <p:sldLayoutId id="2147483823" r:id="rId27"/>
    <p:sldLayoutId id="2147483824" r:id="rId28"/>
    <p:sldLayoutId id="2147483825" r:id="rId29"/>
    <p:sldLayoutId id="2147483826" r:id="rId30"/>
    <p:sldLayoutId id="2147483827" r:id="rId31"/>
    <p:sldLayoutId id="2147483828" r:id="rId32"/>
    <p:sldLayoutId id="2147483829" r:id="rId33"/>
    <p:sldLayoutId id="2147483830" r:id="rId34"/>
    <p:sldLayoutId id="2147483831" r:id="rId35"/>
    <p:sldLayoutId id="2147483832" r:id="rId36"/>
    <p:sldLayoutId id="2147483833" r:id="rId37"/>
    <p:sldLayoutId id="2147483834" r:id="rId38"/>
    <p:sldLayoutId id="2147483835" r:id="rId39"/>
    <p:sldLayoutId id="2147483836" r:id="rId40"/>
    <p:sldLayoutId id="2147483837" r:id="rId41"/>
    <p:sldLayoutId id="2147483838" r:id="rId42"/>
    <p:sldLayoutId id="2147483839" r:id="rId43"/>
    <p:sldLayoutId id="2147483840" r:id="rId44"/>
    <p:sldLayoutId id="2147483841" r:id="rId45"/>
    <p:sldLayoutId id="2147483842" r:id="rId46"/>
    <p:sldLayoutId id="2147483843" r:id="rId47"/>
    <p:sldLayoutId id="2147483844" r:id="rId48"/>
    <p:sldLayoutId id="2147483845" r:id="rId49"/>
    <p:sldLayoutId id="2147483846" r:id="rId50"/>
    <p:sldLayoutId id="2147483847" r:id="rId51"/>
    <p:sldLayoutId id="2147483848" r:id="rId52"/>
    <p:sldLayoutId id="2147483849" r:id="rId53"/>
    <p:sldLayoutId id="2147483850" r:id="rId54"/>
    <p:sldLayoutId id="2147483851" r:id="rId55"/>
    <p:sldLayoutId id="2147483852" r:id="rId56"/>
    <p:sldLayoutId id="2147483853" r:id="rId57"/>
    <p:sldLayoutId id="2147483854" r:id="rId58"/>
    <p:sldLayoutId id="2147483855" r:id="rId59"/>
    <p:sldLayoutId id="2147483856" r:id="rId60"/>
    <p:sldLayoutId id="2147483935" r:id="rId61"/>
  </p:sldLayoutIdLst>
  <p:txStyles>
    <p:titleStyle>
      <a:lvl1pPr algn="l" defTabSz="457200" rtl="0" eaLnBrk="1" latinLnBrk="0" hangingPunct="1">
        <a:lnSpc>
          <a:spcPct val="80000"/>
        </a:lnSpc>
        <a:spcBef>
          <a:spcPct val="0"/>
        </a:spcBef>
        <a:buNone/>
        <a:defRPr sz="3000" b="1" kern="1200">
          <a:solidFill>
            <a:schemeClr val="tx2"/>
          </a:solidFill>
          <a:latin typeface="+mj-lt"/>
          <a:ea typeface="+mj-ea"/>
          <a:cs typeface="+mj-cs"/>
        </a:defRPr>
      </a:lvl1pPr>
    </p:titleStyle>
    <p:bodyStyle>
      <a:lvl1pPr marL="0" indent="0" algn="l" defTabSz="457200" rtl="0" eaLnBrk="1" latinLnBrk="0" hangingPunct="1">
        <a:spcBef>
          <a:spcPts val="1200"/>
        </a:spcBef>
        <a:spcAft>
          <a:spcPts val="600"/>
        </a:spcAft>
        <a:buFont typeface="Arial"/>
        <a:buNone/>
        <a:defRPr sz="1800" b="0" kern="1200">
          <a:solidFill>
            <a:schemeClr val="tx1"/>
          </a:solidFill>
          <a:latin typeface="+mn-lt"/>
          <a:ea typeface="+mn-ea"/>
          <a:cs typeface="+mn-cs"/>
        </a:defRPr>
      </a:lvl1pPr>
      <a:lvl2pPr marL="228600" indent="-225425"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457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914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146175" indent="-227013" algn="l" defTabSz="457200" rtl="0" eaLnBrk="1" latinLnBrk="0" hangingPunct="1">
        <a:spcBef>
          <a:spcPts val="0"/>
        </a:spcBef>
        <a:spcAft>
          <a:spcPts val="600"/>
        </a:spcAft>
        <a:buFont typeface="Arial"/>
        <a:buChar char="•"/>
        <a:tabLst/>
        <a:defRPr sz="1200" kern="1200">
          <a:solidFill>
            <a:schemeClr val="tx1"/>
          </a:solidFill>
          <a:latin typeface="+mn-lt"/>
          <a:ea typeface="+mn-ea"/>
          <a:cs typeface="+mn-cs"/>
        </a:defRPr>
      </a:lvl6pPr>
      <a:lvl7pPr marL="1374775" indent="-228600" algn="l" defTabSz="457200" rtl="0" eaLnBrk="1" latinLnBrk="0" hangingPunct="1">
        <a:spcBef>
          <a:spcPts val="0"/>
        </a:spcBef>
        <a:spcAft>
          <a:spcPts val="600"/>
        </a:spcAft>
        <a:buFont typeface="System Font Regular"/>
        <a:buChar char="–"/>
        <a:tabLst/>
        <a:defRPr sz="1200" kern="1200">
          <a:solidFill>
            <a:schemeClr val="tx1"/>
          </a:solidFill>
          <a:latin typeface="+mn-lt"/>
          <a:ea typeface="+mn-ea"/>
          <a:cs typeface="+mn-cs"/>
        </a:defRPr>
      </a:lvl7pPr>
      <a:lvl8pPr marL="1601788" indent="-227013" algn="l" defTabSz="457200" rtl="0" eaLnBrk="1" latinLnBrk="0" hangingPunct="1">
        <a:spcBef>
          <a:spcPts val="0"/>
        </a:spcBef>
        <a:spcAft>
          <a:spcPts val="600"/>
        </a:spcAft>
        <a:buFont typeface="Arial"/>
        <a:buChar char="•"/>
        <a:tabLst/>
        <a:defRPr sz="1200" kern="1200">
          <a:solidFill>
            <a:schemeClr val="tx1"/>
          </a:solidFill>
          <a:latin typeface="+mn-lt"/>
          <a:ea typeface="+mn-ea"/>
          <a:cs typeface="+mn-cs"/>
        </a:defRPr>
      </a:lvl8pPr>
      <a:lvl9pPr marL="1830388" indent="-219075" algn="l" defTabSz="457200" rtl="0" eaLnBrk="1" latinLnBrk="0" hangingPunct="1">
        <a:spcBef>
          <a:spcPts val="0"/>
        </a:spcBef>
        <a:spcAft>
          <a:spcPts val="600"/>
        </a:spcAft>
        <a:buFont typeface="System Font Regular"/>
        <a:buChar char="–"/>
        <a:tabLst/>
        <a:defRPr sz="12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76">
          <p15:clr>
            <a:srgbClr val="F26B43"/>
          </p15:clr>
        </p15:guide>
        <p15:guide id="2" pos="6928">
          <p15:clr>
            <a:srgbClr val="F26B43"/>
          </p15:clr>
        </p15:guide>
        <p15:guide id="3" pos="6320">
          <p15:clr>
            <a:srgbClr val="F26B43"/>
          </p15:clr>
        </p15:guide>
        <p15:guide id="4" pos="5720">
          <p15:clr>
            <a:srgbClr val="F26B43"/>
          </p15:clr>
        </p15:guide>
        <p15:guide id="5" pos="5120">
          <p15:clr>
            <a:srgbClr val="F26B43"/>
          </p15:clr>
        </p15:guide>
        <p15:guide id="6" pos="4520">
          <p15:clr>
            <a:srgbClr val="F26B43"/>
          </p15:clr>
        </p15:guide>
        <p15:guide id="7" pos="3912">
          <p15:clr>
            <a:srgbClr val="F26B43"/>
          </p15:clr>
        </p15:guide>
        <p15:guide id="8" pos="3312">
          <p15:clr>
            <a:srgbClr val="F26B43"/>
          </p15:clr>
        </p15:guide>
        <p15:guide id="9" pos="2712">
          <p15:clr>
            <a:srgbClr val="F26B43"/>
          </p15:clr>
        </p15:guide>
        <p15:guide id="10" pos="2112">
          <p15:clr>
            <a:srgbClr val="F26B43"/>
          </p15:clr>
        </p15:guide>
        <p15:guide id="11" pos="1504">
          <p15:clr>
            <a:srgbClr val="F26B43"/>
          </p15:clr>
        </p15:guide>
        <p15:guide id="13" pos="304">
          <p15:clr>
            <a:srgbClr val="F26B43"/>
          </p15:clr>
        </p15:guide>
        <p15:guide id="14" pos="6776">
          <p15:clr>
            <a:srgbClr val="F26B43"/>
          </p15:clr>
        </p15:guide>
        <p15:guide id="15" pos="6176">
          <p15:clr>
            <a:srgbClr val="F26B43"/>
          </p15:clr>
        </p15:guide>
        <p15:guide id="16" pos="5568">
          <p15:clr>
            <a:srgbClr val="F26B43"/>
          </p15:clr>
        </p15:guide>
        <p15:guide id="17" pos="4968">
          <p15:clr>
            <a:srgbClr val="F26B43"/>
          </p15:clr>
        </p15:guide>
        <p15:guide id="18" pos="4368">
          <p15:clr>
            <a:srgbClr val="F26B43"/>
          </p15:clr>
        </p15:guide>
        <p15:guide id="19" pos="3768">
          <p15:clr>
            <a:srgbClr val="F26B43"/>
          </p15:clr>
        </p15:guide>
        <p15:guide id="20" pos="3160">
          <p15:clr>
            <a:srgbClr val="F26B43"/>
          </p15:clr>
        </p15:guide>
        <p15:guide id="21" pos="2560">
          <p15:clr>
            <a:srgbClr val="F26B43"/>
          </p15:clr>
        </p15:guide>
        <p15:guide id="22" pos="1960">
          <p15:clr>
            <a:srgbClr val="F26B43"/>
          </p15:clr>
        </p15:guide>
        <p15:guide id="23" pos="1360">
          <p15:clr>
            <a:srgbClr val="F26B43"/>
          </p15:clr>
        </p15:guide>
        <p15:guide id="24" pos="752">
          <p15:clr>
            <a:srgbClr val="F26B43"/>
          </p15:clr>
        </p15:guide>
        <p15:guide id="25" pos="224">
          <p15:clr>
            <a:srgbClr val="F26B43"/>
          </p15:clr>
        </p15:guide>
        <p15:guide id="26" pos="7456">
          <p15:clr>
            <a:srgbClr val="F26B43"/>
          </p15:clr>
        </p15:guide>
        <p15:guide id="27" orient="horz" pos="4168">
          <p15:clr>
            <a:srgbClr val="F26B43"/>
          </p15:clr>
        </p15:guide>
        <p15:guide id="28" pos="888">
          <p15:clr>
            <a:srgbClr val="F26B43"/>
          </p15:clr>
        </p15:guide>
        <p15:guide id="29" orient="horz" pos="4016">
          <p15:clr>
            <a:srgbClr val="F26B43"/>
          </p15:clr>
        </p15:guide>
        <p15:guide id="30" orient="horz" pos="226">
          <p15:clr>
            <a:srgbClr val="F26B43"/>
          </p15:clr>
        </p15:guide>
        <p15:guide id="31" orient="horz" pos="540">
          <p15:clr>
            <a:srgbClr val="F26B43"/>
          </p15:clr>
        </p15:guide>
        <p15:guide id="32" orient="horz" pos="698">
          <p15:clr>
            <a:srgbClr val="F26B43"/>
          </p15:clr>
        </p15:guide>
        <p15:guide id="35" orient="horz" pos="1014">
          <p15:clr>
            <a:srgbClr val="F26B43"/>
          </p15:clr>
        </p15:guide>
        <p15:guide id="38" orient="horz" pos="385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609EAE9-575C-BC49-807B-2EA04A66243B}"/>
              </a:ext>
            </a:extLst>
          </p:cNvPr>
          <p:cNvGraphicFramePr>
            <a:graphicFrameLocks noChangeAspect="1"/>
          </p:cNvGraphicFramePr>
          <p:nvPr>
            <p:custDataLst>
              <p:tags r:id="rId64"/>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5" imgW="7772400" imgH="10058400" progId="TCLayout.ActiveDocument.1">
                  <p:embed/>
                </p:oleObj>
              </mc:Choice>
              <mc:Fallback>
                <p:oleObj name="think-cell Slide" r:id="rId65" imgW="7772400" imgH="10058400" progId="TCLayout.ActiveDocument.1">
                  <p:embed/>
                  <p:pic>
                    <p:nvPicPr>
                      <p:cNvPr id="8" name="Object 7" hidden="1">
                        <a:extLst>
                          <a:ext uri="{FF2B5EF4-FFF2-40B4-BE49-F238E27FC236}">
                            <a16:creationId xmlns:a16="http://schemas.microsoft.com/office/drawing/2014/main" id="{0609EAE9-575C-BC49-807B-2EA04A66243B}"/>
                          </a:ext>
                        </a:extLst>
                      </p:cNvPr>
                      <p:cNvPicPr/>
                      <p:nvPr/>
                    </p:nvPicPr>
                    <p:blipFill>
                      <a:blip r:embed="rId66"/>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58217" y="355601"/>
            <a:ext cx="11223624" cy="495299"/>
          </a:xfrm>
          <a:prstGeom prst="rect">
            <a:avLst/>
          </a:prstGeom>
        </p:spPr>
        <p:txBody>
          <a:bodyPr vert="horz" lIns="0" tIns="0" rIns="0" bIns="0" rtlCol="0" anchor="t">
            <a:noAutofit/>
          </a:bodyPr>
          <a:lstStyle/>
          <a:p>
            <a:r>
              <a:rPr lang="es-ES"/>
              <a:t>Haga clic para modificar el estilo de título del patrón</a:t>
            </a:r>
            <a:endParaRPr lang="en-US" dirty="0"/>
          </a:p>
        </p:txBody>
      </p:sp>
      <p:sp>
        <p:nvSpPr>
          <p:cNvPr id="3" name="Text Placeholder 2"/>
          <p:cNvSpPr>
            <a:spLocks noGrp="1"/>
          </p:cNvSpPr>
          <p:nvPr>
            <p:ph type="body" idx="1"/>
          </p:nvPr>
        </p:nvSpPr>
        <p:spPr>
          <a:xfrm>
            <a:off x="485776" y="1609725"/>
            <a:ext cx="11223624" cy="4514302"/>
          </a:xfrm>
          <a:prstGeom prst="rect">
            <a:avLst/>
          </a:prstGeom>
        </p:spPr>
        <p:txBody>
          <a:bodyPr vert="horz" lIns="0" tIns="0" rIns="0" bIns="0" rtlCol="0" anchor="t">
            <a:noAutofit/>
          </a:bodyPr>
          <a:lstStyle/>
          <a:p>
            <a:pPr lvl="0"/>
            <a:r>
              <a:rPr lang="en-US" dirty="0"/>
              <a:t>Click to edit Master text styles</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27" name="TextBox 26">
            <a:extLst>
              <a:ext uri="{FF2B5EF4-FFF2-40B4-BE49-F238E27FC236}">
                <a16:creationId xmlns:a16="http://schemas.microsoft.com/office/drawing/2014/main" id="{9A6A4D16-2CB5-DA4B-9931-20D3477C5477}"/>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tx1"/>
                </a:solidFill>
                <a:effectLst/>
                <a:latin typeface="+mn-lt"/>
                <a:ea typeface="+mn-ea"/>
                <a:cs typeface="+mn-cs"/>
              </a:rPr>
              <a:t>‹Nº›</a:t>
            </a:fld>
            <a:endParaRPr lang="en-US" sz="800" kern="1200" dirty="0">
              <a:solidFill>
                <a:schemeClr val="tx1"/>
              </a:solidFill>
              <a:effectLst/>
              <a:latin typeface="+mn-lt"/>
              <a:ea typeface="+mn-ea"/>
              <a:cs typeface="+mn-cs"/>
            </a:endParaRPr>
          </a:p>
        </p:txBody>
      </p:sp>
      <p:pic>
        <p:nvPicPr>
          <p:cNvPr id="10" name="Graphic 9">
            <a:extLst>
              <a:ext uri="{FF2B5EF4-FFF2-40B4-BE49-F238E27FC236}">
                <a16:creationId xmlns:a16="http://schemas.microsoft.com/office/drawing/2014/main" id="{D0BD2358-DC70-594C-AEF2-F1AF15153B94}"/>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485608" y="6515100"/>
            <a:ext cx="630936" cy="131445"/>
          </a:xfrm>
          <a:prstGeom prst="rect">
            <a:avLst/>
          </a:prstGeom>
        </p:spPr>
      </p:pic>
      <p:sp>
        <p:nvSpPr>
          <p:cNvPr id="7" name="TextBox 6">
            <a:extLst>
              <a:ext uri="{FF2B5EF4-FFF2-40B4-BE49-F238E27FC236}">
                <a16:creationId xmlns:a16="http://schemas.microsoft.com/office/drawing/2014/main" id="{09BA50B2-6484-EC4D-AF6E-8573FB70C5FE}"/>
              </a:ext>
            </a:extLst>
          </p:cNvPr>
          <p:cNvSpPr txBox="1"/>
          <p:nvPr userDrawn="1"/>
        </p:nvSpPr>
        <p:spPr>
          <a:xfrm>
            <a:off x="1409700" y="6517153"/>
            <a:ext cx="3606800" cy="121966"/>
          </a:xfrm>
          <a:prstGeom prst="rect">
            <a:avLst/>
          </a:prstGeom>
          <a:noFill/>
        </p:spPr>
        <p:txBody>
          <a:bodyPr wrap="none" lIns="0" tIns="0" rIns="0" bIns="0" rtlCol="0">
            <a:noAutofit/>
          </a:bodyPr>
          <a:lstStyle/>
          <a:p>
            <a:pPr indent="-457200">
              <a:spcBef>
                <a:spcPts val="1800"/>
              </a:spcBef>
            </a:pPr>
            <a:endParaRPr lang="en-US" sz="800" dirty="0">
              <a:solidFill>
                <a:schemeClr val="bg2"/>
              </a:solidFill>
            </a:endParaRPr>
          </a:p>
        </p:txBody>
      </p:sp>
    </p:spTree>
    <p:extLst>
      <p:ext uri="{BB962C8B-B14F-4D97-AF65-F5344CB8AC3E}">
        <p14:creationId xmlns:p14="http://schemas.microsoft.com/office/powerpoint/2010/main" val="792327983"/>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 id="2147483882" r:id="rId25"/>
    <p:sldLayoutId id="2147483883" r:id="rId26"/>
    <p:sldLayoutId id="2147483884" r:id="rId27"/>
    <p:sldLayoutId id="2147483885" r:id="rId28"/>
    <p:sldLayoutId id="2147483886" r:id="rId29"/>
    <p:sldLayoutId id="2147483887" r:id="rId30"/>
    <p:sldLayoutId id="2147483888" r:id="rId31"/>
    <p:sldLayoutId id="2147483889" r:id="rId32"/>
    <p:sldLayoutId id="2147483890" r:id="rId33"/>
    <p:sldLayoutId id="2147483891" r:id="rId34"/>
    <p:sldLayoutId id="2147483892" r:id="rId35"/>
    <p:sldLayoutId id="2147483893" r:id="rId36"/>
    <p:sldLayoutId id="2147483894" r:id="rId37"/>
    <p:sldLayoutId id="2147483895" r:id="rId38"/>
    <p:sldLayoutId id="2147483896" r:id="rId39"/>
    <p:sldLayoutId id="2147483897" r:id="rId40"/>
    <p:sldLayoutId id="2147483898" r:id="rId41"/>
    <p:sldLayoutId id="2147483899" r:id="rId42"/>
    <p:sldLayoutId id="2147483900" r:id="rId43"/>
    <p:sldLayoutId id="2147483901" r:id="rId44"/>
    <p:sldLayoutId id="2147483902" r:id="rId45"/>
    <p:sldLayoutId id="2147483903" r:id="rId46"/>
    <p:sldLayoutId id="2147483904" r:id="rId47"/>
    <p:sldLayoutId id="2147483905" r:id="rId48"/>
    <p:sldLayoutId id="2147483906" r:id="rId49"/>
    <p:sldLayoutId id="2147483907" r:id="rId50"/>
    <p:sldLayoutId id="2147483908" r:id="rId51"/>
    <p:sldLayoutId id="2147483909" r:id="rId52"/>
    <p:sldLayoutId id="2147483910" r:id="rId53"/>
    <p:sldLayoutId id="2147483911" r:id="rId54"/>
    <p:sldLayoutId id="2147483912" r:id="rId55"/>
    <p:sldLayoutId id="2147483913" r:id="rId56"/>
    <p:sldLayoutId id="2147483914" r:id="rId57"/>
    <p:sldLayoutId id="2147483915" r:id="rId58"/>
    <p:sldLayoutId id="2147483916" r:id="rId59"/>
    <p:sldLayoutId id="2147483918" r:id="rId60"/>
    <p:sldLayoutId id="2147484130" r:id="rId61"/>
    <p:sldLayoutId id="2147484132" r:id="rId62"/>
  </p:sldLayoutIdLst>
  <p:txStyles>
    <p:titleStyle>
      <a:lvl1pPr algn="l" defTabSz="457200" rtl="0" eaLnBrk="1" latinLnBrk="0" hangingPunct="1">
        <a:lnSpc>
          <a:spcPct val="80000"/>
        </a:lnSpc>
        <a:spcBef>
          <a:spcPct val="0"/>
        </a:spcBef>
        <a:buNone/>
        <a:defRPr sz="3000" b="1" kern="1200">
          <a:solidFill>
            <a:schemeClr val="tx2"/>
          </a:solidFill>
          <a:latin typeface="+mj-lt"/>
          <a:ea typeface="+mj-ea"/>
          <a:cs typeface="+mj-cs"/>
        </a:defRPr>
      </a:lvl1pPr>
    </p:titleStyle>
    <p:bodyStyle>
      <a:lvl1pPr marL="0" indent="0" algn="l" defTabSz="457200" rtl="0" eaLnBrk="1" latinLnBrk="0" hangingPunct="1">
        <a:spcBef>
          <a:spcPts val="1200"/>
        </a:spcBef>
        <a:spcAft>
          <a:spcPts val="600"/>
        </a:spcAft>
        <a:buFont typeface="Arial"/>
        <a:buNone/>
        <a:defRPr sz="1800" b="0" kern="1200">
          <a:solidFill>
            <a:schemeClr val="tx1"/>
          </a:solidFill>
          <a:latin typeface="+mn-lt"/>
          <a:ea typeface="+mn-ea"/>
          <a:cs typeface="+mn-cs"/>
        </a:defRPr>
      </a:lvl1pPr>
      <a:lvl2pPr marL="228600" indent="-225425"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457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914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146175" indent="-227013" algn="l" defTabSz="457200" rtl="0" eaLnBrk="1" latinLnBrk="0" hangingPunct="1">
        <a:spcBef>
          <a:spcPts val="0"/>
        </a:spcBef>
        <a:spcAft>
          <a:spcPts val="600"/>
        </a:spcAft>
        <a:buFont typeface="Arial"/>
        <a:buChar char="•"/>
        <a:tabLst/>
        <a:defRPr sz="1200" kern="1200">
          <a:solidFill>
            <a:schemeClr val="tx1"/>
          </a:solidFill>
          <a:latin typeface="+mn-lt"/>
          <a:ea typeface="+mn-ea"/>
          <a:cs typeface="+mn-cs"/>
        </a:defRPr>
      </a:lvl6pPr>
      <a:lvl7pPr marL="1374775" indent="-228600" algn="l" defTabSz="457200" rtl="0" eaLnBrk="1" latinLnBrk="0" hangingPunct="1">
        <a:spcBef>
          <a:spcPts val="0"/>
        </a:spcBef>
        <a:spcAft>
          <a:spcPts val="600"/>
        </a:spcAft>
        <a:buFont typeface="System Font Regular"/>
        <a:buChar char="–"/>
        <a:tabLst/>
        <a:defRPr sz="1200" kern="1200">
          <a:solidFill>
            <a:schemeClr val="tx1"/>
          </a:solidFill>
          <a:latin typeface="+mn-lt"/>
          <a:ea typeface="+mn-ea"/>
          <a:cs typeface="+mn-cs"/>
        </a:defRPr>
      </a:lvl7pPr>
      <a:lvl8pPr marL="1601788" indent="-227013" algn="l" defTabSz="457200" rtl="0" eaLnBrk="1" latinLnBrk="0" hangingPunct="1">
        <a:spcBef>
          <a:spcPts val="0"/>
        </a:spcBef>
        <a:spcAft>
          <a:spcPts val="600"/>
        </a:spcAft>
        <a:buFont typeface="Arial"/>
        <a:buChar char="•"/>
        <a:tabLst/>
        <a:defRPr sz="1200" kern="1200">
          <a:solidFill>
            <a:schemeClr val="tx1"/>
          </a:solidFill>
          <a:latin typeface="+mn-lt"/>
          <a:ea typeface="+mn-ea"/>
          <a:cs typeface="+mn-cs"/>
        </a:defRPr>
      </a:lvl8pPr>
      <a:lvl9pPr marL="1830388" indent="-219075" algn="l" defTabSz="457200" rtl="0" eaLnBrk="1" latinLnBrk="0" hangingPunct="1">
        <a:spcBef>
          <a:spcPts val="0"/>
        </a:spcBef>
        <a:spcAft>
          <a:spcPts val="600"/>
        </a:spcAft>
        <a:buFont typeface="System Font Regular"/>
        <a:buChar char="–"/>
        <a:tabLst/>
        <a:defRPr sz="12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76">
          <p15:clr>
            <a:srgbClr val="F26B43"/>
          </p15:clr>
        </p15:guide>
        <p15:guide id="2" pos="6928">
          <p15:clr>
            <a:srgbClr val="F26B43"/>
          </p15:clr>
        </p15:guide>
        <p15:guide id="3" pos="6320">
          <p15:clr>
            <a:srgbClr val="F26B43"/>
          </p15:clr>
        </p15:guide>
        <p15:guide id="4" pos="5720">
          <p15:clr>
            <a:srgbClr val="F26B43"/>
          </p15:clr>
        </p15:guide>
        <p15:guide id="5" pos="5120">
          <p15:clr>
            <a:srgbClr val="F26B43"/>
          </p15:clr>
        </p15:guide>
        <p15:guide id="6" pos="4520">
          <p15:clr>
            <a:srgbClr val="F26B43"/>
          </p15:clr>
        </p15:guide>
        <p15:guide id="7" pos="3912">
          <p15:clr>
            <a:srgbClr val="F26B43"/>
          </p15:clr>
        </p15:guide>
        <p15:guide id="8" pos="3312">
          <p15:clr>
            <a:srgbClr val="F26B43"/>
          </p15:clr>
        </p15:guide>
        <p15:guide id="9" pos="2712">
          <p15:clr>
            <a:srgbClr val="F26B43"/>
          </p15:clr>
        </p15:guide>
        <p15:guide id="10" pos="2112">
          <p15:clr>
            <a:srgbClr val="F26B43"/>
          </p15:clr>
        </p15:guide>
        <p15:guide id="11" pos="1504">
          <p15:clr>
            <a:srgbClr val="F26B43"/>
          </p15:clr>
        </p15:guide>
        <p15:guide id="13" pos="304">
          <p15:clr>
            <a:srgbClr val="F26B43"/>
          </p15:clr>
        </p15:guide>
        <p15:guide id="14" pos="6776">
          <p15:clr>
            <a:srgbClr val="F26B43"/>
          </p15:clr>
        </p15:guide>
        <p15:guide id="15" pos="6176">
          <p15:clr>
            <a:srgbClr val="F26B43"/>
          </p15:clr>
        </p15:guide>
        <p15:guide id="16" pos="5568">
          <p15:clr>
            <a:srgbClr val="F26B43"/>
          </p15:clr>
        </p15:guide>
        <p15:guide id="17" pos="4968">
          <p15:clr>
            <a:srgbClr val="F26B43"/>
          </p15:clr>
        </p15:guide>
        <p15:guide id="18" pos="4368">
          <p15:clr>
            <a:srgbClr val="F26B43"/>
          </p15:clr>
        </p15:guide>
        <p15:guide id="19" pos="3768">
          <p15:clr>
            <a:srgbClr val="F26B43"/>
          </p15:clr>
        </p15:guide>
        <p15:guide id="20" pos="3160">
          <p15:clr>
            <a:srgbClr val="F26B43"/>
          </p15:clr>
        </p15:guide>
        <p15:guide id="21" pos="2560">
          <p15:clr>
            <a:srgbClr val="F26B43"/>
          </p15:clr>
        </p15:guide>
        <p15:guide id="22" pos="1960">
          <p15:clr>
            <a:srgbClr val="F26B43"/>
          </p15:clr>
        </p15:guide>
        <p15:guide id="23" pos="1360">
          <p15:clr>
            <a:srgbClr val="F26B43"/>
          </p15:clr>
        </p15:guide>
        <p15:guide id="24" pos="752">
          <p15:clr>
            <a:srgbClr val="F26B43"/>
          </p15:clr>
        </p15:guide>
        <p15:guide id="25" pos="224">
          <p15:clr>
            <a:srgbClr val="F26B43"/>
          </p15:clr>
        </p15:guide>
        <p15:guide id="26" pos="7456">
          <p15:clr>
            <a:srgbClr val="F26B43"/>
          </p15:clr>
        </p15:guide>
        <p15:guide id="27" orient="horz" pos="4168">
          <p15:clr>
            <a:srgbClr val="F26B43"/>
          </p15:clr>
        </p15:guide>
        <p15:guide id="28" pos="888">
          <p15:clr>
            <a:srgbClr val="F26B43"/>
          </p15:clr>
        </p15:guide>
        <p15:guide id="29" orient="horz" pos="4016">
          <p15:clr>
            <a:srgbClr val="F26B43"/>
          </p15:clr>
        </p15:guide>
        <p15:guide id="30" orient="horz" pos="226">
          <p15:clr>
            <a:srgbClr val="F26B43"/>
          </p15:clr>
        </p15:guide>
        <p15:guide id="31" orient="horz" pos="540">
          <p15:clr>
            <a:srgbClr val="F26B43"/>
          </p15:clr>
        </p15:guide>
        <p15:guide id="32" orient="horz" pos="698">
          <p15:clr>
            <a:srgbClr val="F26B43"/>
          </p15:clr>
        </p15:guide>
        <p15:guide id="35" orient="horz" pos="1014">
          <p15:clr>
            <a:srgbClr val="F26B43"/>
          </p15:clr>
        </p15:guide>
        <p15:guide id="38" orient="horz" pos="385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cNvSpPr>
            <a:spLocks noGrp="1" noChangeArrowheads="1"/>
          </p:cNvSpPr>
          <p:nvPr>
            <p:ph type="title"/>
            <p:custDataLst>
              <p:tags r:id="rId14"/>
            </p:custDataLst>
          </p:nvPr>
        </p:nvSpPr>
        <p:spPr bwMode="gray">
          <a:xfrm>
            <a:off x="558802" y="382589"/>
            <a:ext cx="11048693" cy="690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9676" rIns="79354" bIns="39676" numCol="1" anchor="t" anchorCtr="0" compatLnSpc="1">
            <a:prstTxWarp prst="textNoShape">
              <a:avLst/>
            </a:prstTxWarp>
          </a:bodyPr>
          <a:lstStyle/>
          <a:p>
            <a:pPr lvl="0"/>
            <a:r>
              <a:rPr lang="en-US"/>
              <a:t>Click to edit Master title style</a:t>
            </a:r>
            <a:endParaRPr lang="en-US" dirty="0"/>
          </a:p>
        </p:txBody>
      </p:sp>
      <p:sp>
        <p:nvSpPr>
          <p:cNvPr id="1027" name="BodyText"/>
          <p:cNvSpPr>
            <a:spLocks noGrp="1" noChangeArrowheads="1"/>
          </p:cNvSpPr>
          <p:nvPr>
            <p:ph type="body" idx="1"/>
            <p:custDataLst>
              <p:tags r:id="rId15"/>
            </p:custDataLst>
          </p:nvPr>
        </p:nvSpPr>
        <p:spPr bwMode="gray">
          <a:xfrm>
            <a:off x="558802" y="1277940"/>
            <a:ext cx="11048693" cy="4987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45" name="Copyright" hidden="1"/>
          <p:cNvSpPr txBox="1">
            <a:spLocks noChangeArrowheads="1"/>
          </p:cNvSpPr>
          <p:nvPr>
            <p:custDataLst>
              <p:tags r:id="rId16"/>
            </p:custDataLst>
          </p:nvPr>
        </p:nvSpPr>
        <p:spPr bwMode="gray">
          <a:xfrm>
            <a:off x="606681" y="6534151"/>
            <a:ext cx="3678359"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l">
              <a:lnSpc>
                <a:spcPct val="100000"/>
              </a:lnSpc>
              <a:spcBef>
                <a:spcPct val="50000"/>
              </a:spcBef>
            </a:pPr>
            <a:r>
              <a:rPr lang="en-US" sz="800">
                <a:solidFill>
                  <a:srgbClr val="7C848A"/>
                </a:solidFill>
                <a:cs typeface="Arial" charset="0"/>
              </a:rPr>
              <a:t>© 2014 Marsh USA Inc.</a:t>
            </a:r>
            <a:endParaRPr lang="en-US" sz="800">
              <a:solidFill>
                <a:srgbClr val="7C848A"/>
              </a:solidFill>
            </a:endParaRPr>
          </a:p>
        </p:txBody>
      </p:sp>
      <p:sp>
        <p:nvSpPr>
          <p:cNvPr id="1049" name="SlideNumber"/>
          <p:cNvSpPr>
            <a:spLocks noGrp="1" noChangeArrowheads="1"/>
          </p:cNvSpPr>
          <p:nvPr>
            <p:ph type="sldNum" sz="quarter" idx="4"/>
            <p:custDataLst>
              <p:tags r:id="rId17"/>
            </p:custDataLst>
          </p:nvPr>
        </p:nvSpPr>
        <p:spPr bwMode="gray">
          <a:xfrm>
            <a:off x="11035082" y="6483351"/>
            <a:ext cx="568383" cy="205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a:lnSpc>
                <a:spcPct val="100000"/>
              </a:lnSpc>
              <a:defRPr sz="1333">
                <a:solidFill>
                  <a:schemeClr val="accent1"/>
                </a:solidFill>
              </a:defRPr>
            </a:lvl1pPr>
          </a:lstStyle>
          <a:p>
            <a:fld id="{FB5AEE47-8841-489D-AEC9-0DFD2F32C834}" type="slidenum">
              <a:rPr lang="en-US" smtClean="0"/>
              <a:pPr/>
              <a:t>‹Nº›</a:t>
            </a:fld>
            <a:endParaRPr lang="en-US"/>
          </a:p>
        </p:txBody>
      </p:sp>
      <p:sp>
        <p:nvSpPr>
          <p:cNvPr id="1052" name="Date" hidden="1"/>
          <p:cNvSpPr>
            <a:spLocks noGrp="1" noChangeArrowheads="1"/>
          </p:cNvSpPr>
          <p:nvPr>
            <p:ph type="dt" sz="half" idx="2"/>
            <p:custDataLst>
              <p:tags r:id="rId18"/>
            </p:custDataLst>
          </p:nvPr>
        </p:nvSpPr>
        <p:spPr bwMode="gray">
          <a:xfrm>
            <a:off x="5411727" y="6517405"/>
            <a:ext cx="137056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nSpc>
                <a:spcPct val="100000"/>
              </a:lnSpc>
              <a:spcBef>
                <a:spcPct val="50000"/>
              </a:spcBef>
              <a:defRPr sz="800">
                <a:solidFill>
                  <a:srgbClr val="7C848A"/>
                </a:solidFill>
                <a:cs typeface="Arial" charset="0"/>
              </a:defRPr>
            </a:lvl1pPr>
          </a:lstStyle>
          <a:p>
            <a:fld id="{BB94B242-C5CE-495B-B489-285EBC03FD43}" type="datetime4">
              <a:rPr lang="en-US" smtClean="0"/>
              <a:pPr/>
              <a:t>September 12, 2023</a:t>
            </a:fld>
            <a:endParaRPr lang="en-US"/>
          </a:p>
        </p:txBody>
      </p:sp>
      <p:sp>
        <p:nvSpPr>
          <p:cNvPr id="1059" name="Business"/>
          <p:cNvSpPr txBox="1">
            <a:spLocks noChangeArrowheads="1"/>
          </p:cNvSpPr>
          <p:nvPr>
            <p:custDataLst>
              <p:tags r:id="rId19"/>
            </p:custDataLst>
          </p:nvPr>
        </p:nvSpPr>
        <p:spPr bwMode="gray">
          <a:xfrm>
            <a:off x="606677" y="6534151"/>
            <a:ext cx="366828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l">
              <a:lnSpc>
                <a:spcPct val="100000"/>
              </a:lnSpc>
              <a:spcBef>
                <a:spcPct val="50000"/>
              </a:spcBef>
            </a:pPr>
            <a:r>
              <a:rPr lang="en-US" sz="800" dirty="0">
                <a:solidFill>
                  <a:schemeClr val="accent5"/>
                </a:solidFill>
              </a:rPr>
              <a:t>MARSH </a:t>
            </a:r>
            <a:r>
              <a:rPr lang="en-US" sz="800" dirty="0" err="1">
                <a:solidFill>
                  <a:schemeClr val="accent5"/>
                </a:solidFill>
              </a:rPr>
              <a:t>JLT</a:t>
            </a:r>
            <a:r>
              <a:rPr lang="en-US" sz="800" dirty="0">
                <a:solidFill>
                  <a:schemeClr val="accent5"/>
                </a:solidFill>
              </a:rPr>
              <a:t> SPECIALTY</a:t>
            </a:r>
          </a:p>
        </p:txBody>
      </p:sp>
      <p:sp>
        <p:nvSpPr>
          <p:cNvPr id="1060" name="Filepath"/>
          <p:cNvSpPr txBox="1">
            <a:spLocks noChangeArrowheads="1"/>
          </p:cNvSpPr>
          <p:nvPr>
            <p:custDataLst>
              <p:tags r:id="rId20"/>
            </p:custDataLst>
          </p:nvPr>
        </p:nvSpPr>
        <p:spPr bwMode="gray">
          <a:xfrm>
            <a:off x="3152306" y="6512642"/>
            <a:ext cx="764494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a:lnSpc>
                <a:spcPct val="100000"/>
              </a:lnSpc>
              <a:spcBef>
                <a:spcPct val="50000"/>
              </a:spcBef>
            </a:pPr>
            <a:endParaRPr lang="en-US" sz="800">
              <a:solidFill>
                <a:schemeClr val="bg2"/>
              </a:solidFill>
            </a:endParaRPr>
          </a:p>
        </p:txBody>
      </p:sp>
      <p:sp>
        <p:nvSpPr>
          <p:cNvPr id="10" name="Freeform 9"/>
          <p:cNvSpPr/>
          <p:nvPr/>
        </p:nvSpPr>
        <p:spPr bwMode="auto">
          <a:xfrm>
            <a:off x="0" y="5330137"/>
            <a:ext cx="12189987" cy="1527865"/>
          </a:xfrm>
          <a:custGeom>
            <a:avLst/>
            <a:gdLst>
              <a:gd name="connsiteX0" fmla="*/ 9142490 w 9142490"/>
              <a:gd name="connsiteY0" fmla="*/ 0 h 1145899"/>
              <a:gd name="connsiteX1" fmla="*/ 9142490 w 9142490"/>
              <a:gd name="connsiteY1" fmla="*/ 42890 h 1145899"/>
              <a:gd name="connsiteX2" fmla="*/ 9142490 w 9142490"/>
              <a:gd name="connsiteY2" fmla="*/ 1145899 h 1145899"/>
              <a:gd name="connsiteX3" fmla="*/ 0 w 9142490"/>
              <a:gd name="connsiteY3" fmla="*/ 1145899 h 1145899"/>
              <a:gd name="connsiteX4" fmla="*/ 0 w 9142490"/>
              <a:gd name="connsiteY4" fmla="*/ 1139131 h 1145899"/>
              <a:gd name="connsiteX5" fmla="*/ 9142490 w 9142490"/>
              <a:gd name="connsiteY5" fmla="*/ 0 h 1145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2490" h="1145899">
                <a:moveTo>
                  <a:pt x="9142490" y="0"/>
                </a:moveTo>
                <a:lnTo>
                  <a:pt x="9142490" y="42890"/>
                </a:lnTo>
                <a:lnTo>
                  <a:pt x="9142490" y="1145899"/>
                </a:lnTo>
                <a:lnTo>
                  <a:pt x="0" y="1145899"/>
                </a:lnTo>
                <a:lnTo>
                  <a:pt x="0" y="1139131"/>
                </a:lnTo>
                <a:lnTo>
                  <a:pt x="9142490" y="0"/>
                </a:lnTo>
                <a:close/>
              </a:path>
            </a:pathLst>
          </a:custGeom>
          <a:solidFill>
            <a:schemeClr val="accent4">
              <a:alpha val="2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0" tIns="0" rIns="121920" bIns="60960" numCol="1" spcCol="0" rtlCol="0" fromWordArt="0" anchor="ctr" anchorCtr="0" forceAA="0" compatLnSpc="1">
            <a:prstTxWarp prst="textNoShape">
              <a:avLst/>
            </a:prstTxWarp>
            <a:noAutofit/>
          </a:bodyPr>
          <a:lstStyle/>
          <a:p>
            <a:pPr marL="0" marR="0" indent="0" algn="ctr" defTabSz="1219170" rtl="0" eaLnBrk="1" fontAlgn="base" latinLnBrk="0" hangingPunct="1">
              <a:lnSpc>
                <a:spcPct val="86000"/>
              </a:lnSpc>
              <a:spcBef>
                <a:spcPct val="0"/>
              </a:spcBef>
              <a:spcAft>
                <a:spcPct val="0"/>
              </a:spcAft>
              <a:buClrTx/>
              <a:buSzTx/>
              <a:buFontTx/>
              <a:buNone/>
              <a:tabLst/>
            </a:pPr>
            <a:endParaRPr kumimoji="0" lang="en-US" sz="2667"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893946803"/>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Lst>
  <p:hf hdr="0" ftr="0"/>
  <p:txStyles>
    <p:titleStyle>
      <a:lvl1pPr algn="l" rtl="0" eaLnBrk="1" fontAlgn="base" hangingPunct="1">
        <a:lnSpc>
          <a:spcPct val="83000"/>
        </a:lnSpc>
        <a:spcBef>
          <a:spcPct val="0"/>
        </a:spcBef>
        <a:spcAft>
          <a:spcPct val="0"/>
        </a:spcAft>
        <a:defRPr sz="2400">
          <a:solidFill>
            <a:schemeClr val="accent1"/>
          </a:solidFill>
          <a:latin typeface="+mj-lt"/>
          <a:ea typeface="+mj-ea"/>
          <a:cs typeface="+mj-cs"/>
        </a:defRPr>
      </a:lvl1pPr>
      <a:lvl2pPr algn="l" rtl="0" eaLnBrk="1" fontAlgn="base" hangingPunct="1">
        <a:lnSpc>
          <a:spcPct val="83000"/>
        </a:lnSpc>
        <a:spcBef>
          <a:spcPct val="0"/>
        </a:spcBef>
        <a:spcAft>
          <a:spcPct val="0"/>
        </a:spcAft>
        <a:defRPr sz="2400">
          <a:solidFill>
            <a:schemeClr val="accent1"/>
          </a:solidFill>
          <a:latin typeface="Arial" charset="0"/>
        </a:defRPr>
      </a:lvl2pPr>
      <a:lvl3pPr algn="l" rtl="0" eaLnBrk="1" fontAlgn="base" hangingPunct="1">
        <a:lnSpc>
          <a:spcPct val="83000"/>
        </a:lnSpc>
        <a:spcBef>
          <a:spcPct val="0"/>
        </a:spcBef>
        <a:spcAft>
          <a:spcPct val="0"/>
        </a:spcAft>
        <a:defRPr sz="2400">
          <a:solidFill>
            <a:schemeClr val="accent1"/>
          </a:solidFill>
          <a:latin typeface="Arial" charset="0"/>
        </a:defRPr>
      </a:lvl3pPr>
      <a:lvl4pPr algn="l" rtl="0" eaLnBrk="1" fontAlgn="base" hangingPunct="1">
        <a:lnSpc>
          <a:spcPct val="83000"/>
        </a:lnSpc>
        <a:spcBef>
          <a:spcPct val="0"/>
        </a:spcBef>
        <a:spcAft>
          <a:spcPct val="0"/>
        </a:spcAft>
        <a:defRPr sz="2400">
          <a:solidFill>
            <a:schemeClr val="accent1"/>
          </a:solidFill>
          <a:latin typeface="Arial" charset="0"/>
        </a:defRPr>
      </a:lvl4pPr>
      <a:lvl5pPr algn="l" rtl="0" eaLnBrk="1" fontAlgn="base" hangingPunct="1">
        <a:lnSpc>
          <a:spcPct val="83000"/>
        </a:lnSpc>
        <a:spcBef>
          <a:spcPct val="0"/>
        </a:spcBef>
        <a:spcAft>
          <a:spcPct val="0"/>
        </a:spcAft>
        <a:defRPr sz="2400">
          <a:solidFill>
            <a:schemeClr val="accent1"/>
          </a:solidFill>
          <a:latin typeface="Arial" charset="0"/>
        </a:defRPr>
      </a:lvl5pPr>
      <a:lvl6pPr marL="529009" algn="l" rtl="0" eaLnBrk="1" fontAlgn="base" hangingPunct="1">
        <a:lnSpc>
          <a:spcPct val="83000"/>
        </a:lnSpc>
        <a:spcBef>
          <a:spcPct val="0"/>
        </a:spcBef>
        <a:spcAft>
          <a:spcPct val="0"/>
        </a:spcAft>
        <a:defRPr sz="2400">
          <a:solidFill>
            <a:schemeClr val="accent1"/>
          </a:solidFill>
          <a:latin typeface="Arial" charset="0"/>
        </a:defRPr>
      </a:lvl6pPr>
      <a:lvl7pPr marL="1058020" algn="l" rtl="0" eaLnBrk="1" fontAlgn="base" hangingPunct="1">
        <a:lnSpc>
          <a:spcPct val="83000"/>
        </a:lnSpc>
        <a:spcBef>
          <a:spcPct val="0"/>
        </a:spcBef>
        <a:spcAft>
          <a:spcPct val="0"/>
        </a:spcAft>
        <a:defRPr sz="2400">
          <a:solidFill>
            <a:schemeClr val="accent1"/>
          </a:solidFill>
          <a:latin typeface="Arial" charset="0"/>
        </a:defRPr>
      </a:lvl7pPr>
      <a:lvl8pPr marL="1587030" algn="l" rtl="0" eaLnBrk="1" fontAlgn="base" hangingPunct="1">
        <a:lnSpc>
          <a:spcPct val="83000"/>
        </a:lnSpc>
        <a:spcBef>
          <a:spcPct val="0"/>
        </a:spcBef>
        <a:spcAft>
          <a:spcPct val="0"/>
        </a:spcAft>
        <a:defRPr sz="2400">
          <a:solidFill>
            <a:schemeClr val="accent1"/>
          </a:solidFill>
          <a:latin typeface="Arial" charset="0"/>
        </a:defRPr>
      </a:lvl8pPr>
      <a:lvl9pPr marL="2116040" algn="l" rtl="0" eaLnBrk="1" fontAlgn="base" hangingPunct="1">
        <a:lnSpc>
          <a:spcPct val="83000"/>
        </a:lnSpc>
        <a:spcBef>
          <a:spcPct val="0"/>
        </a:spcBef>
        <a:spcAft>
          <a:spcPct val="0"/>
        </a:spcAft>
        <a:defRPr sz="2400">
          <a:solidFill>
            <a:schemeClr val="accent1"/>
          </a:solidFill>
          <a:latin typeface="Arial" charset="0"/>
        </a:defRPr>
      </a:lvl9pPr>
    </p:titleStyle>
    <p:bodyStyle>
      <a:lvl1pPr marL="235115" indent="-235115" algn="l" rtl="0" eaLnBrk="1" fontAlgn="base" hangingPunct="1">
        <a:spcBef>
          <a:spcPct val="60000"/>
        </a:spcBef>
        <a:spcAft>
          <a:spcPct val="0"/>
        </a:spcAft>
        <a:buChar char="•"/>
        <a:defRPr sz="2133">
          <a:solidFill>
            <a:schemeClr val="tx1"/>
          </a:solidFill>
          <a:latin typeface="+mn-lt"/>
          <a:ea typeface="+mn-ea"/>
          <a:cs typeface="+mn-cs"/>
        </a:defRPr>
      </a:lvl1pPr>
      <a:lvl2pPr marL="587788" indent="-323284" algn="l" rtl="0" eaLnBrk="1" fontAlgn="base" hangingPunct="1">
        <a:spcBef>
          <a:spcPct val="20000"/>
        </a:spcBef>
        <a:spcAft>
          <a:spcPct val="0"/>
        </a:spcAft>
        <a:buChar char="–"/>
        <a:defRPr sz="2133">
          <a:solidFill>
            <a:schemeClr val="tx1"/>
          </a:solidFill>
          <a:latin typeface="+mn-lt"/>
          <a:ea typeface="+mn-ea"/>
        </a:defRPr>
      </a:lvl2pPr>
      <a:lvl3pPr marL="793515" indent="-205727" algn="l" rtl="0" eaLnBrk="1" fontAlgn="base" hangingPunct="1">
        <a:spcBef>
          <a:spcPct val="20000"/>
        </a:spcBef>
        <a:spcAft>
          <a:spcPct val="0"/>
        </a:spcAft>
        <a:buFont typeface="Arial" charset="0"/>
        <a:buChar char="­"/>
        <a:defRPr sz="2133">
          <a:solidFill>
            <a:schemeClr val="tx1"/>
          </a:solidFill>
          <a:latin typeface="+mn-lt"/>
          <a:ea typeface="+mn-ea"/>
        </a:defRPr>
      </a:lvl3pPr>
      <a:lvl4pPr marL="999240" indent="-205727" algn="l" rtl="0" eaLnBrk="1" fontAlgn="base" hangingPunct="1">
        <a:spcBef>
          <a:spcPct val="20000"/>
        </a:spcBef>
        <a:spcAft>
          <a:spcPct val="0"/>
        </a:spcAft>
        <a:buFont typeface="Arial" charset="0"/>
        <a:buChar char="­"/>
        <a:defRPr sz="2133">
          <a:solidFill>
            <a:schemeClr val="tx1"/>
          </a:solidFill>
          <a:latin typeface="+mn-lt"/>
          <a:ea typeface="+mn-ea"/>
        </a:defRPr>
      </a:lvl4pPr>
      <a:lvl5pPr marL="1204967" indent="-205727" algn="l" rtl="0" eaLnBrk="1" fontAlgn="base" hangingPunct="1">
        <a:spcBef>
          <a:spcPct val="20000"/>
        </a:spcBef>
        <a:spcAft>
          <a:spcPct val="0"/>
        </a:spcAft>
        <a:buFont typeface="Arial" charset="0"/>
        <a:buChar char="-"/>
        <a:defRPr sz="2133">
          <a:solidFill>
            <a:schemeClr val="tx1"/>
          </a:solidFill>
          <a:latin typeface="+mn-lt"/>
          <a:ea typeface="+mn-ea"/>
        </a:defRPr>
      </a:lvl5pPr>
      <a:lvl6pPr marL="1733977" indent="-205727" algn="l" rtl="0" eaLnBrk="1" fontAlgn="base" hangingPunct="1">
        <a:spcBef>
          <a:spcPct val="20000"/>
        </a:spcBef>
        <a:spcAft>
          <a:spcPct val="0"/>
        </a:spcAft>
        <a:buFont typeface="Arial" charset="0"/>
        <a:buChar char="-"/>
        <a:defRPr sz="2267">
          <a:solidFill>
            <a:schemeClr val="tx1"/>
          </a:solidFill>
          <a:latin typeface="+mn-lt"/>
          <a:ea typeface="+mn-ea"/>
        </a:defRPr>
      </a:lvl6pPr>
      <a:lvl7pPr marL="2262986" indent="-205727" algn="l" rtl="0" eaLnBrk="1" fontAlgn="base" hangingPunct="1">
        <a:spcBef>
          <a:spcPct val="20000"/>
        </a:spcBef>
        <a:spcAft>
          <a:spcPct val="0"/>
        </a:spcAft>
        <a:buFont typeface="Arial" charset="0"/>
        <a:buChar char="-"/>
        <a:defRPr sz="2267">
          <a:solidFill>
            <a:schemeClr val="tx1"/>
          </a:solidFill>
          <a:latin typeface="+mn-lt"/>
          <a:ea typeface="+mn-ea"/>
        </a:defRPr>
      </a:lvl7pPr>
      <a:lvl8pPr marL="2791996" indent="-205727" algn="l" rtl="0" eaLnBrk="1" fontAlgn="base" hangingPunct="1">
        <a:spcBef>
          <a:spcPct val="20000"/>
        </a:spcBef>
        <a:spcAft>
          <a:spcPct val="0"/>
        </a:spcAft>
        <a:buFont typeface="Arial" charset="0"/>
        <a:buChar char="-"/>
        <a:defRPr sz="2267">
          <a:solidFill>
            <a:schemeClr val="tx1"/>
          </a:solidFill>
          <a:latin typeface="+mn-lt"/>
          <a:ea typeface="+mn-ea"/>
        </a:defRPr>
      </a:lvl8pPr>
      <a:lvl9pPr marL="3321006" indent="-205727" algn="l" rtl="0" eaLnBrk="1" fontAlgn="base" hangingPunct="1">
        <a:spcBef>
          <a:spcPct val="20000"/>
        </a:spcBef>
        <a:spcAft>
          <a:spcPct val="0"/>
        </a:spcAft>
        <a:buFont typeface="Arial" charset="0"/>
        <a:buChar char="-"/>
        <a:defRPr sz="2267">
          <a:solidFill>
            <a:schemeClr val="tx1"/>
          </a:solidFill>
          <a:latin typeface="+mn-lt"/>
          <a:ea typeface="+mn-ea"/>
        </a:defRPr>
      </a:lvl9pPr>
    </p:bodyStyle>
    <p:otherStyle>
      <a:defPPr>
        <a:defRPr lang="en-US"/>
      </a:defPPr>
      <a:lvl1pPr marL="0" algn="l" defTabSz="1058020" rtl="0" eaLnBrk="1" latinLnBrk="0" hangingPunct="1">
        <a:defRPr sz="2133" kern="1200">
          <a:solidFill>
            <a:schemeClr val="tx1"/>
          </a:solidFill>
          <a:latin typeface="+mn-lt"/>
          <a:ea typeface="+mn-ea"/>
          <a:cs typeface="+mn-cs"/>
        </a:defRPr>
      </a:lvl1pPr>
      <a:lvl2pPr marL="529009" algn="l" defTabSz="1058020" rtl="0" eaLnBrk="1" latinLnBrk="0" hangingPunct="1">
        <a:defRPr sz="2133" kern="1200">
          <a:solidFill>
            <a:schemeClr val="tx1"/>
          </a:solidFill>
          <a:latin typeface="+mn-lt"/>
          <a:ea typeface="+mn-ea"/>
          <a:cs typeface="+mn-cs"/>
        </a:defRPr>
      </a:lvl2pPr>
      <a:lvl3pPr marL="1058020" algn="l" defTabSz="1058020" rtl="0" eaLnBrk="1" latinLnBrk="0" hangingPunct="1">
        <a:defRPr sz="2133" kern="1200">
          <a:solidFill>
            <a:schemeClr val="tx1"/>
          </a:solidFill>
          <a:latin typeface="+mn-lt"/>
          <a:ea typeface="+mn-ea"/>
          <a:cs typeface="+mn-cs"/>
        </a:defRPr>
      </a:lvl3pPr>
      <a:lvl4pPr marL="1587030" algn="l" defTabSz="1058020" rtl="0" eaLnBrk="1" latinLnBrk="0" hangingPunct="1">
        <a:defRPr sz="2133" kern="1200">
          <a:solidFill>
            <a:schemeClr val="tx1"/>
          </a:solidFill>
          <a:latin typeface="+mn-lt"/>
          <a:ea typeface="+mn-ea"/>
          <a:cs typeface="+mn-cs"/>
        </a:defRPr>
      </a:lvl4pPr>
      <a:lvl5pPr marL="2116040" algn="l" defTabSz="1058020" rtl="0" eaLnBrk="1" latinLnBrk="0" hangingPunct="1">
        <a:defRPr sz="2133" kern="1200">
          <a:solidFill>
            <a:schemeClr val="tx1"/>
          </a:solidFill>
          <a:latin typeface="+mn-lt"/>
          <a:ea typeface="+mn-ea"/>
          <a:cs typeface="+mn-cs"/>
        </a:defRPr>
      </a:lvl5pPr>
      <a:lvl6pPr marL="2645047" algn="l" defTabSz="1058020" rtl="0" eaLnBrk="1" latinLnBrk="0" hangingPunct="1">
        <a:defRPr sz="2133" kern="1200">
          <a:solidFill>
            <a:schemeClr val="tx1"/>
          </a:solidFill>
          <a:latin typeface="+mn-lt"/>
          <a:ea typeface="+mn-ea"/>
          <a:cs typeface="+mn-cs"/>
        </a:defRPr>
      </a:lvl6pPr>
      <a:lvl7pPr marL="3174058" algn="l" defTabSz="1058020" rtl="0" eaLnBrk="1" latinLnBrk="0" hangingPunct="1">
        <a:defRPr sz="2133" kern="1200">
          <a:solidFill>
            <a:schemeClr val="tx1"/>
          </a:solidFill>
          <a:latin typeface="+mn-lt"/>
          <a:ea typeface="+mn-ea"/>
          <a:cs typeface="+mn-cs"/>
        </a:defRPr>
      </a:lvl7pPr>
      <a:lvl8pPr marL="3703067" algn="l" defTabSz="1058020" rtl="0" eaLnBrk="1" latinLnBrk="0" hangingPunct="1">
        <a:defRPr sz="2133" kern="1200">
          <a:solidFill>
            <a:schemeClr val="tx1"/>
          </a:solidFill>
          <a:latin typeface="+mn-lt"/>
          <a:ea typeface="+mn-ea"/>
          <a:cs typeface="+mn-cs"/>
        </a:defRPr>
      </a:lvl8pPr>
      <a:lvl9pPr marL="4232078" algn="l" defTabSz="1058020" rtl="0" eaLnBrk="1" latinLnBrk="0" hangingPunct="1">
        <a:defRPr sz="213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609EAE9-575C-BC49-807B-2EA04A66243B}"/>
              </a:ext>
            </a:extLst>
          </p:cNvPr>
          <p:cNvGraphicFramePr>
            <a:graphicFrameLocks noChangeAspect="1"/>
          </p:cNvGraphicFramePr>
          <p:nvPr>
            <p:custDataLst>
              <p:tags r:id="rId63"/>
            </p:custDataLst>
            <p:extLst>
              <p:ext uri="{D42A27DB-BD31-4B8C-83A1-F6EECF244321}">
                <p14:modId xmlns:p14="http://schemas.microsoft.com/office/powerpoint/2010/main" val="19840748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4" imgW="7772400" imgH="10058400" progId="TCLayout.ActiveDocument.1">
                  <p:embed/>
                </p:oleObj>
              </mc:Choice>
              <mc:Fallback>
                <p:oleObj name="think-cell Slide" r:id="rId64" imgW="7772400" imgH="10058400" progId="TCLayout.ActiveDocument.1">
                  <p:embed/>
                  <p:pic>
                    <p:nvPicPr>
                      <p:cNvPr id="8" name="Object 7" hidden="1">
                        <a:extLst>
                          <a:ext uri="{FF2B5EF4-FFF2-40B4-BE49-F238E27FC236}">
                            <a16:creationId xmlns:a16="http://schemas.microsoft.com/office/drawing/2014/main" id="{0609EAE9-575C-BC49-807B-2EA04A66243B}"/>
                          </a:ext>
                        </a:extLst>
                      </p:cNvPr>
                      <p:cNvPicPr/>
                      <p:nvPr/>
                    </p:nvPicPr>
                    <p:blipFill>
                      <a:blip r:embed="rId6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58217" y="355601"/>
            <a:ext cx="11223624" cy="495299"/>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485776" y="1609725"/>
            <a:ext cx="11223624" cy="4514302"/>
          </a:xfrm>
          <a:prstGeom prst="rect">
            <a:avLst/>
          </a:prstGeom>
        </p:spPr>
        <p:txBody>
          <a:bodyPr vert="horz" lIns="0" tIns="0" rIns="0" bIns="0" rtlCol="0" anchor="t">
            <a:noAutofit/>
          </a:bodyPr>
          <a:lstStyle/>
          <a:p>
            <a:pPr lvl="0"/>
            <a:r>
              <a:rPr lang="en-US" dirty="0"/>
              <a:t>Click to edit Master text styles</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27" name="TextBox 26">
            <a:extLst>
              <a:ext uri="{FF2B5EF4-FFF2-40B4-BE49-F238E27FC236}">
                <a16:creationId xmlns:a16="http://schemas.microsoft.com/office/drawing/2014/main" id="{9A6A4D16-2CB5-DA4B-9931-20D3477C5477}"/>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tx1"/>
                </a:solidFill>
                <a:effectLst/>
                <a:latin typeface="+mn-lt"/>
                <a:ea typeface="+mn-ea"/>
                <a:cs typeface="+mn-cs"/>
              </a:rPr>
              <a:t>‹Nº›</a:t>
            </a:fld>
            <a:endParaRPr lang="en-US" sz="800" kern="1200" dirty="0">
              <a:solidFill>
                <a:schemeClr val="tx1"/>
              </a:solidFill>
              <a:effectLst/>
              <a:latin typeface="+mn-lt"/>
              <a:ea typeface="+mn-ea"/>
              <a:cs typeface="+mn-cs"/>
            </a:endParaRPr>
          </a:p>
        </p:txBody>
      </p:sp>
      <p:pic>
        <p:nvPicPr>
          <p:cNvPr id="10" name="Graphic 9">
            <a:extLst>
              <a:ext uri="{FF2B5EF4-FFF2-40B4-BE49-F238E27FC236}">
                <a16:creationId xmlns:a16="http://schemas.microsoft.com/office/drawing/2014/main" id="{D0BD2358-DC70-594C-AEF2-F1AF15153B94}"/>
              </a:ext>
            </a:extLst>
          </p:cNvPr>
          <p:cNvPicPr>
            <a:picLocks noChangeAspect="1"/>
          </p:cNvPicPr>
          <p:nvPr/>
        </p:nvPicPr>
        <p:blipFill>
          <a:blip r:embed="rId66">
            <a:extLst>
              <a:ext uri="{96DAC541-7B7A-43D3-8B79-37D633B846F1}">
                <asvg:svgBlip xmlns:asvg="http://schemas.microsoft.com/office/drawing/2016/SVG/main" r:embed="rId67"/>
              </a:ext>
            </a:extLst>
          </a:blip>
          <a:stretch>
            <a:fillRect/>
          </a:stretch>
        </p:blipFill>
        <p:spPr>
          <a:xfrm>
            <a:off x="485608" y="6515100"/>
            <a:ext cx="630936" cy="131445"/>
          </a:xfrm>
          <a:prstGeom prst="rect">
            <a:avLst/>
          </a:prstGeom>
        </p:spPr>
      </p:pic>
      <p:sp>
        <p:nvSpPr>
          <p:cNvPr id="7" name="TextBox 6">
            <a:extLst>
              <a:ext uri="{FF2B5EF4-FFF2-40B4-BE49-F238E27FC236}">
                <a16:creationId xmlns:a16="http://schemas.microsoft.com/office/drawing/2014/main" id="{09BA50B2-6484-EC4D-AF6E-8573FB70C5FE}"/>
              </a:ext>
            </a:extLst>
          </p:cNvPr>
          <p:cNvSpPr txBox="1"/>
          <p:nvPr userDrawn="1"/>
        </p:nvSpPr>
        <p:spPr>
          <a:xfrm>
            <a:off x="1409700" y="6517153"/>
            <a:ext cx="3606800" cy="121966"/>
          </a:xfrm>
          <a:prstGeom prst="rect">
            <a:avLst/>
          </a:prstGeom>
          <a:noFill/>
        </p:spPr>
        <p:txBody>
          <a:bodyPr wrap="none" lIns="0" tIns="0" rIns="0" bIns="0" rtlCol="0">
            <a:noAutofit/>
          </a:bodyPr>
          <a:lstStyle/>
          <a:p>
            <a:pPr indent="-457200">
              <a:spcBef>
                <a:spcPts val="1800"/>
              </a:spcBef>
            </a:pPr>
            <a:endParaRPr lang="en-US" sz="800" dirty="0">
              <a:solidFill>
                <a:schemeClr val="bg2"/>
              </a:solidFill>
            </a:endParaRPr>
          </a:p>
        </p:txBody>
      </p:sp>
    </p:spTree>
    <p:extLst>
      <p:ext uri="{BB962C8B-B14F-4D97-AF65-F5344CB8AC3E}">
        <p14:creationId xmlns:p14="http://schemas.microsoft.com/office/powerpoint/2010/main" val="670321899"/>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0" r:id="rId13"/>
    <p:sldLayoutId id="2147484011" r:id="rId14"/>
    <p:sldLayoutId id="2147484012" r:id="rId15"/>
    <p:sldLayoutId id="2147484013" r:id="rId16"/>
    <p:sldLayoutId id="2147484014" r:id="rId17"/>
    <p:sldLayoutId id="2147484015" r:id="rId18"/>
    <p:sldLayoutId id="2147484016" r:id="rId19"/>
    <p:sldLayoutId id="2147484017" r:id="rId20"/>
    <p:sldLayoutId id="2147484018" r:id="rId21"/>
    <p:sldLayoutId id="2147484019" r:id="rId22"/>
    <p:sldLayoutId id="2147484020" r:id="rId23"/>
    <p:sldLayoutId id="2147484021" r:id="rId24"/>
    <p:sldLayoutId id="2147484022" r:id="rId25"/>
    <p:sldLayoutId id="2147484023" r:id="rId26"/>
    <p:sldLayoutId id="2147484024" r:id="rId27"/>
    <p:sldLayoutId id="2147484025" r:id="rId28"/>
    <p:sldLayoutId id="2147484026" r:id="rId29"/>
    <p:sldLayoutId id="2147484027" r:id="rId30"/>
    <p:sldLayoutId id="2147484028" r:id="rId31"/>
    <p:sldLayoutId id="2147484029" r:id="rId32"/>
    <p:sldLayoutId id="2147484030" r:id="rId33"/>
    <p:sldLayoutId id="2147484031" r:id="rId34"/>
    <p:sldLayoutId id="2147484032" r:id="rId35"/>
    <p:sldLayoutId id="2147484033" r:id="rId36"/>
    <p:sldLayoutId id="2147484034" r:id="rId37"/>
    <p:sldLayoutId id="2147484035" r:id="rId38"/>
    <p:sldLayoutId id="2147484036" r:id="rId39"/>
    <p:sldLayoutId id="2147484037" r:id="rId40"/>
    <p:sldLayoutId id="2147484038" r:id="rId41"/>
    <p:sldLayoutId id="2147484039" r:id="rId42"/>
    <p:sldLayoutId id="2147484040" r:id="rId43"/>
    <p:sldLayoutId id="2147484041" r:id="rId44"/>
    <p:sldLayoutId id="2147484042" r:id="rId45"/>
    <p:sldLayoutId id="2147484043" r:id="rId46"/>
    <p:sldLayoutId id="2147484044" r:id="rId47"/>
    <p:sldLayoutId id="2147484045" r:id="rId48"/>
    <p:sldLayoutId id="2147484046" r:id="rId49"/>
    <p:sldLayoutId id="2147484047" r:id="rId50"/>
    <p:sldLayoutId id="2147484048" r:id="rId51"/>
    <p:sldLayoutId id="2147484049" r:id="rId52"/>
    <p:sldLayoutId id="2147484050" r:id="rId53"/>
    <p:sldLayoutId id="2147484051" r:id="rId54"/>
    <p:sldLayoutId id="2147484052" r:id="rId55"/>
    <p:sldLayoutId id="2147484053" r:id="rId56"/>
    <p:sldLayoutId id="2147484054" r:id="rId57"/>
    <p:sldLayoutId id="2147484055" r:id="rId58"/>
    <p:sldLayoutId id="2147484056" r:id="rId59"/>
    <p:sldLayoutId id="2147484057" r:id="rId60"/>
    <p:sldLayoutId id="2147484058" r:id="rId61"/>
  </p:sldLayoutIdLst>
  <p:txStyles>
    <p:titleStyle>
      <a:lvl1pPr algn="l" defTabSz="457200" rtl="0" eaLnBrk="1" latinLnBrk="0" hangingPunct="1">
        <a:lnSpc>
          <a:spcPct val="80000"/>
        </a:lnSpc>
        <a:spcBef>
          <a:spcPct val="0"/>
        </a:spcBef>
        <a:buNone/>
        <a:defRPr sz="3000" b="1" kern="1200">
          <a:solidFill>
            <a:schemeClr val="tx2"/>
          </a:solidFill>
          <a:latin typeface="+mj-lt"/>
          <a:ea typeface="+mj-ea"/>
          <a:cs typeface="+mj-cs"/>
        </a:defRPr>
      </a:lvl1pPr>
    </p:titleStyle>
    <p:bodyStyle>
      <a:lvl1pPr marL="0" indent="0" algn="l" defTabSz="457200" rtl="0" eaLnBrk="1" latinLnBrk="0" hangingPunct="1">
        <a:spcBef>
          <a:spcPts val="1200"/>
        </a:spcBef>
        <a:spcAft>
          <a:spcPts val="600"/>
        </a:spcAft>
        <a:buFont typeface="Arial"/>
        <a:buNone/>
        <a:defRPr sz="1800" b="0" kern="1200">
          <a:solidFill>
            <a:schemeClr val="tx1"/>
          </a:solidFill>
          <a:latin typeface="+mn-lt"/>
          <a:ea typeface="+mn-ea"/>
          <a:cs typeface="+mn-cs"/>
        </a:defRPr>
      </a:lvl1pPr>
      <a:lvl2pPr marL="228600" indent="-225425"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457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914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146175" indent="-227013" algn="l" defTabSz="457200" rtl="0" eaLnBrk="1" latinLnBrk="0" hangingPunct="1">
        <a:spcBef>
          <a:spcPts val="0"/>
        </a:spcBef>
        <a:spcAft>
          <a:spcPts val="600"/>
        </a:spcAft>
        <a:buFont typeface="Arial"/>
        <a:buChar char="•"/>
        <a:tabLst/>
        <a:defRPr sz="1200" kern="1200">
          <a:solidFill>
            <a:schemeClr val="tx1"/>
          </a:solidFill>
          <a:latin typeface="+mn-lt"/>
          <a:ea typeface="+mn-ea"/>
          <a:cs typeface="+mn-cs"/>
        </a:defRPr>
      </a:lvl6pPr>
      <a:lvl7pPr marL="1374775" indent="-228600" algn="l" defTabSz="457200" rtl="0" eaLnBrk="1" latinLnBrk="0" hangingPunct="1">
        <a:spcBef>
          <a:spcPts val="0"/>
        </a:spcBef>
        <a:spcAft>
          <a:spcPts val="600"/>
        </a:spcAft>
        <a:buFont typeface="System Font Regular"/>
        <a:buChar char="–"/>
        <a:tabLst/>
        <a:defRPr sz="1200" kern="1200">
          <a:solidFill>
            <a:schemeClr val="tx1"/>
          </a:solidFill>
          <a:latin typeface="+mn-lt"/>
          <a:ea typeface="+mn-ea"/>
          <a:cs typeface="+mn-cs"/>
        </a:defRPr>
      </a:lvl7pPr>
      <a:lvl8pPr marL="1601788" indent="-227013" algn="l" defTabSz="457200" rtl="0" eaLnBrk="1" latinLnBrk="0" hangingPunct="1">
        <a:spcBef>
          <a:spcPts val="0"/>
        </a:spcBef>
        <a:spcAft>
          <a:spcPts val="600"/>
        </a:spcAft>
        <a:buFont typeface="Arial"/>
        <a:buChar char="•"/>
        <a:tabLst/>
        <a:defRPr sz="1200" kern="1200">
          <a:solidFill>
            <a:schemeClr val="tx1"/>
          </a:solidFill>
          <a:latin typeface="+mn-lt"/>
          <a:ea typeface="+mn-ea"/>
          <a:cs typeface="+mn-cs"/>
        </a:defRPr>
      </a:lvl8pPr>
      <a:lvl9pPr marL="1830388" indent="-219075" algn="l" defTabSz="457200" rtl="0" eaLnBrk="1" latinLnBrk="0" hangingPunct="1">
        <a:spcBef>
          <a:spcPts val="0"/>
        </a:spcBef>
        <a:spcAft>
          <a:spcPts val="600"/>
        </a:spcAft>
        <a:buFont typeface="System Font Regular"/>
        <a:buChar char="–"/>
        <a:tabLst/>
        <a:defRPr sz="12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76">
          <p15:clr>
            <a:srgbClr val="F26B43"/>
          </p15:clr>
        </p15:guide>
        <p15:guide id="2" pos="6928">
          <p15:clr>
            <a:srgbClr val="F26B43"/>
          </p15:clr>
        </p15:guide>
        <p15:guide id="3" pos="6320">
          <p15:clr>
            <a:srgbClr val="F26B43"/>
          </p15:clr>
        </p15:guide>
        <p15:guide id="4" pos="5720">
          <p15:clr>
            <a:srgbClr val="F26B43"/>
          </p15:clr>
        </p15:guide>
        <p15:guide id="5" pos="5120">
          <p15:clr>
            <a:srgbClr val="F26B43"/>
          </p15:clr>
        </p15:guide>
        <p15:guide id="6" pos="4520">
          <p15:clr>
            <a:srgbClr val="F26B43"/>
          </p15:clr>
        </p15:guide>
        <p15:guide id="7" pos="3912">
          <p15:clr>
            <a:srgbClr val="F26B43"/>
          </p15:clr>
        </p15:guide>
        <p15:guide id="8" pos="3312">
          <p15:clr>
            <a:srgbClr val="F26B43"/>
          </p15:clr>
        </p15:guide>
        <p15:guide id="9" pos="2712">
          <p15:clr>
            <a:srgbClr val="F26B43"/>
          </p15:clr>
        </p15:guide>
        <p15:guide id="10" pos="2112">
          <p15:clr>
            <a:srgbClr val="F26B43"/>
          </p15:clr>
        </p15:guide>
        <p15:guide id="11" pos="1504">
          <p15:clr>
            <a:srgbClr val="F26B43"/>
          </p15:clr>
        </p15:guide>
        <p15:guide id="13" pos="304">
          <p15:clr>
            <a:srgbClr val="F26B43"/>
          </p15:clr>
        </p15:guide>
        <p15:guide id="14" pos="6776">
          <p15:clr>
            <a:srgbClr val="F26B43"/>
          </p15:clr>
        </p15:guide>
        <p15:guide id="15" pos="6176">
          <p15:clr>
            <a:srgbClr val="F26B43"/>
          </p15:clr>
        </p15:guide>
        <p15:guide id="16" pos="5568">
          <p15:clr>
            <a:srgbClr val="F26B43"/>
          </p15:clr>
        </p15:guide>
        <p15:guide id="17" pos="4968">
          <p15:clr>
            <a:srgbClr val="F26B43"/>
          </p15:clr>
        </p15:guide>
        <p15:guide id="18" pos="4368">
          <p15:clr>
            <a:srgbClr val="F26B43"/>
          </p15:clr>
        </p15:guide>
        <p15:guide id="19" pos="3768">
          <p15:clr>
            <a:srgbClr val="F26B43"/>
          </p15:clr>
        </p15:guide>
        <p15:guide id="20" pos="3160">
          <p15:clr>
            <a:srgbClr val="F26B43"/>
          </p15:clr>
        </p15:guide>
        <p15:guide id="21" pos="2560">
          <p15:clr>
            <a:srgbClr val="F26B43"/>
          </p15:clr>
        </p15:guide>
        <p15:guide id="22" pos="1960">
          <p15:clr>
            <a:srgbClr val="F26B43"/>
          </p15:clr>
        </p15:guide>
        <p15:guide id="23" pos="1360">
          <p15:clr>
            <a:srgbClr val="F26B43"/>
          </p15:clr>
        </p15:guide>
        <p15:guide id="24" pos="752">
          <p15:clr>
            <a:srgbClr val="F26B43"/>
          </p15:clr>
        </p15:guide>
        <p15:guide id="25" pos="224">
          <p15:clr>
            <a:srgbClr val="F26B43"/>
          </p15:clr>
        </p15:guide>
        <p15:guide id="26" pos="7456">
          <p15:clr>
            <a:srgbClr val="F26B43"/>
          </p15:clr>
        </p15:guide>
        <p15:guide id="27" orient="horz" pos="4168">
          <p15:clr>
            <a:srgbClr val="F26B43"/>
          </p15:clr>
        </p15:guide>
        <p15:guide id="28" pos="888">
          <p15:clr>
            <a:srgbClr val="F26B43"/>
          </p15:clr>
        </p15:guide>
        <p15:guide id="29" orient="horz" pos="4016">
          <p15:clr>
            <a:srgbClr val="F26B43"/>
          </p15:clr>
        </p15:guide>
        <p15:guide id="30" orient="horz" pos="226">
          <p15:clr>
            <a:srgbClr val="F26B43"/>
          </p15:clr>
        </p15:guide>
        <p15:guide id="31" orient="horz" pos="540">
          <p15:clr>
            <a:srgbClr val="F26B43"/>
          </p15:clr>
        </p15:guide>
        <p15:guide id="32" orient="horz" pos="698">
          <p15:clr>
            <a:srgbClr val="F26B43"/>
          </p15:clr>
        </p15:guide>
        <p15:guide id="35" orient="horz" pos="1014">
          <p15:clr>
            <a:srgbClr val="F26B43"/>
          </p15:clr>
        </p15:guide>
        <p15:guide id="38" orient="horz" pos="385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609EAE9-575C-BC49-807B-2EA04A66243B}"/>
              </a:ext>
            </a:extLst>
          </p:cNvPr>
          <p:cNvGraphicFramePr>
            <a:graphicFrameLocks noChangeAspect="1"/>
          </p:cNvGraphicFramePr>
          <p:nvPr>
            <p:custDataLst>
              <p:tags r:id="rId6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4" imgW="7772400" imgH="10058400" progId="TCLayout.ActiveDocument.1">
                  <p:embed/>
                </p:oleObj>
              </mc:Choice>
              <mc:Fallback>
                <p:oleObj name="think-cell Slide" r:id="rId64" imgW="7772400" imgH="10058400" progId="TCLayout.ActiveDocument.1">
                  <p:embed/>
                  <p:pic>
                    <p:nvPicPr>
                      <p:cNvPr id="8" name="Object 7" hidden="1">
                        <a:extLst>
                          <a:ext uri="{FF2B5EF4-FFF2-40B4-BE49-F238E27FC236}">
                            <a16:creationId xmlns:a16="http://schemas.microsoft.com/office/drawing/2014/main" id="{0609EAE9-575C-BC49-807B-2EA04A66243B}"/>
                          </a:ext>
                        </a:extLst>
                      </p:cNvPr>
                      <p:cNvPicPr/>
                      <p:nvPr/>
                    </p:nvPicPr>
                    <p:blipFill>
                      <a:blip r:embed="rId6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58217" y="355601"/>
            <a:ext cx="11223624" cy="495299"/>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485776" y="1609725"/>
            <a:ext cx="11223624" cy="4514302"/>
          </a:xfrm>
          <a:prstGeom prst="rect">
            <a:avLst/>
          </a:prstGeom>
        </p:spPr>
        <p:txBody>
          <a:bodyPr vert="horz" lIns="0" tIns="0" rIns="0" bIns="0" rtlCol="0" anchor="t">
            <a:noAutofit/>
          </a:bodyPr>
          <a:lstStyle/>
          <a:p>
            <a:pPr lvl="0"/>
            <a:r>
              <a:rPr lang="en-US" dirty="0"/>
              <a:t>Click to edit Master text styles</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27" name="TextBox 26">
            <a:extLst>
              <a:ext uri="{FF2B5EF4-FFF2-40B4-BE49-F238E27FC236}">
                <a16:creationId xmlns:a16="http://schemas.microsoft.com/office/drawing/2014/main" id="{9A6A4D16-2CB5-DA4B-9931-20D3477C5477}"/>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tx1"/>
                </a:solidFill>
                <a:effectLst/>
                <a:latin typeface="+mn-lt"/>
                <a:ea typeface="+mn-ea"/>
                <a:cs typeface="+mn-cs"/>
              </a:rPr>
              <a:t>‹Nº›</a:t>
            </a:fld>
            <a:endParaRPr lang="en-US" sz="800" kern="1200" dirty="0">
              <a:solidFill>
                <a:schemeClr val="tx1"/>
              </a:solidFill>
              <a:effectLst/>
              <a:latin typeface="+mn-lt"/>
              <a:ea typeface="+mn-ea"/>
              <a:cs typeface="+mn-cs"/>
            </a:endParaRPr>
          </a:p>
        </p:txBody>
      </p:sp>
      <p:pic>
        <p:nvPicPr>
          <p:cNvPr id="10" name="Graphic 9">
            <a:extLst>
              <a:ext uri="{FF2B5EF4-FFF2-40B4-BE49-F238E27FC236}">
                <a16:creationId xmlns:a16="http://schemas.microsoft.com/office/drawing/2014/main" id="{D0BD2358-DC70-594C-AEF2-F1AF15153B94}"/>
              </a:ext>
            </a:extLst>
          </p:cNvPr>
          <p:cNvPicPr>
            <a:picLocks noChangeAspect="1"/>
          </p:cNvPicPr>
          <p:nvPr/>
        </p:nvPicPr>
        <p:blipFill>
          <a:blip r:embed="rId66" cstate="print">
            <a:extLst>
              <a:ext uri="{28A0092B-C50C-407E-A947-70E740481C1C}">
                <a14:useLocalDpi xmlns:a14="http://schemas.microsoft.com/office/drawing/2010/main" val="0"/>
              </a:ext>
              <a:ext uri="{96DAC541-7B7A-43D3-8B79-37D633B846F1}">
                <asvg:svgBlip xmlns:asvg="http://schemas.microsoft.com/office/drawing/2016/SVG/main" r:embed="rId67"/>
              </a:ext>
            </a:extLst>
          </a:blip>
          <a:stretch>
            <a:fillRect/>
          </a:stretch>
        </p:blipFill>
        <p:spPr>
          <a:xfrm>
            <a:off x="485608" y="6515100"/>
            <a:ext cx="630936" cy="131445"/>
          </a:xfrm>
          <a:prstGeom prst="rect">
            <a:avLst/>
          </a:prstGeom>
        </p:spPr>
      </p:pic>
      <p:sp>
        <p:nvSpPr>
          <p:cNvPr id="7" name="TextBox 6">
            <a:extLst>
              <a:ext uri="{FF2B5EF4-FFF2-40B4-BE49-F238E27FC236}">
                <a16:creationId xmlns:a16="http://schemas.microsoft.com/office/drawing/2014/main" id="{09BA50B2-6484-EC4D-AF6E-8573FB70C5FE}"/>
              </a:ext>
            </a:extLst>
          </p:cNvPr>
          <p:cNvSpPr txBox="1"/>
          <p:nvPr userDrawn="1"/>
        </p:nvSpPr>
        <p:spPr>
          <a:xfrm>
            <a:off x="1409700" y="6517153"/>
            <a:ext cx="3606800" cy="121966"/>
          </a:xfrm>
          <a:prstGeom prst="rect">
            <a:avLst/>
          </a:prstGeom>
          <a:noFill/>
        </p:spPr>
        <p:txBody>
          <a:bodyPr wrap="none" lIns="0" tIns="0" rIns="0" bIns="0" rtlCol="0">
            <a:noAutofit/>
          </a:bodyPr>
          <a:lstStyle/>
          <a:p>
            <a:pPr indent="-457200">
              <a:spcBef>
                <a:spcPts val="1800"/>
              </a:spcBef>
            </a:pPr>
            <a:endParaRPr lang="en-US" sz="800" dirty="0">
              <a:solidFill>
                <a:schemeClr val="bg2"/>
              </a:solidFill>
            </a:endParaRPr>
          </a:p>
        </p:txBody>
      </p:sp>
    </p:spTree>
    <p:extLst>
      <p:ext uri="{BB962C8B-B14F-4D97-AF65-F5344CB8AC3E}">
        <p14:creationId xmlns:p14="http://schemas.microsoft.com/office/powerpoint/2010/main" val="3208382722"/>
      </p:ext>
    </p:extLst>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 id="2147484069" r:id="rId10"/>
    <p:sldLayoutId id="2147484070" r:id="rId11"/>
    <p:sldLayoutId id="2147484071" r:id="rId12"/>
    <p:sldLayoutId id="2147484072" r:id="rId13"/>
    <p:sldLayoutId id="2147484073" r:id="rId14"/>
    <p:sldLayoutId id="2147484074" r:id="rId15"/>
    <p:sldLayoutId id="2147484075" r:id="rId16"/>
    <p:sldLayoutId id="2147484076" r:id="rId17"/>
    <p:sldLayoutId id="2147484077" r:id="rId18"/>
    <p:sldLayoutId id="2147484078" r:id="rId19"/>
    <p:sldLayoutId id="2147484079" r:id="rId20"/>
    <p:sldLayoutId id="2147484080" r:id="rId21"/>
    <p:sldLayoutId id="2147484081" r:id="rId22"/>
    <p:sldLayoutId id="2147484082" r:id="rId23"/>
    <p:sldLayoutId id="2147484083" r:id="rId24"/>
    <p:sldLayoutId id="2147484084" r:id="rId25"/>
    <p:sldLayoutId id="2147484085" r:id="rId26"/>
    <p:sldLayoutId id="2147484086" r:id="rId27"/>
    <p:sldLayoutId id="2147484087" r:id="rId28"/>
    <p:sldLayoutId id="2147484088" r:id="rId29"/>
    <p:sldLayoutId id="2147484089" r:id="rId30"/>
    <p:sldLayoutId id="2147484090" r:id="rId31"/>
    <p:sldLayoutId id="2147484091" r:id="rId32"/>
    <p:sldLayoutId id="2147484092" r:id="rId33"/>
    <p:sldLayoutId id="2147484093" r:id="rId34"/>
    <p:sldLayoutId id="2147484094" r:id="rId35"/>
    <p:sldLayoutId id="2147484095" r:id="rId36"/>
    <p:sldLayoutId id="2147484096" r:id="rId37"/>
    <p:sldLayoutId id="2147484097" r:id="rId38"/>
    <p:sldLayoutId id="2147484098" r:id="rId39"/>
    <p:sldLayoutId id="2147484099" r:id="rId40"/>
    <p:sldLayoutId id="2147484100" r:id="rId41"/>
    <p:sldLayoutId id="2147484101" r:id="rId42"/>
    <p:sldLayoutId id="2147484102" r:id="rId43"/>
    <p:sldLayoutId id="2147484103" r:id="rId44"/>
    <p:sldLayoutId id="2147484104" r:id="rId45"/>
    <p:sldLayoutId id="2147484105" r:id="rId46"/>
    <p:sldLayoutId id="2147484106" r:id="rId47"/>
    <p:sldLayoutId id="2147484107" r:id="rId48"/>
    <p:sldLayoutId id="2147484108" r:id="rId49"/>
    <p:sldLayoutId id="2147484109" r:id="rId50"/>
    <p:sldLayoutId id="2147484110" r:id="rId51"/>
    <p:sldLayoutId id="2147484111" r:id="rId52"/>
    <p:sldLayoutId id="2147484112" r:id="rId53"/>
    <p:sldLayoutId id="2147484113" r:id="rId54"/>
    <p:sldLayoutId id="2147484114" r:id="rId55"/>
    <p:sldLayoutId id="2147484115" r:id="rId56"/>
    <p:sldLayoutId id="2147484116" r:id="rId57"/>
    <p:sldLayoutId id="2147484117" r:id="rId58"/>
    <p:sldLayoutId id="2147484118" r:id="rId59"/>
    <p:sldLayoutId id="2147484119" r:id="rId60"/>
    <p:sldLayoutId id="2147484131" r:id="rId61"/>
  </p:sldLayoutIdLst>
  <p:txStyles>
    <p:titleStyle>
      <a:lvl1pPr algn="l" defTabSz="457200" rtl="0" eaLnBrk="1" latinLnBrk="0" hangingPunct="1">
        <a:lnSpc>
          <a:spcPct val="80000"/>
        </a:lnSpc>
        <a:spcBef>
          <a:spcPct val="0"/>
        </a:spcBef>
        <a:buNone/>
        <a:defRPr sz="3000" b="1" kern="1200">
          <a:solidFill>
            <a:schemeClr val="tx2"/>
          </a:solidFill>
          <a:latin typeface="+mj-lt"/>
          <a:ea typeface="+mj-ea"/>
          <a:cs typeface="+mj-cs"/>
        </a:defRPr>
      </a:lvl1pPr>
    </p:titleStyle>
    <p:bodyStyle>
      <a:lvl1pPr marL="0" indent="0" algn="l" defTabSz="457200" rtl="0" eaLnBrk="1" latinLnBrk="0" hangingPunct="1">
        <a:spcBef>
          <a:spcPts val="1200"/>
        </a:spcBef>
        <a:spcAft>
          <a:spcPts val="600"/>
        </a:spcAft>
        <a:buFont typeface="Arial"/>
        <a:buNone/>
        <a:defRPr sz="1800" b="0" kern="1200">
          <a:solidFill>
            <a:schemeClr val="tx1"/>
          </a:solidFill>
          <a:latin typeface="+mn-lt"/>
          <a:ea typeface="+mn-ea"/>
          <a:cs typeface="+mn-cs"/>
        </a:defRPr>
      </a:lvl1pPr>
      <a:lvl2pPr marL="228600" indent="-225425"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457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914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146175" indent="-227013" algn="l" defTabSz="457200" rtl="0" eaLnBrk="1" latinLnBrk="0" hangingPunct="1">
        <a:spcBef>
          <a:spcPts val="0"/>
        </a:spcBef>
        <a:spcAft>
          <a:spcPts val="600"/>
        </a:spcAft>
        <a:buFont typeface="Arial"/>
        <a:buChar char="•"/>
        <a:tabLst/>
        <a:defRPr sz="1200" kern="1200">
          <a:solidFill>
            <a:schemeClr val="tx1"/>
          </a:solidFill>
          <a:latin typeface="+mn-lt"/>
          <a:ea typeface="+mn-ea"/>
          <a:cs typeface="+mn-cs"/>
        </a:defRPr>
      </a:lvl6pPr>
      <a:lvl7pPr marL="1374775" indent="-228600" algn="l" defTabSz="457200" rtl="0" eaLnBrk="1" latinLnBrk="0" hangingPunct="1">
        <a:spcBef>
          <a:spcPts val="0"/>
        </a:spcBef>
        <a:spcAft>
          <a:spcPts val="600"/>
        </a:spcAft>
        <a:buFont typeface="System Font Regular"/>
        <a:buChar char="–"/>
        <a:tabLst/>
        <a:defRPr sz="1200" kern="1200">
          <a:solidFill>
            <a:schemeClr val="tx1"/>
          </a:solidFill>
          <a:latin typeface="+mn-lt"/>
          <a:ea typeface="+mn-ea"/>
          <a:cs typeface="+mn-cs"/>
        </a:defRPr>
      </a:lvl7pPr>
      <a:lvl8pPr marL="1601788" indent="-227013" algn="l" defTabSz="457200" rtl="0" eaLnBrk="1" latinLnBrk="0" hangingPunct="1">
        <a:spcBef>
          <a:spcPts val="0"/>
        </a:spcBef>
        <a:spcAft>
          <a:spcPts val="600"/>
        </a:spcAft>
        <a:buFont typeface="Arial"/>
        <a:buChar char="•"/>
        <a:tabLst/>
        <a:defRPr sz="1200" kern="1200">
          <a:solidFill>
            <a:schemeClr val="tx1"/>
          </a:solidFill>
          <a:latin typeface="+mn-lt"/>
          <a:ea typeface="+mn-ea"/>
          <a:cs typeface="+mn-cs"/>
        </a:defRPr>
      </a:lvl8pPr>
      <a:lvl9pPr marL="1830388" indent="-219075" algn="l" defTabSz="457200" rtl="0" eaLnBrk="1" latinLnBrk="0" hangingPunct="1">
        <a:spcBef>
          <a:spcPts val="0"/>
        </a:spcBef>
        <a:spcAft>
          <a:spcPts val="600"/>
        </a:spcAft>
        <a:buFont typeface="System Font Regular"/>
        <a:buChar char="–"/>
        <a:tabLst/>
        <a:defRPr sz="12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76">
          <p15:clr>
            <a:srgbClr val="F26B43"/>
          </p15:clr>
        </p15:guide>
        <p15:guide id="2" pos="6928">
          <p15:clr>
            <a:srgbClr val="F26B43"/>
          </p15:clr>
        </p15:guide>
        <p15:guide id="3" pos="6320">
          <p15:clr>
            <a:srgbClr val="F26B43"/>
          </p15:clr>
        </p15:guide>
        <p15:guide id="4" pos="5720">
          <p15:clr>
            <a:srgbClr val="F26B43"/>
          </p15:clr>
        </p15:guide>
        <p15:guide id="5" pos="5120">
          <p15:clr>
            <a:srgbClr val="F26B43"/>
          </p15:clr>
        </p15:guide>
        <p15:guide id="6" pos="4520">
          <p15:clr>
            <a:srgbClr val="F26B43"/>
          </p15:clr>
        </p15:guide>
        <p15:guide id="7" pos="3912">
          <p15:clr>
            <a:srgbClr val="F26B43"/>
          </p15:clr>
        </p15:guide>
        <p15:guide id="8" pos="3312">
          <p15:clr>
            <a:srgbClr val="F26B43"/>
          </p15:clr>
        </p15:guide>
        <p15:guide id="9" pos="2712">
          <p15:clr>
            <a:srgbClr val="F26B43"/>
          </p15:clr>
        </p15:guide>
        <p15:guide id="10" pos="2112">
          <p15:clr>
            <a:srgbClr val="F26B43"/>
          </p15:clr>
        </p15:guide>
        <p15:guide id="11" pos="1504">
          <p15:clr>
            <a:srgbClr val="F26B43"/>
          </p15:clr>
        </p15:guide>
        <p15:guide id="13" pos="304">
          <p15:clr>
            <a:srgbClr val="F26B43"/>
          </p15:clr>
        </p15:guide>
        <p15:guide id="14" pos="6776">
          <p15:clr>
            <a:srgbClr val="F26B43"/>
          </p15:clr>
        </p15:guide>
        <p15:guide id="15" pos="6176">
          <p15:clr>
            <a:srgbClr val="F26B43"/>
          </p15:clr>
        </p15:guide>
        <p15:guide id="16" pos="5568">
          <p15:clr>
            <a:srgbClr val="F26B43"/>
          </p15:clr>
        </p15:guide>
        <p15:guide id="17" pos="4968">
          <p15:clr>
            <a:srgbClr val="F26B43"/>
          </p15:clr>
        </p15:guide>
        <p15:guide id="18" pos="4368">
          <p15:clr>
            <a:srgbClr val="F26B43"/>
          </p15:clr>
        </p15:guide>
        <p15:guide id="19" pos="3768">
          <p15:clr>
            <a:srgbClr val="F26B43"/>
          </p15:clr>
        </p15:guide>
        <p15:guide id="20" pos="3160">
          <p15:clr>
            <a:srgbClr val="F26B43"/>
          </p15:clr>
        </p15:guide>
        <p15:guide id="21" pos="2560">
          <p15:clr>
            <a:srgbClr val="F26B43"/>
          </p15:clr>
        </p15:guide>
        <p15:guide id="22" pos="1960">
          <p15:clr>
            <a:srgbClr val="F26B43"/>
          </p15:clr>
        </p15:guide>
        <p15:guide id="23" pos="1360">
          <p15:clr>
            <a:srgbClr val="F26B43"/>
          </p15:clr>
        </p15:guide>
        <p15:guide id="24" pos="752">
          <p15:clr>
            <a:srgbClr val="F26B43"/>
          </p15:clr>
        </p15:guide>
        <p15:guide id="25" pos="224">
          <p15:clr>
            <a:srgbClr val="F26B43"/>
          </p15:clr>
        </p15:guide>
        <p15:guide id="26" pos="7456">
          <p15:clr>
            <a:srgbClr val="F26B43"/>
          </p15:clr>
        </p15:guide>
        <p15:guide id="27" orient="horz" pos="4168">
          <p15:clr>
            <a:srgbClr val="F26B43"/>
          </p15:clr>
        </p15:guide>
        <p15:guide id="28" pos="888">
          <p15:clr>
            <a:srgbClr val="F26B43"/>
          </p15:clr>
        </p15:guide>
        <p15:guide id="29" orient="horz" pos="4016">
          <p15:clr>
            <a:srgbClr val="F26B43"/>
          </p15:clr>
        </p15:guide>
        <p15:guide id="30" orient="horz" pos="226">
          <p15:clr>
            <a:srgbClr val="F26B43"/>
          </p15:clr>
        </p15:guide>
        <p15:guide id="31" orient="horz" pos="540">
          <p15:clr>
            <a:srgbClr val="F26B43"/>
          </p15:clr>
        </p15:guide>
        <p15:guide id="32" orient="horz" pos="698">
          <p15:clr>
            <a:srgbClr val="F26B43"/>
          </p15:clr>
        </p15:guide>
        <p15:guide id="35" orient="horz" pos="1014">
          <p15:clr>
            <a:srgbClr val="F26B43"/>
          </p15:clr>
        </p15:guide>
        <p15:guide id="38" orient="horz" pos="385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xml"/><Relationship Id="rId1" Type="http://schemas.openxmlformats.org/officeDocument/2006/relationships/slideLayout" Target="../slideLayouts/slideLayout89.xml"/><Relationship Id="rId5" Type="http://schemas.openxmlformats.org/officeDocument/2006/relationships/image" Target="../media/image38.png"/><Relationship Id="rId4" Type="http://schemas.openxmlformats.org/officeDocument/2006/relationships/image" Target="../media/image37.jpeg"/></Relationships>
</file>

<file path=ppt/slides/_rels/slide10.xml.rels><?xml version="1.0" encoding="UTF-8" standalone="yes"?>
<Relationships xmlns="http://schemas.openxmlformats.org/package/2006/relationships"><Relationship Id="rId8" Type="http://schemas.openxmlformats.org/officeDocument/2006/relationships/image" Target="../media/image63.emf"/><Relationship Id="rId13" Type="http://schemas.openxmlformats.org/officeDocument/2006/relationships/image" Target="../media/image68.emf"/><Relationship Id="rId18" Type="http://schemas.openxmlformats.org/officeDocument/2006/relationships/image" Target="../media/image73.png"/><Relationship Id="rId3" Type="http://schemas.openxmlformats.org/officeDocument/2006/relationships/notesSlide" Target="../notesSlides/notesSlide8.xml"/><Relationship Id="rId7" Type="http://schemas.openxmlformats.org/officeDocument/2006/relationships/image" Target="../media/image62.emf"/><Relationship Id="rId12" Type="http://schemas.openxmlformats.org/officeDocument/2006/relationships/image" Target="../media/image67.emf"/><Relationship Id="rId17" Type="http://schemas.openxmlformats.org/officeDocument/2006/relationships/image" Target="../media/image72.png"/><Relationship Id="rId2" Type="http://schemas.openxmlformats.org/officeDocument/2006/relationships/slideLayout" Target="../slideLayouts/slideLayout263.xml"/><Relationship Id="rId16" Type="http://schemas.openxmlformats.org/officeDocument/2006/relationships/image" Target="../media/image71.png"/><Relationship Id="rId1" Type="http://schemas.openxmlformats.org/officeDocument/2006/relationships/tags" Target="../tags/tag253.xml"/><Relationship Id="rId6" Type="http://schemas.openxmlformats.org/officeDocument/2006/relationships/image" Target="../media/image61.emf"/><Relationship Id="rId11" Type="http://schemas.openxmlformats.org/officeDocument/2006/relationships/image" Target="../media/image66.emf"/><Relationship Id="rId5" Type="http://schemas.openxmlformats.org/officeDocument/2006/relationships/image" Target="../media/image60.emf"/><Relationship Id="rId15" Type="http://schemas.openxmlformats.org/officeDocument/2006/relationships/image" Target="../media/image70.png"/><Relationship Id="rId10" Type="http://schemas.openxmlformats.org/officeDocument/2006/relationships/image" Target="../media/image65.emf"/><Relationship Id="rId19" Type="http://schemas.openxmlformats.org/officeDocument/2006/relationships/image" Target="../media/image39.png"/><Relationship Id="rId4" Type="http://schemas.openxmlformats.org/officeDocument/2006/relationships/image" Target="../media/image59.emf"/><Relationship Id="rId9" Type="http://schemas.openxmlformats.org/officeDocument/2006/relationships/image" Target="../media/image64.emf"/><Relationship Id="rId14" Type="http://schemas.openxmlformats.org/officeDocument/2006/relationships/image" Target="../media/image69.emf"/></Relationships>
</file>

<file path=ppt/slides/_rels/slide11.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9.xml"/><Relationship Id="rId7" Type="http://schemas.openxmlformats.org/officeDocument/2006/relationships/image" Target="../media/image76.jpg"/><Relationship Id="rId2" Type="http://schemas.openxmlformats.org/officeDocument/2006/relationships/slideLayout" Target="../slideLayouts/slideLayout285.xml"/><Relationship Id="rId1" Type="http://schemas.openxmlformats.org/officeDocument/2006/relationships/tags" Target="../tags/tag254.xml"/><Relationship Id="rId6" Type="http://schemas.openxmlformats.org/officeDocument/2006/relationships/image" Target="../media/image75.jpeg"/><Relationship Id="rId5" Type="http://schemas.openxmlformats.org/officeDocument/2006/relationships/image" Target="../media/image74.emf"/><Relationship Id="rId4" Type="http://schemas.openxmlformats.org/officeDocument/2006/relationships/oleObject" Target="../embeddings/oleObject195.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72.xml"/></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394.xml"/><Relationship Id="rId4" Type="http://schemas.openxmlformats.org/officeDocument/2006/relationships/image" Target="../media/image77.png"/></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1.xml"/><Relationship Id="rId1" Type="http://schemas.openxmlformats.org/officeDocument/2006/relationships/slideLayout" Target="../slideLayouts/slideLayout394.xml"/><Relationship Id="rId4" Type="http://schemas.openxmlformats.org/officeDocument/2006/relationships/image" Target="../media/image7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39.png"/><Relationship Id="rId2" Type="http://schemas.openxmlformats.org/officeDocument/2006/relationships/slideLayout" Target="../slideLayouts/slideLayout259.xml"/><Relationship Id="rId1" Type="http://schemas.openxmlformats.org/officeDocument/2006/relationships/tags" Target="../tags/tag255.xml"/><Relationship Id="rId6" Type="http://schemas.openxmlformats.org/officeDocument/2006/relationships/image" Target="../media/image80.png"/><Relationship Id="rId5" Type="http://schemas.openxmlformats.org/officeDocument/2006/relationships/image" Target="../media/image79.emf"/><Relationship Id="rId4" Type="http://schemas.openxmlformats.org/officeDocument/2006/relationships/oleObject" Target="../embeddings/oleObject196.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59.xml"/><Relationship Id="rId1" Type="http://schemas.openxmlformats.org/officeDocument/2006/relationships/customXml" Target="../../customXml/item6.xml"/><Relationship Id="rId5" Type="http://schemas.openxmlformats.org/officeDocument/2006/relationships/image" Target="../media/image81.png"/><Relationship Id="rId4" Type="http://schemas.openxmlformats.org/officeDocument/2006/relationships/image" Target="../media/image39.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3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3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82.png"/><Relationship Id="rId1" Type="http://schemas.openxmlformats.org/officeDocument/2006/relationships/slideLayout" Target="../slideLayouts/slideLayout209.xml"/></Relationships>
</file>

<file path=ppt/slides/_rels/slide2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xml"/><Relationship Id="rId1" Type="http://schemas.openxmlformats.org/officeDocument/2006/relationships/slideLayout" Target="../slideLayouts/slideLayout200.xml"/><Relationship Id="rId4" Type="http://schemas.openxmlformats.org/officeDocument/2006/relationships/image" Target="../media/image39.png"/></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5.xml"/><Relationship Id="rId1" Type="http://schemas.openxmlformats.org/officeDocument/2006/relationships/slideLayout" Target="../slideLayouts/slideLayout209.xml"/><Relationship Id="rId4" Type="http://schemas.openxmlformats.org/officeDocument/2006/relationships/image" Target="../media/image84.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37.xml"/></Relationships>
</file>

<file path=ppt/slides/_rels/slide24.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16.xml"/><Relationship Id="rId1" Type="http://schemas.openxmlformats.org/officeDocument/2006/relationships/slideLayout" Target="../slideLayouts/slideLayout260.xml"/><Relationship Id="rId4" Type="http://schemas.openxmlformats.org/officeDocument/2006/relationships/image" Target="../media/image86.bin"/></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7.xml"/></Relationships>
</file>

<file path=ppt/slides/_rels/slide26.xml.rels><?xml version="1.0" encoding="UTF-8" standalone="yes"?>
<Relationships xmlns="http://schemas.openxmlformats.org/package/2006/relationships"><Relationship Id="rId3" Type="http://schemas.openxmlformats.org/officeDocument/2006/relationships/image" Target="../media/image87.jpg"/><Relationship Id="rId2" Type="http://schemas.openxmlformats.org/officeDocument/2006/relationships/notesSlide" Target="../notesSlides/notesSlide17.xml"/><Relationship Id="rId1" Type="http://schemas.openxmlformats.org/officeDocument/2006/relationships/slideLayout" Target="../slideLayouts/slideLayout26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7.xml"/></Relationships>
</file>

<file path=ppt/slides/_rels/slide2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5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7.xml"/></Relationships>
</file>

<file path=ppt/slides/_rels/slide30.xml.rels><?xml version="1.0" encoding="UTF-8" standalone="yes"?>
<Relationships xmlns="http://schemas.openxmlformats.org/package/2006/relationships"><Relationship Id="rId2" Type="http://schemas.openxmlformats.org/officeDocument/2006/relationships/hyperlink" Target="https://www.forbes.com/sites/daveywinder/2020/07/08/new-dark-web-audit-reveals-15-billion-stolen-logins-from-100000-breaches-passwords-hackers-cybercrime/?sh=78010d32180f" TargetMode="External"/><Relationship Id="rId1" Type="http://schemas.openxmlformats.org/officeDocument/2006/relationships/slideLayout" Target="../slideLayouts/slideLayout14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34.xml.rels><?xml version="1.0" encoding="UTF-8" standalone="yes"?>
<Relationships xmlns="http://schemas.openxmlformats.org/package/2006/relationships"><Relationship Id="rId3" Type="http://schemas.openxmlformats.org/officeDocument/2006/relationships/image" Target="../media/image88.png"/><Relationship Id="rId7" Type="http://schemas.openxmlformats.org/officeDocument/2006/relationships/image" Target="../media/image91.png"/><Relationship Id="rId2" Type="http://schemas.openxmlformats.org/officeDocument/2006/relationships/slideLayout" Target="../slideLayouts/slideLayout146.xml"/><Relationship Id="rId1" Type="http://schemas.openxmlformats.org/officeDocument/2006/relationships/tags" Target="../tags/tag256.xml"/><Relationship Id="rId6" Type="http://schemas.openxmlformats.org/officeDocument/2006/relationships/image" Target="../media/image90.emf"/><Relationship Id="rId5" Type="http://schemas.openxmlformats.org/officeDocument/2006/relationships/oleObject" Target="../embeddings/oleObject197.bin"/><Relationship Id="rId4" Type="http://schemas.openxmlformats.org/officeDocument/2006/relationships/image" Target="../media/image89.sv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98.xml"/><Relationship Id="rId1" Type="http://schemas.openxmlformats.org/officeDocument/2006/relationships/customXml" Target="../../customXml/item4.xml"/><Relationship Id="rId5" Type="http://schemas.openxmlformats.org/officeDocument/2006/relationships/image" Target="../media/image40.png"/><Relationship Id="rId4" Type="http://schemas.openxmlformats.org/officeDocument/2006/relationships/image" Target="../media/image39.png"/></Relationships>
</file>

<file path=ppt/slides/_rels/slide5.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svg"/><Relationship Id="rId3" Type="http://schemas.openxmlformats.org/officeDocument/2006/relationships/notesSlide" Target="../notesSlides/notesSlide4.xml"/><Relationship Id="rId7" Type="http://schemas.openxmlformats.org/officeDocument/2006/relationships/image" Target="../media/image44.svg"/><Relationship Id="rId12" Type="http://schemas.openxmlformats.org/officeDocument/2006/relationships/image" Target="../media/image49.png"/><Relationship Id="rId2" Type="http://schemas.openxmlformats.org/officeDocument/2006/relationships/slideLayout" Target="../slideLayouts/slideLayout198.xml"/><Relationship Id="rId1" Type="http://schemas.openxmlformats.org/officeDocument/2006/relationships/customXml" Target="../../customXml/item5.xml"/><Relationship Id="rId6" Type="http://schemas.openxmlformats.org/officeDocument/2006/relationships/image" Target="../media/image43.png"/><Relationship Id="rId11" Type="http://schemas.openxmlformats.org/officeDocument/2006/relationships/image" Target="../media/image48.svg"/><Relationship Id="rId5" Type="http://schemas.openxmlformats.org/officeDocument/2006/relationships/image" Target="../media/image42.svg"/><Relationship Id="rId10" Type="http://schemas.openxmlformats.org/officeDocument/2006/relationships/image" Target="../media/image47.png"/><Relationship Id="rId4" Type="http://schemas.openxmlformats.org/officeDocument/2006/relationships/image" Target="../media/image41.png"/><Relationship Id="rId9" Type="http://schemas.openxmlformats.org/officeDocument/2006/relationships/image" Target="../media/image46.svg"/><Relationship Id="rId14" Type="http://schemas.openxmlformats.org/officeDocument/2006/relationships/image" Target="../media/image39.png"/></Relationships>
</file>

<file path=ppt/slides/_rels/slide6.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notesSlide" Target="../notesSlides/notesSlide5.xml"/><Relationship Id="rId1" Type="http://schemas.openxmlformats.org/officeDocument/2006/relationships/slideLayout" Target="../slideLayouts/slideLayout346.xml"/><Relationship Id="rId5" Type="http://schemas.openxmlformats.org/officeDocument/2006/relationships/image" Target="../media/image39.png"/><Relationship Id="rId4" Type="http://schemas.openxmlformats.org/officeDocument/2006/relationships/image" Target="../media/image52.png"/></Relationships>
</file>

<file path=ppt/slides/_rels/slide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6.xml"/><Relationship Id="rId1" Type="http://schemas.openxmlformats.org/officeDocument/2006/relationships/slideLayout" Target="../slideLayouts/slideLayout346.xml"/><Relationship Id="rId4" Type="http://schemas.openxmlformats.org/officeDocument/2006/relationships/image" Target="../media/image39.png"/></Relationships>
</file>

<file path=ppt/slides/_rels/slide8.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4.png"/><Relationship Id="rId7" Type="http://schemas.openxmlformats.org/officeDocument/2006/relationships/image" Target="../media/image57.png"/><Relationship Id="rId2" Type="http://schemas.openxmlformats.org/officeDocument/2006/relationships/notesSlide" Target="../notesSlides/notesSlide7.xml"/><Relationship Id="rId1" Type="http://schemas.openxmlformats.org/officeDocument/2006/relationships/slideLayout" Target="../slideLayouts/slideLayout346.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3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7" name="Rectángulo"/>
          <p:cNvSpPr/>
          <p:nvPr/>
        </p:nvSpPr>
        <p:spPr>
          <a:xfrm>
            <a:off x="-340659" y="-1"/>
            <a:ext cx="7418466" cy="5854701"/>
          </a:xfrm>
          <a:prstGeom prst="rect">
            <a:avLst/>
          </a:prstGeom>
          <a:solidFill>
            <a:srgbClr val="002979"/>
          </a:solidFill>
          <a:ln w="12700">
            <a:miter lim="400000"/>
          </a:ln>
        </p:spPr>
        <p:txBody>
          <a:bodyPr lIns="0" tIns="0" rIns="0" bIns="0" anchor="ct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202020"/>
              </a:solidFill>
              <a:effectLst/>
              <a:uLnTx/>
              <a:uFillTx/>
              <a:latin typeface="Arial"/>
              <a:cs typeface="Arial"/>
              <a:sym typeface="Arial"/>
            </a:endParaRPr>
          </a:p>
        </p:txBody>
      </p:sp>
      <p:sp>
        <p:nvSpPr>
          <p:cNvPr id="979" name="Latin America &amp; the Caribbean  CMF Value Proposition"/>
          <p:cNvSpPr txBox="1"/>
          <p:nvPr/>
        </p:nvSpPr>
        <p:spPr>
          <a:xfrm>
            <a:off x="234531" y="4493875"/>
            <a:ext cx="4143414" cy="30777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lvl="0">
              <a:spcBef>
                <a:spcPts val="1200"/>
              </a:spcBef>
              <a:defRPr sz="1600">
                <a:solidFill>
                  <a:srgbClr val="FFFFFF"/>
                </a:solidFill>
                <a:latin typeface="Noto Sans"/>
                <a:ea typeface="Noto Sans"/>
                <a:cs typeface="Noto Sans"/>
                <a:sym typeface="Noto Sans"/>
              </a:defRPr>
            </a:pPr>
            <a:r>
              <a:rPr kumimoji="0" lang="en-US" sz="2000" b="0" i="0" u="none" strike="noStrike" kern="0" cap="none" spc="0" normalizeH="0" baseline="0" noProof="0" dirty="0">
                <a:ln>
                  <a:noFill/>
                </a:ln>
                <a:solidFill>
                  <a:srgbClr val="FFFFFF"/>
                </a:solidFill>
                <a:effectLst/>
                <a:uLnTx/>
                <a:uFillTx/>
                <a:latin typeface="Noto Sans"/>
                <a:sym typeface="Noto Sans"/>
              </a:rPr>
              <a:t>2023</a:t>
            </a:r>
            <a:endParaRPr kumimoji="0" sz="2000" b="0" i="0" u="none" strike="noStrike" kern="0" cap="none" spc="0" normalizeH="0" baseline="0" noProof="0" dirty="0">
              <a:ln>
                <a:noFill/>
              </a:ln>
              <a:solidFill>
                <a:srgbClr val="FFFFFF"/>
              </a:solidFill>
              <a:effectLst/>
              <a:uLnTx/>
              <a:uFillTx/>
              <a:latin typeface="Noto Sans"/>
              <a:sym typeface="Noto Sans"/>
            </a:endParaRPr>
          </a:p>
        </p:txBody>
      </p:sp>
      <p:pic>
        <p:nvPicPr>
          <p:cNvPr id="980" name="logo-small.png" descr="logo-small.png"/>
          <p:cNvPicPr>
            <a:picLocks noChangeAspect="1"/>
          </p:cNvPicPr>
          <p:nvPr/>
        </p:nvPicPr>
        <p:blipFill>
          <a:blip r:embed="rId3"/>
          <a:stretch>
            <a:fillRect/>
          </a:stretch>
        </p:blipFill>
        <p:spPr>
          <a:xfrm>
            <a:off x="121351" y="380068"/>
            <a:ext cx="4202990" cy="436103"/>
          </a:xfrm>
          <a:prstGeom prst="rect">
            <a:avLst/>
          </a:prstGeom>
          <a:ln w="12700">
            <a:miter lim="400000"/>
          </a:ln>
        </p:spPr>
      </p:pic>
      <p:sp>
        <p:nvSpPr>
          <p:cNvPr id="982" name="Número de diapositiva"/>
          <p:cNvSpPr txBox="1">
            <a:spLocks noGrp="1"/>
          </p:cNvSpPr>
          <p:nvPr>
            <p:ph type="sldNum" sz="quarter" idx="2"/>
          </p:nvPr>
        </p:nvSpPr>
        <p:spPr>
          <a:xfrm>
            <a:off x="5892800" y="6172200"/>
            <a:ext cx="2844800" cy="368300"/>
          </a:xfrm>
          <a:prstGeom prst="rect">
            <a:avLst/>
          </a:prstGeom>
          <a:extLst>
            <a:ext uri="{C572A759-6A51-4108-AA02-DFA0A04FC94B}">
              <ma14:wrappingTextBoxFlag xmlns:ma14="http://schemas.microsoft.com/office/mac/drawingml/2011/main" xmlns="" val="1"/>
            </a:ext>
          </a:extLst>
        </p:spPr>
        <p:txBody>
          <a:bodyPr wrap="none"/>
          <a:lstStyle/>
          <a:p>
            <a:pPr marL="0" marR="0" lvl="0" indent="0" algn="r" defTabSz="457200" rtl="0" eaLnBrk="1" fontAlgn="auto" latinLnBrk="0" hangingPunct="0">
              <a:lnSpc>
                <a:spcPct val="100000"/>
              </a:lnSpc>
              <a:spcBef>
                <a:spcPts val="0"/>
              </a:spcBef>
              <a:spcAft>
                <a:spcPts val="0"/>
              </a:spcAft>
              <a:buClrTx/>
              <a:buSzTx/>
              <a:buFontTx/>
              <a:buNone/>
              <a:tabLst/>
              <a:defRPr/>
            </a:pPr>
            <a:fld id="{86CB4B4D-7CA3-9044-876B-883B54F8677D}" type="slidenum">
              <a:rPr kumimoji="0" sz="1200" b="0" i="0" u="none" strike="noStrike" kern="0" cap="none" spc="0" normalizeH="0" baseline="0" noProof="0">
                <a:ln>
                  <a:noFill/>
                </a:ln>
                <a:solidFill>
                  <a:srgbClr val="202020"/>
                </a:solidFill>
                <a:effectLst/>
                <a:uLnTx/>
                <a:uFillTx/>
                <a:latin typeface="Arial"/>
                <a:cs typeface="Arial"/>
                <a:sym typeface="Arial"/>
              </a:rPr>
              <a:pPr marL="0" marR="0" lvl="0" indent="0" algn="r" defTabSz="457200" rtl="0" eaLnBrk="1" fontAlgn="auto" latinLnBrk="0" hangingPunct="0">
                <a:lnSpc>
                  <a:spcPct val="100000"/>
                </a:lnSpc>
                <a:spcBef>
                  <a:spcPts val="0"/>
                </a:spcBef>
                <a:spcAft>
                  <a:spcPts val="0"/>
                </a:spcAft>
                <a:buClrTx/>
                <a:buSzTx/>
                <a:buFontTx/>
                <a:buNone/>
                <a:tabLst/>
                <a:defRPr/>
              </a:pPr>
              <a:t>1</a:t>
            </a:fld>
            <a:endParaRPr kumimoji="0" sz="1200" b="0" i="0" u="none" strike="noStrike" kern="0" cap="none" spc="0" normalizeH="0" baseline="0" noProof="0" dirty="0">
              <a:ln>
                <a:noFill/>
              </a:ln>
              <a:solidFill>
                <a:srgbClr val="202020"/>
              </a:solidFill>
              <a:effectLst/>
              <a:uLnTx/>
              <a:uFillTx/>
              <a:latin typeface="Arial"/>
              <a:cs typeface="Arial"/>
              <a:sym typeface="Arial"/>
            </a:endParaRPr>
          </a:p>
        </p:txBody>
      </p:sp>
      <p:sp>
        <p:nvSpPr>
          <p:cNvPr id="10" name="Shape 981"/>
          <p:cNvSpPr/>
          <p:nvPr/>
        </p:nvSpPr>
        <p:spPr>
          <a:xfrm>
            <a:off x="234531" y="2068445"/>
            <a:ext cx="10480676" cy="60939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nSpc>
                <a:spcPct val="80000"/>
              </a:lnSpc>
              <a:defRPr sz="6600" b="1">
                <a:solidFill>
                  <a:srgbClr val="FFFFFF"/>
                </a:solidFill>
                <a:latin typeface="MMC Display"/>
                <a:ea typeface="MMC Display"/>
                <a:cs typeface="MMC Display"/>
                <a:sym typeface="MMC Display"/>
              </a:defRPr>
            </a:lvl1pPr>
          </a:lstStyle>
          <a:p>
            <a:pPr lvl="0">
              <a:lnSpc>
                <a:spcPct val="90000"/>
              </a:lnSpc>
            </a:pPr>
            <a:r>
              <a:rPr lang="es-ES" sz="4400" dirty="0">
                <a:latin typeface="+mn-lt"/>
              </a:rPr>
              <a:t>Riesgo cibernético</a:t>
            </a:r>
          </a:p>
        </p:txBody>
      </p:sp>
      <p:pic>
        <p:nvPicPr>
          <p:cNvPr id="8" name="Marcador de posición de imagen 2"/>
          <p:cNvPicPr>
            <a:picLocks noGrp="1" noChangeAspect="1"/>
          </p:cNvPicPr>
          <p:nvPr>
            <p:ph type="pic" sz="quarter" idx="4294967295"/>
          </p:nvPr>
        </p:nvPicPr>
        <p:blipFill>
          <a:blip r:embed="rId4" cstate="print">
            <a:extLst>
              <a:ext uri="{28A0092B-C50C-407E-A947-70E740481C1C}">
                <a14:useLocalDpi xmlns:a14="http://schemas.microsoft.com/office/drawing/2010/main" val="0"/>
              </a:ext>
            </a:extLst>
          </a:blip>
          <a:stretch>
            <a:fillRect/>
          </a:stretch>
        </p:blipFill>
        <p:spPr>
          <a:xfrm>
            <a:off x="-340659" y="-1"/>
            <a:ext cx="12582797" cy="6858001"/>
          </a:xfrm>
          <a:custGeom>
            <a:avLst/>
            <a:gdLst>
              <a:gd name="connsiteX0" fmla="*/ 2154182 w 12191999"/>
              <a:gd name="connsiteY0" fmla="*/ 6348735 h 6858001"/>
              <a:gd name="connsiteX1" fmla="*/ 2154182 w 12191999"/>
              <a:gd name="connsiteY1" fmla="*/ 6352726 h 6858001"/>
              <a:gd name="connsiteX2" fmla="*/ 2152428 w 12191999"/>
              <a:gd name="connsiteY2" fmla="*/ 6363609 h 6858001"/>
              <a:gd name="connsiteX3" fmla="*/ 2145233 w 12191999"/>
              <a:gd name="connsiteY3" fmla="*/ 6371136 h 6858001"/>
              <a:gd name="connsiteX4" fmla="*/ 2134048 w 12191999"/>
              <a:gd name="connsiteY4" fmla="*/ 6373887 h 6858001"/>
              <a:gd name="connsiteX5" fmla="*/ 2124404 w 12191999"/>
              <a:gd name="connsiteY5" fmla="*/ 6370985 h 6858001"/>
              <a:gd name="connsiteX6" fmla="*/ 2121109 w 12191999"/>
              <a:gd name="connsiteY6" fmla="*/ 6363730 h 6858001"/>
              <a:gd name="connsiteX7" fmla="*/ 2122621 w 12191999"/>
              <a:gd name="connsiteY7" fmla="*/ 6358560 h 6858001"/>
              <a:gd name="connsiteX8" fmla="*/ 2126913 w 12191999"/>
              <a:gd name="connsiteY8" fmla="*/ 6355023 h 6858001"/>
              <a:gd name="connsiteX9" fmla="*/ 2136406 w 12191999"/>
              <a:gd name="connsiteY9" fmla="*/ 6352847 h 6858001"/>
              <a:gd name="connsiteX10" fmla="*/ 2154182 w 12191999"/>
              <a:gd name="connsiteY10" fmla="*/ 6348735 h 6858001"/>
              <a:gd name="connsiteX11" fmla="*/ 1430281 w 12191999"/>
              <a:gd name="connsiteY11" fmla="*/ 6348735 h 6858001"/>
              <a:gd name="connsiteX12" fmla="*/ 1430281 w 12191999"/>
              <a:gd name="connsiteY12" fmla="*/ 6352726 h 6858001"/>
              <a:gd name="connsiteX13" fmla="*/ 1428528 w 12191999"/>
              <a:gd name="connsiteY13" fmla="*/ 6363609 h 6858001"/>
              <a:gd name="connsiteX14" fmla="*/ 1421333 w 12191999"/>
              <a:gd name="connsiteY14" fmla="*/ 6371136 h 6858001"/>
              <a:gd name="connsiteX15" fmla="*/ 1410148 w 12191999"/>
              <a:gd name="connsiteY15" fmla="*/ 6373887 h 6858001"/>
              <a:gd name="connsiteX16" fmla="*/ 1400504 w 12191999"/>
              <a:gd name="connsiteY16" fmla="*/ 6370985 h 6858001"/>
              <a:gd name="connsiteX17" fmla="*/ 1397209 w 12191999"/>
              <a:gd name="connsiteY17" fmla="*/ 6363730 h 6858001"/>
              <a:gd name="connsiteX18" fmla="*/ 1398721 w 12191999"/>
              <a:gd name="connsiteY18" fmla="*/ 6358560 h 6858001"/>
              <a:gd name="connsiteX19" fmla="*/ 1403013 w 12191999"/>
              <a:gd name="connsiteY19" fmla="*/ 6355023 h 6858001"/>
              <a:gd name="connsiteX20" fmla="*/ 1412506 w 12191999"/>
              <a:gd name="connsiteY20" fmla="*/ 6352847 h 6858001"/>
              <a:gd name="connsiteX21" fmla="*/ 1430281 w 12191999"/>
              <a:gd name="connsiteY21" fmla="*/ 6348735 h 6858001"/>
              <a:gd name="connsiteX22" fmla="*/ 1167698 w 12191999"/>
              <a:gd name="connsiteY22" fmla="*/ 6324309 h 6858001"/>
              <a:gd name="connsiteX23" fmla="*/ 1181150 w 12191999"/>
              <a:gd name="connsiteY23" fmla="*/ 6330446 h 6858001"/>
              <a:gd name="connsiteX24" fmla="*/ 1186561 w 12191999"/>
              <a:gd name="connsiteY24" fmla="*/ 6348493 h 6858001"/>
              <a:gd name="connsiteX25" fmla="*/ 1181180 w 12191999"/>
              <a:gd name="connsiteY25" fmla="*/ 6367297 h 6858001"/>
              <a:gd name="connsiteX26" fmla="*/ 1167698 w 12191999"/>
              <a:gd name="connsiteY26" fmla="*/ 6373464 h 6858001"/>
              <a:gd name="connsiteX27" fmla="*/ 1154154 w 12191999"/>
              <a:gd name="connsiteY27" fmla="*/ 6367327 h 6858001"/>
              <a:gd name="connsiteX28" fmla="*/ 1148773 w 12191999"/>
              <a:gd name="connsiteY28" fmla="*/ 6348856 h 6858001"/>
              <a:gd name="connsiteX29" fmla="*/ 1154154 w 12191999"/>
              <a:gd name="connsiteY29" fmla="*/ 6330415 h 6858001"/>
              <a:gd name="connsiteX30" fmla="*/ 1167698 w 12191999"/>
              <a:gd name="connsiteY30" fmla="*/ 6324309 h 6858001"/>
              <a:gd name="connsiteX31" fmla="*/ 1939646 w 12191999"/>
              <a:gd name="connsiteY31" fmla="*/ 6324248 h 6858001"/>
              <a:gd name="connsiteX32" fmla="*/ 1953129 w 12191999"/>
              <a:gd name="connsiteY32" fmla="*/ 6330536 h 6858001"/>
              <a:gd name="connsiteX33" fmla="*/ 1957240 w 12191999"/>
              <a:gd name="connsiteY33" fmla="*/ 6342689 h 6858001"/>
              <a:gd name="connsiteX34" fmla="*/ 1921387 w 12191999"/>
              <a:gd name="connsiteY34" fmla="*/ 6342689 h 6858001"/>
              <a:gd name="connsiteX35" fmla="*/ 1927040 w 12191999"/>
              <a:gd name="connsiteY35" fmla="*/ 6329267 h 6858001"/>
              <a:gd name="connsiteX36" fmla="*/ 1939646 w 12191999"/>
              <a:gd name="connsiteY36" fmla="*/ 6324248 h 6858001"/>
              <a:gd name="connsiteX37" fmla="*/ 929996 w 12191999"/>
              <a:gd name="connsiteY37" fmla="*/ 6324248 h 6858001"/>
              <a:gd name="connsiteX38" fmla="*/ 943479 w 12191999"/>
              <a:gd name="connsiteY38" fmla="*/ 6330536 h 6858001"/>
              <a:gd name="connsiteX39" fmla="*/ 947590 w 12191999"/>
              <a:gd name="connsiteY39" fmla="*/ 6342689 h 6858001"/>
              <a:gd name="connsiteX40" fmla="*/ 911736 w 12191999"/>
              <a:gd name="connsiteY40" fmla="*/ 6342689 h 6858001"/>
              <a:gd name="connsiteX41" fmla="*/ 917389 w 12191999"/>
              <a:gd name="connsiteY41" fmla="*/ 6329267 h 6858001"/>
              <a:gd name="connsiteX42" fmla="*/ 929996 w 12191999"/>
              <a:gd name="connsiteY42" fmla="*/ 6324248 h 6858001"/>
              <a:gd name="connsiteX43" fmla="*/ 635688 w 12191999"/>
              <a:gd name="connsiteY43" fmla="*/ 6324248 h 6858001"/>
              <a:gd name="connsiteX44" fmla="*/ 647750 w 12191999"/>
              <a:gd name="connsiteY44" fmla="*/ 6330234 h 6858001"/>
              <a:gd name="connsiteX45" fmla="*/ 652738 w 12191999"/>
              <a:gd name="connsiteY45" fmla="*/ 6348796 h 6858001"/>
              <a:gd name="connsiteX46" fmla="*/ 647538 w 12191999"/>
              <a:gd name="connsiteY46" fmla="*/ 6367267 h 6858001"/>
              <a:gd name="connsiteX47" fmla="*/ 635204 w 12191999"/>
              <a:gd name="connsiteY47" fmla="*/ 6373464 h 6858001"/>
              <a:gd name="connsiteX48" fmla="*/ 621298 w 12191999"/>
              <a:gd name="connsiteY48" fmla="*/ 6365060 h 6858001"/>
              <a:gd name="connsiteX49" fmla="*/ 618154 w 12191999"/>
              <a:gd name="connsiteY49" fmla="*/ 6348373 h 6858001"/>
              <a:gd name="connsiteX50" fmla="*/ 623354 w 12191999"/>
              <a:gd name="connsiteY50" fmla="*/ 6330446 h 6858001"/>
              <a:gd name="connsiteX51" fmla="*/ 635688 w 12191999"/>
              <a:gd name="connsiteY51" fmla="*/ 6324248 h 6858001"/>
              <a:gd name="connsiteX52" fmla="*/ 808324 w 12191999"/>
              <a:gd name="connsiteY52" fmla="*/ 6316751 h 6858001"/>
              <a:gd name="connsiteX53" fmla="*/ 808324 w 12191999"/>
              <a:gd name="connsiteY53" fmla="*/ 6380961 h 6858001"/>
              <a:gd name="connsiteX54" fmla="*/ 819207 w 12191999"/>
              <a:gd name="connsiteY54" fmla="*/ 6380961 h 6858001"/>
              <a:gd name="connsiteX55" fmla="*/ 819207 w 12191999"/>
              <a:gd name="connsiteY55" fmla="*/ 6316751 h 6858001"/>
              <a:gd name="connsiteX56" fmla="*/ 674672 w 12191999"/>
              <a:gd name="connsiteY56" fmla="*/ 6316751 h 6858001"/>
              <a:gd name="connsiteX57" fmla="*/ 674672 w 12191999"/>
              <a:gd name="connsiteY57" fmla="*/ 6356535 h 6858001"/>
              <a:gd name="connsiteX58" fmla="*/ 675337 w 12191999"/>
              <a:gd name="connsiteY58" fmla="*/ 6366692 h 6858001"/>
              <a:gd name="connsiteX59" fmla="*/ 678692 w 12191999"/>
              <a:gd name="connsiteY59" fmla="*/ 6374764 h 6858001"/>
              <a:gd name="connsiteX60" fmla="*/ 686008 w 12191999"/>
              <a:gd name="connsiteY60" fmla="*/ 6380236 h 6858001"/>
              <a:gd name="connsiteX61" fmla="*/ 696619 w 12191999"/>
              <a:gd name="connsiteY61" fmla="*/ 6382412 h 6858001"/>
              <a:gd name="connsiteX62" fmla="*/ 716995 w 12191999"/>
              <a:gd name="connsiteY62" fmla="*/ 6371529 h 6858001"/>
              <a:gd name="connsiteX63" fmla="*/ 716995 w 12191999"/>
              <a:gd name="connsiteY63" fmla="*/ 6380961 h 6858001"/>
              <a:gd name="connsiteX64" fmla="*/ 726729 w 12191999"/>
              <a:gd name="connsiteY64" fmla="*/ 6380961 h 6858001"/>
              <a:gd name="connsiteX65" fmla="*/ 726729 w 12191999"/>
              <a:gd name="connsiteY65" fmla="*/ 6316751 h 6858001"/>
              <a:gd name="connsiteX66" fmla="*/ 715846 w 12191999"/>
              <a:gd name="connsiteY66" fmla="*/ 6316751 h 6858001"/>
              <a:gd name="connsiteX67" fmla="*/ 715846 w 12191999"/>
              <a:gd name="connsiteY67" fmla="*/ 6351154 h 6858001"/>
              <a:gd name="connsiteX68" fmla="*/ 714062 w 12191999"/>
              <a:gd name="connsiteY68" fmla="*/ 6363700 h 6858001"/>
              <a:gd name="connsiteX69" fmla="*/ 707986 w 12191999"/>
              <a:gd name="connsiteY69" fmla="*/ 6370532 h 6858001"/>
              <a:gd name="connsiteX70" fmla="*/ 698796 w 12191999"/>
              <a:gd name="connsiteY70" fmla="*/ 6373041 h 6858001"/>
              <a:gd name="connsiteX71" fmla="*/ 690573 w 12191999"/>
              <a:gd name="connsiteY71" fmla="*/ 6370592 h 6858001"/>
              <a:gd name="connsiteX72" fmla="*/ 686220 w 12191999"/>
              <a:gd name="connsiteY72" fmla="*/ 6363851 h 6858001"/>
              <a:gd name="connsiteX73" fmla="*/ 685555 w 12191999"/>
              <a:gd name="connsiteY73" fmla="*/ 6352363 h 6858001"/>
              <a:gd name="connsiteX74" fmla="*/ 685555 w 12191999"/>
              <a:gd name="connsiteY74" fmla="*/ 6316751 h 6858001"/>
              <a:gd name="connsiteX75" fmla="*/ 2210094 w 12191999"/>
              <a:gd name="connsiteY75" fmla="*/ 6315300 h 6858001"/>
              <a:gd name="connsiteX76" fmla="*/ 2189659 w 12191999"/>
              <a:gd name="connsiteY76" fmla="*/ 6325881 h 6858001"/>
              <a:gd name="connsiteX77" fmla="*/ 2189659 w 12191999"/>
              <a:gd name="connsiteY77" fmla="*/ 6316751 h 6858001"/>
              <a:gd name="connsiteX78" fmla="*/ 2179864 w 12191999"/>
              <a:gd name="connsiteY78" fmla="*/ 6316751 h 6858001"/>
              <a:gd name="connsiteX79" fmla="*/ 2179864 w 12191999"/>
              <a:gd name="connsiteY79" fmla="*/ 6380961 h 6858001"/>
              <a:gd name="connsiteX80" fmla="*/ 2190747 w 12191999"/>
              <a:gd name="connsiteY80" fmla="*/ 6380961 h 6858001"/>
              <a:gd name="connsiteX81" fmla="*/ 2190747 w 12191999"/>
              <a:gd name="connsiteY81" fmla="*/ 6345894 h 6858001"/>
              <a:gd name="connsiteX82" fmla="*/ 2195795 w 12191999"/>
              <a:gd name="connsiteY82" fmla="*/ 6329146 h 6858001"/>
              <a:gd name="connsiteX83" fmla="*/ 2207797 w 12191999"/>
              <a:gd name="connsiteY83" fmla="*/ 6324732 h 6858001"/>
              <a:gd name="connsiteX84" fmla="*/ 2215385 w 12191999"/>
              <a:gd name="connsiteY84" fmla="*/ 6326697 h 6858001"/>
              <a:gd name="connsiteX85" fmla="*/ 2219889 w 12191999"/>
              <a:gd name="connsiteY85" fmla="*/ 6331957 h 6858001"/>
              <a:gd name="connsiteX86" fmla="*/ 2221159 w 12191999"/>
              <a:gd name="connsiteY86" fmla="*/ 6341903 h 6858001"/>
              <a:gd name="connsiteX87" fmla="*/ 2221159 w 12191999"/>
              <a:gd name="connsiteY87" fmla="*/ 6380961 h 6858001"/>
              <a:gd name="connsiteX88" fmla="*/ 2232042 w 12191999"/>
              <a:gd name="connsiteY88" fmla="*/ 6380961 h 6858001"/>
              <a:gd name="connsiteX89" fmla="*/ 2232042 w 12191999"/>
              <a:gd name="connsiteY89" fmla="*/ 6341480 h 6858001"/>
              <a:gd name="connsiteX90" fmla="*/ 2231437 w 12191999"/>
              <a:gd name="connsiteY90" fmla="*/ 6330899 h 6858001"/>
              <a:gd name="connsiteX91" fmla="*/ 2228052 w 12191999"/>
              <a:gd name="connsiteY91" fmla="*/ 6322858 h 6858001"/>
              <a:gd name="connsiteX92" fmla="*/ 2220766 w 12191999"/>
              <a:gd name="connsiteY92" fmla="*/ 6317386 h 6858001"/>
              <a:gd name="connsiteX93" fmla="*/ 2210094 w 12191999"/>
              <a:gd name="connsiteY93" fmla="*/ 6315300 h 6858001"/>
              <a:gd name="connsiteX94" fmla="*/ 2140336 w 12191999"/>
              <a:gd name="connsiteY94" fmla="*/ 6315300 h 6858001"/>
              <a:gd name="connsiteX95" fmla="*/ 2125765 w 12191999"/>
              <a:gd name="connsiteY95" fmla="*/ 6317567 h 6858001"/>
              <a:gd name="connsiteX96" fmla="*/ 2116151 w 12191999"/>
              <a:gd name="connsiteY96" fmla="*/ 6324037 h 6858001"/>
              <a:gd name="connsiteX97" fmla="*/ 2111375 w 12191999"/>
              <a:gd name="connsiteY97" fmla="*/ 6335071 h 6858001"/>
              <a:gd name="connsiteX98" fmla="*/ 2122016 w 12191999"/>
              <a:gd name="connsiteY98" fmla="*/ 6336522 h 6858001"/>
              <a:gd name="connsiteX99" fmla="*/ 2127427 w 12191999"/>
              <a:gd name="connsiteY99" fmla="*/ 6326999 h 6858001"/>
              <a:gd name="connsiteX100" fmla="*/ 2138764 w 12191999"/>
              <a:gd name="connsiteY100" fmla="*/ 6324309 h 6858001"/>
              <a:gd name="connsiteX101" fmla="*/ 2151159 w 12191999"/>
              <a:gd name="connsiteY101" fmla="*/ 6327997 h 6858001"/>
              <a:gd name="connsiteX102" fmla="*/ 2154242 w 12191999"/>
              <a:gd name="connsiteY102" fmla="*/ 6337369 h 6858001"/>
              <a:gd name="connsiteX103" fmla="*/ 2154182 w 12191999"/>
              <a:gd name="connsiteY103" fmla="*/ 6340210 h 6858001"/>
              <a:gd name="connsiteX104" fmla="*/ 2134773 w 12191999"/>
              <a:gd name="connsiteY104" fmla="*/ 6343959 h 6858001"/>
              <a:gd name="connsiteX105" fmla="*/ 2125100 w 12191999"/>
              <a:gd name="connsiteY105" fmla="*/ 6345591 h 6858001"/>
              <a:gd name="connsiteX106" fmla="*/ 2117270 w 12191999"/>
              <a:gd name="connsiteY106" fmla="*/ 6349159 h 6858001"/>
              <a:gd name="connsiteX107" fmla="*/ 2111647 w 12191999"/>
              <a:gd name="connsiteY107" fmla="*/ 6355416 h 6858001"/>
              <a:gd name="connsiteX108" fmla="*/ 2109500 w 12191999"/>
              <a:gd name="connsiteY108" fmla="*/ 6364032 h 6858001"/>
              <a:gd name="connsiteX109" fmla="*/ 2115184 w 12191999"/>
              <a:gd name="connsiteY109" fmla="*/ 6377243 h 6858001"/>
              <a:gd name="connsiteX110" fmla="*/ 2131448 w 12191999"/>
              <a:gd name="connsiteY110" fmla="*/ 6382412 h 6858001"/>
              <a:gd name="connsiteX111" fmla="*/ 2143450 w 12191999"/>
              <a:gd name="connsiteY111" fmla="*/ 6380296 h 6858001"/>
              <a:gd name="connsiteX112" fmla="*/ 2155089 w 12191999"/>
              <a:gd name="connsiteY112" fmla="*/ 6373041 h 6858001"/>
              <a:gd name="connsiteX113" fmla="*/ 2157265 w 12191999"/>
              <a:gd name="connsiteY113" fmla="*/ 6380961 h 6858001"/>
              <a:gd name="connsiteX114" fmla="*/ 2168632 w 12191999"/>
              <a:gd name="connsiteY114" fmla="*/ 6380961 h 6858001"/>
              <a:gd name="connsiteX115" fmla="*/ 2165881 w 12191999"/>
              <a:gd name="connsiteY115" fmla="*/ 6373252 h 6858001"/>
              <a:gd name="connsiteX116" fmla="*/ 2165185 w 12191999"/>
              <a:gd name="connsiteY116" fmla="*/ 6354056 h 6858001"/>
              <a:gd name="connsiteX117" fmla="*/ 2165185 w 12191999"/>
              <a:gd name="connsiteY117" fmla="*/ 6339545 h 6858001"/>
              <a:gd name="connsiteX118" fmla="*/ 2164641 w 12191999"/>
              <a:gd name="connsiteY118" fmla="*/ 6329509 h 6858001"/>
              <a:gd name="connsiteX119" fmla="*/ 2161255 w 12191999"/>
              <a:gd name="connsiteY119" fmla="*/ 6322102 h 6858001"/>
              <a:gd name="connsiteX120" fmla="*/ 2153698 w 12191999"/>
              <a:gd name="connsiteY120" fmla="*/ 6317235 h 6858001"/>
              <a:gd name="connsiteX121" fmla="*/ 2140336 w 12191999"/>
              <a:gd name="connsiteY121" fmla="*/ 6315300 h 6858001"/>
              <a:gd name="connsiteX122" fmla="*/ 2076744 w 12191999"/>
              <a:gd name="connsiteY122" fmla="*/ 6315300 h 6858001"/>
              <a:gd name="connsiteX123" fmla="*/ 2056309 w 12191999"/>
              <a:gd name="connsiteY123" fmla="*/ 6325881 h 6858001"/>
              <a:gd name="connsiteX124" fmla="*/ 2056309 w 12191999"/>
              <a:gd name="connsiteY124" fmla="*/ 6316751 h 6858001"/>
              <a:gd name="connsiteX125" fmla="*/ 2046514 w 12191999"/>
              <a:gd name="connsiteY125" fmla="*/ 6316751 h 6858001"/>
              <a:gd name="connsiteX126" fmla="*/ 2046514 w 12191999"/>
              <a:gd name="connsiteY126" fmla="*/ 6380961 h 6858001"/>
              <a:gd name="connsiteX127" fmla="*/ 2057397 w 12191999"/>
              <a:gd name="connsiteY127" fmla="*/ 6380961 h 6858001"/>
              <a:gd name="connsiteX128" fmla="*/ 2057397 w 12191999"/>
              <a:gd name="connsiteY128" fmla="*/ 6345894 h 6858001"/>
              <a:gd name="connsiteX129" fmla="*/ 2062445 w 12191999"/>
              <a:gd name="connsiteY129" fmla="*/ 6329146 h 6858001"/>
              <a:gd name="connsiteX130" fmla="*/ 2074447 w 12191999"/>
              <a:gd name="connsiteY130" fmla="*/ 6324732 h 6858001"/>
              <a:gd name="connsiteX131" fmla="*/ 2082035 w 12191999"/>
              <a:gd name="connsiteY131" fmla="*/ 6326697 h 6858001"/>
              <a:gd name="connsiteX132" fmla="*/ 2086539 w 12191999"/>
              <a:gd name="connsiteY132" fmla="*/ 6331957 h 6858001"/>
              <a:gd name="connsiteX133" fmla="*/ 2087809 w 12191999"/>
              <a:gd name="connsiteY133" fmla="*/ 6341903 h 6858001"/>
              <a:gd name="connsiteX134" fmla="*/ 2087809 w 12191999"/>
              <a:gd name="connsiteY134" fmla="*/ 6380961 h 6858001"/>
              <a:gd name="connsiteX135" fmla="*/ 2098692 w 12191999"/>
              <a:gd name="connsiteY135" fmla="*/ 6380961 h 6858001"/>
              <a:gd name="connsiteX136" fmla="*/ 2098692 w 12191999"/>
              <a:gd name="connsiteY136" fmla="*/ 6341480 h 6858001"/>
              <a:gd name="connsiteX137" fmla="*/ 2098087 w 12191999"/>
              <a:gd name="connsiteY137" fmla="*/ 6330899 h 6858001"/>
              <a:gd name="connsiteX138" fmla="*/ 2094702 w 12191999"/>
              <a:gd name="connsiteY138" fmla="*/ 6322858 h 6858001"/>
              <a:gd name="connsiteX139" fmla="*/ 2087416 w 12191999"/>
              <a:gd name="connsiteY139" fmla="*/ 6317386 h 6858001"/>
              <a:gd name="connsiteX140" fmla="*/ 2076744 w 12191999"/>
              <a:gd name="connsiteY140" fmla="*/ 6315300 h 6858001"/>
              <a:gd name="connsiteX141" fmla="*/ 2010069 w 12191999"/>
              <a:gd name="connsiteY141" fmla="*/ 6315300 h 6858001"/>
              <a:gd name="connsiteX142" fmla="*/ 1989633 w 12191999"/>
              <a:gd name="connsiteY142" fmla="*/ 6325881 h 6858001"/>
              <a:gd name="connsiteX143" fmla="*/ 1989633 w 12191999"/>
              <a:gd name="connsiteY143" fmla="*/ 6316751 h 6858001"/>
              <a:gd name="connsiteX144" fmla="*/ 1979839 w 12191999"/>
              <a:gd name="connsiteY144" fmla="*/ 6316751 h 6858001"/>
              <a:gd name="connsiteX145" fmla="*/ 1979839 w 12191999"/>
              <a:gd name="connsiteY145" fmla="*/ 6380961 h 6858001"/>
              <a:gd name="connsiteX146" fmla="*/ 1990722 w 12191999"/>
              <a:gd name="connsiteY146" fmla="*/ 6380961 h 6858001"/>
              <a:gd name="connsiteX147" fmla="*/ 1990722 w 12191999"/>
              <a:gd name="connsiteY147" fmla="*/ 6345894 h 6858001"/>
              <a:gd name="connsiteX148" fmla="*/ 1995770 w 12191999"/>
              <a:gd name="connsiteY148" fmla="*/ 6329146 h 6858001"/>
              <a:gd name="connsiteX149" fmla="*/ 2007772 w 12191999"/>
              <a:gd name="connsiteY149" fmla="*/ 6324732 h 6858001"/>
              <a:gd name="connsiteX150" fmla="*/ 2015360 w 12191999"/>
              <a:gd name="connsiteY150" fmla="*/ 6326697 h 6858001"/>
              <a:gd name="connsiteX151" fmla="*/ 2019864 w 12191999"/>
              <a:gd name="connsiteY151" fmla="*/ 6331957 h 6858001"/>
              <a:gd name="connsiteX152" fmla="*/ 2021134 w 12191999"/>
              <a:gd name="connsiteY152" fmla="*/ 6341903 h 6858001"/>
              <a:gd name="connsiteX153" fmla="*/ 2021134 w 12191999"/>
              <a:gd name="connsiteY153" fmla="*/ 6380961 h 6858001"/>
              <a:gd name="connsiteX154" fmla="*/ 2032017 w 12191999"/>
              <a:gd name="connsiteY154" fmla="*/ 6380961 h 6858001"/>
              <a:gd name="connsiteX155" fmla="*/ 2032017 w 12191999"/>
              <a:gd name="connsiteY155" fmla="*/ 6341480 h 6858001"/>
              <a:gd name="connsiteX156" fmla="*/ 2031412 w 12191999"/>
              <a:gd name="connsiteY156" fmla="*/ 6330899 h 6858001"/>
              <a:gd name="connsiteX157" fmla="*/ 2028026 w 12191999"/>
              <a:gd name="connsiteY157" fmla="*/ 6322858 h 6858001"/>
              <a:gd name="connsiteX158" fmla="*/ 2020741 w 12191999"/>
              <a:gd name="connsiteY158" fmla="*/ 6317386 h 6858001"/>
              <a:gd name="connsiteX159" fmla="*/ 2010069 w 12191999"/>
              <a:gd name="connsiteY159" fmla="*/ 6315300 h 6858001"/>
              <a:gd name="connsiteX160" fmla="*/ 1939525 w 12191999"/>
              <a:gd name="connsiteY160" fmla="*/ 6315300 h 6858001"/>
              <a:gd name="connsiteX161" fmla="*/ 1917880 w 12191999"/>
              <a:gd name="connsiteY161" fmla="*/ 6324248 h 6858001"/>
              <a:gd name="connsiteX162" fmla="*/ 1909536 w 12191999"/>
              <a:gd name="connsiteY162" fmla="*/ 6349400 h 6858001"/>
              <a:gd name="connsiteX163" fmla="*/ 1917789 w 12191999"/>
              <a:gd name="connsiteY163" fmla="*/ 6373736 h 6858001"/>
              <a:gd name="connsiteX164" fmla="*/ 1940129 w 12191999"/>
              <a:gd name="connsiteY164" fmla="*/ 6382412 h 6858001"/>
              <a:gd name="connsiteX165" fmla="*/ 1958510 w 12191999"/>
              <a:gd name="connsiteY165" fmla="*/ 6376971 h 6858001"/>
              <a:gd name="connsiteX166" fmla="*/ 1968365 w 12191999"/>
              <a:gd name="connsiteY166" fmla="*/ 6361674 h 6858001"/>
              <a:gd name="connsiteX167" fmla="*/ 1957119 w 12191999"/>
              <a:gd name="connsiteY167" fmla="*/ 6360283 h 6858001"/>
              <a:gd name="connsiteX168" fmla="*/ 1950408 w 12191999"/>
              <a:gd name="connsiteY168" fmla="*/ 6370320 h 6858001"/>
              <a:gd name="connsiteX169" fmla="*/ 1940190 w 12191999"/>
              <a:gd name="connsiteY169" fmla="*/ 6373464 h 6858001"/>
              <a:gd name="connsiteX170" fmla="*/ 1926767 w 12191999"/>
              <a:gd name="connsiteY170" fmla="*/ 6367841 h 6858001"/>
              <a:gd name="connsiteX171" fmla="*/ 1920782 w 12191999"/>
              <a:gd name="connsiteY171" fmla="*/ 6351637 h 6858001"/>
              <a:gd name="connsiteX172" fmla="*/ 1968667 w 12191999"/>
              <a:gd name="connsiteY172" fmla="*/ 6351637 h 6858001"/>
              <a:gd name="connsiteX173" fmla="*/ 1968728 w 12191999"/>
              <a:gd name="connsiteY173" fmla="*/ 6348735 h 6858001"/>
              <a:gd name="connsiteX174" fmla="*/ 1960565 w 12191999"/>
              <a:gd name="connsiteY174" fmla="*/ 6324067 h 6858001"/>
              <a:gd name="connsiteX175" fmla="*/ 1939525 w 12191999"/>
              <a:gd name="connsiteY175" fmla="*/ 6315300 h 6858001"/>
              <a:gd name="connsiteX176" fmla="*/ 1805752 w 12191999"/>
              <a:gd name="connsiteY176" fmla="*/ 6315300 h 6858001"/>
              <a:gd name="connsiteX177" fmla="*/ 1790425 w 12191999"/>
              <a:gd name="connsiteY177" fmla="*/ 6319200 h 6858001"/>
              <a:gd name="connsiteX178" fmla="*/ 1779935 w 12191999"/>
              <a:gd name="connsiteY178" fmla="*/ 6330899 h 6858001"/>
              <a:gd name="connsiteX179" fmla="*/ 1776488 w 12191999"/>
              <a:gd name="connsiteY179" fmla="*/ 6349098 h 6858001"/>
              <a:gd name="connsiteX180" fmla="*/ 1784499 w 12191999"/>
              <a:gd name="connsiteY180" fmla="*/ 6373797 h 6858001"/>
              <a:gd name="connsiteX181" fmla="*/ 1805691 w 12191999"/>
              <a:gd name="connsiteY181" fmla="*/ 6382412 h 6858001"/>
              <a:gd name="connsiteX182" fmla="*/ 1823437 w 12191999"/>
              <a:gd name="connsiteY182" fmla="*/ 6376155 h 6858001"/>
              <a:gd name="connsiteX183" fmla="*/ 1832415 w 12191999"/>
              <a:gd name="connsiteY183" fmla="*/ 6358832 h 6858001"/>
              <a:gd name="connsiteX184" fmla="*/ 1821714 w 12191999"/>
              <a:gd name="connsiteY184" fmla="*/ 6357442 h 6858001"/>
              <a:gd name="connsiteX185" fmla="*/ 1816272 w 12191999"/>
              <a:gd name="connsiteY185" fmla="*/ 6369534 h 6858001"/>
              <a:gd name="connsiteX186" fmla="*/ 1805570 w 12191999"/>
              <a:gd name="connsiteY186" fmla="*/ 6373464 h 6858001"/>
              <a:gd name="connsiteX187" fmla="*/ 1792632 w 12191999"/>
              <a:gd name="connsiteY187" fmla="*/ 6367599 h 6858001"/>
              <a:gd name="connsiteX188" fmla="*/ 1787674 w 12191999"/>
              <a:gd name="connsiteY188" fmla="*/ 6348796 h 6858001"/>
              <a:gd name="connsiteX189" fmla="*/ 1792813 w 12191999"/>
              <a:gd name="connsiteY189" fmla="*/ 6330143 h 6858001"/>
              <a:gd name="connsiteX190" fmla="*/ 1806175 w 12191999"/>
              <a:gd name="connsiteY190" fmla="*/ 6324248 h 6858001"/>
              <a:gd name="connsiteX191" fmla="*/ 1815456 w 12191999"/>
              <a:gd name="connsiteY191" fmla="*/ 6327513 h 6858001"/>
              <a:gd name="connsiteX192" fmla="*/ 1820806 w 12191999"/>
              <a:gd name="connsiteY192" fmla="*/ 6337248 h 6858001"/>
              <a:gd name="connsiteX193" fmla="*/ 1831387 w 12191999"/>
              <a:gd name="connsiteY193" fmla="*/ 6335615 h 6858001"/>
              <a:gd name="connsiteX194" fmla="*/ 1822862 w 12191999"/>
              <a:gd name="connsiteY194" fmla="*/ 6320591 h 6858001"/>
              <a:gd name="connsiteX195" fmla="*/ 1805752 w 12191999"/>
              <a:gd name="connsiteY195" fmla="*/ 6315300 h 6858001"/>
              <a:gd name="connsiteX196" fmla="*/ 1515165 w 12191999"/>
              <a:gd name="connsiteY196" fmla="*/ 6315300 h 6858001"/>
              <a:gd name="connsiteX197" fmla="*/ 1505763 w 12191999"/>
              <a:gd name="connsiteY197" fmla="*/ 6316600 h 6858001"/>
              <a:gd name="connsiteX198" fmla="*/ 1498840 w 12191999"/>
              <a:gd name="connsiteY198" fmla="*/ 6319774 h 6858001"/>
              <a:gd name="connsiteX199" fmla="*/ 1493489 w 12191999"/>
              <a:gd name="connsiteY199" fmla="*/ 6325851 h 6858001"/>
              <a:gd name="connsiteX200" fmla="*/ 1491524 w 12191999"/>
              <a:gd name="connsiteY200" fmla="*/ 6333801 h 6858001"/>
              <a:gd name="connsiteX201" fmla="*/ 1493913 w 12191999"/>
              <a:gd name="connsiteY201" fmla="*/ 6342417 h 6858001"/>
              <a:gd name="connsiteX202" fmla="*/ 1500926 w 12191999"/>
              <a:gd name="connsiteY202" fmla="*/ 6348524 h 6858001"/>
              <a:gd name="connsiteX203" fmla="*/ 1517523 w 12191999"/>
              <a:gd name="connsiteY203" fmla="*/ 6353754 h 6858001"/>
              <a:gd name="connsiteX204" fmla="*/ 1528648 w 12191999"/>
              <a:gd name="connsiteY204" fmla="*/ 6357442 h 6858001"/>
              <a:gd name="connsiteX205" fmla="*/ 1531852 w 12191999"/>
              <a:gd name="connsiteY205" fmla="*/ 6363246 h 6858001"/>
              <a:gd name="connsiteX206" fmla="*/ 1528224 w 12191999"/>
              <a:gd name="connsiteY206" fmla="*/ 6370411 h 6858001"/>
              <a:gd name="connsiteX207" fmla="*/ 1517100 w 12191999"/>
              <a:gd name="connsiteY207" fmla="*/ 6373464 h 6858001"/>
              <a:gd name="connsiteX208" fmla="*/ 1505521 w 12191999"/>
              <a:gd name="connsiteY208" fmla="*/ 6370018 h 6858001"/>
              <a:gd name="connsiteX209" fmla="*/ 1500472 w 12191999"/>
              <a:gd name="connsiteY209" fmla="*/ 6360102 h 6858001"/>
              <a:gd name="connsiteX210" fmla="*/ 1489710 w 12191999"/>
              <a:gd name="connsiteY210" fmla="*/ 6361795 h 6858001"/>
              <a:gd name="connsiteX211" fmla="*/ 1498084 w 12191999"/>
              <a:gd name="connsiteY211" fmla="*/ 6377213 h 6858001"/>
              <a:gd name="connsiteX212" fmla="*/ 1517160 w 12191999"/>
              <a:gd name="connsiteY212" fmla="*/ 6382412 h 6858001"/>
              <a:gd name="connsiteX213" fmla="*/ 1530703 w 12191999"/>
              <a:gd name="connsiteY213" fmla="*/ 6379782 h 6858001"/>
              <a:gd name="connsiteX214" fmla="*/ 1539863 w 12191999"/>
              <a:gd name="connsiteY214" fmla="*/ 6372345 h 6858001"/>
              <a:gd name="connsiteX215" fmla="*/ 1543037 w 12191999"/>
              <a:gd name="connsiteY215" fmla="*/ 6362097 h 6858001"/>
              <a:gd name="connsiteX216" fmla="*/ 1540437 w 12191999"/>
              <a:gd name="connsiteY216" fmla="*/ 6352786 h 6858001"/>
              <a:gd name="connsiteX217" fmla="*/ 1533273 w 12191999"/>
              <a:gd name="connsiteY217" fmla="*/ 6347073 h 6858001"/>
              <a:gd name="connsiteX218" fmla="*/ 1517160 w 12191999"/>
              <a:gd name="connsiteY218" fmla="*/ 6342024 h 6858001"/>
              <a:gd name="connsiteX219" fmla="*/ 1507547 w 12191999"/>
              <a:gd name="connsiteY219" fmla="*/ 6339243 h 6858001"/>
              <a:gd name="connsiteX220" fmla="*/ 1503375 w 12191999"/>
              <a:gd name="connsiteY220" fmla="*/ 6336341 h 6858001"/>
              <a:gd name="connsiteX221" fmla="*/ 1502044 w 12191999"/>
              <a:gd name="connsiteY221" fmla="*/ 6332532 h 6858001"/>
              <a:gd name="connsiteX222" fmla="*/ 1505249 w 12191999"/>
              <a:gd name="connsiteY222" fmla="*/ 6326727 h 6858001"/>
              <a:gd name="connsiteX223" fmla="*/ 1515951 w 12191999"/>
              <a:gd name="connsiteY223" fmla="*/ 6324248 h 6858001"/>
              <a:gd name="connsiteX224" fmla="*/ 1525776 w 12191999"/>
              <a:gd name="connsiteY224" fmla="*/ 6327030 h 6858001"/>
              <a:gd name="connsiteX225" fmla="*/ 1529978 w 12191999"/>
              <a:gd name="connsiteY225" fmla="*/ 6334769 h 6858001"/>
              <a:gd name="connsiteX226" fmla="*/ 1540619 w 12191999"/>
              <a:gd name="connsiteY226" fmla="*/ 6333318 h 6858001"/>
              <a:gd name="connsiteX227" fmla="*/ 1536870 w 12191999"/>
              <a:gd name="connsiteY227" fmla="*/ 6323372 h 6858001"/>
              <a:gd name="connsiteX228" fmla="*/ 1528436 w 12191999"/>
              <a:gd name="connsiteY228" fmla="*/ 6317477 h 6858001"/>
              <a:gd name="connsiteX229" fmla="*/ 1515165 w 12191999"/>
              <a:gd name="connsiteY229" fmla="*/ 6315300 h 6858001"/>
              <a:gd name="connsiteX230" fmla="*/ 1479544 w 12191999"/>
              <a:gd name="connsiteY230" fmla="*/ 6315300 h 6858001"/>
              <a:gd name="connsiteX231" fmla="*/ 1472560 w 12191999"/>
              <a:gd name="connsiteY231" fmla="*/ 6317477 h 6858001"/>
              <a:gd name="connsiteX232" fmla="*/ 1465638 w 12191999"/>
              <a:gd name="connsiteY232" fmla="*/ 6326486 h 6858001"/>
              <a:gd name="connsiteX233" fmla="*/ 1465638 w 12191999"/>
              <a:gd name="connsiteY233" fmla="*/ 6316751 h 6858001"/>
              <a:gd name="connsiteX234" fmla="*/ 1455843 w 12191999"/>
              <a:gd name="connsiteY234" fmla="*/ 6316751 h 6858001"/>
              <a:gd name="connsiteX235" fmla="*/ 1455843 w 12191999"/>
              <a:gd name="connsiteY235" fmla="*/ 6380961 h 6858001"/>
              <a:gd name="connsiteX236" fmla="*/ 1466726 w 12191999"/>
              <a:gd name="connsiteY236" fmla="*/ 6380961 h 6858001"/>
              <a:gd name="connsiteX237" fmla="*/ 1466726 w 12191999"/>
              <a:gd name="connsiteY237" fmla="*/ 6347345 h 6858001"/>
              <a:gd name="connsiteX238" fmla="*/ 1468540 w 12191999"/>
              <a:gd name="connsiteY238" fmla="*/ 6334648 h 6858001"/>
              <a:gd name="connsiteX239" fmla="*/ 1472590 w 12191999"/>
              <a:gd name="connsiteY239" fmla="*/ 6328692 h 6858001"/>
              <a:gd name="connsiteX240" fmla="*/ 1479000 w 12191999"/>
              <a:gd name="connsiteY240" fmla="*/ 6326546 h 6858001"/>
              <a:gd name="connsiteX241" fmla="*/ 1486980 w 12191999"/>
              <a:gd name="connsiteY241" fmla="*/ 6328904 h 6858001"/>
              <a:gd name="connsiteX242" fmla="*/ 1490729 w 12191999"/>
              <a:gd name="connsiteY242" fmla="*/ 6318807 h 6858001"/>
              <a:gd name="connsiteX243" fmla="*/ 1479544 w 12191999"/>
              <a:gd name="connsiteY243" fmla="*/ 6315300 h 6858001"/>
              <a:gd name="connsiteX244" fmla="*/ 1416436 w 12191999"/>
              <a:gd name="connsiteY244" fmla="*/ 6315300 h 6858001"/>
              <a:gd name="connsiteX245" fmla="*/ 1401865 w 12191999"/>
              <a:gd name="connsiteY245" fmla="*/ 6317567 h 6858001"/>
              <a:gd name="connsiteX246" fmla="*/ 1392251 w 12191999"/>
              <a:gd name="connsiteY246" fmla="*/ 6324037 h 6858001"/>
              <a:gd name="connsiteX247" fmla="*/ 1387475 w 12191999"/>
              <a:gd name="connsiteY247" fmla="*/ 6335071 h 6858001"/>
              <a:gd name="connsiteX248" fmla="*/ 1398116 w 12191999"/>
              <a:gd name="connsiteY248" fmla="*/ 6336522 h 6858001"/>
              <a:gd name="connsiteX249" fmla="*/ 1403527 w 12191999"/>
              <a:gd name="connsiteY249" fmla="*/ 6326999 h 6858001"/>
              <a:gd name="connsiteX250" fmla="*/ 1414864 w 12191999"/>
              <a:gd name="connsiteY250" fmla="*/ 6324309 h 6858001"/>
              <a:gd name="connsiteX251" fmla="*/ 1427258 w 12191999"/>
              <a:gd name="connsiteY251" fmla="*/ 6327997 h 6858001"/>
              <a:gd name="connsiteX252" fmla="*/ 1430342 w 12191999"/>
              <a:gd name="connsiteY252" fmla="*/ 6337369 h 6858001"/>
              <a:gd name="connsiteX253" fmla="*/ 1430281 w 12191999"/>
              <a:gd name="connsiteY253" fmla="*/ 6340210 h 6858001"/>
              <a:gd name="connsiteX254" fmla="*/ 1410873 w 12191999"/>
              <a:gd name="connsiteY254" fmla="*/ 6343959 h 6858001"/>
              <a:gd name="connsiteX255" fmla="*/ 1401199 w 12191999"/>
              <a:gd name="connsiteY255" fmla="*/ 6345591 h 6858001"/>
              <a:gd name="connsiteX256" fmla="*/ 1393370 w 12191999"/>
              <a:gd name="connsiteY256" fmla="*/ 6349159 h 6858001"/>
              <a:gd name="connsiteX257" fmla="*/ 1387747 w 12191999"/>
              <a:gd name="connsiteY257" fmla="*/ 6355416 h 6858001"/>
              <a:gd name="connsiteX258" fmla="*/ 1385600 w 12191999"/>
              <a:gd name="connsiteY258" fmla="*/ 6364032 h 6858001"/>
              <a:gd name="connsiteX259" fmla="*/ 1391284 w 12191999"/>
              <a:gd name="connsiteY259" fmla="*/ 6377243 h 6858001"/>
              <a:gd name="connsiteX260" fmla="*/ 1407548 w 12191999"/>
              <a:gd name="connsiteY260" fmla="*/ 6382412 h 6858001"/>
              <a:gd name="connsiteX261" fmla="*/ 1419550 w 12191999"/>
              <a:gd name="connsiteY261" fmla="*/ 6380296 h 6858001"/>
              <a:gd name="connsiteX262" fmla="*/ 1431188 w 12191999"/>
              <a:gd name="connsiteY262" fmla="*/ 6373041 h 6858001"/>
              <a:gd name="connsiteX263" fmla="*/ 1433365 w 12191999"/>
              <a:gd name="connsiteY263" fmla="*/ 6380961 h 6858001"/>
              <a:gd name="connsiteX264" fmla="*/ 1444732 w 12191999"/>
              <a:gd name="connsiteY264" fmla="*/ 6380961 h 6858001"/>
              <a:gd name="connsiteX265" fmla="*/ 1441981 w 12191999"/>
              <a:gd name="connsiteY265" fmla="*/ 6373252 h 6858001"/>
              <a:gd name="connsiteX266" fmla="*/ 1441285 w 12191999"/>
              <a:gd name="connsiteY266" fmla="*/ 6354056 h 6858001"/>
              <a:gd name="connsiteX267" fmla="*/ 1441285 w 12191999"/>
              <a:gd name="connsiteY267" fmla="*/ 6339545 h 6858001"/>
              <a:gd name="connsiteX268" fmla="*/ 1440741 w 12191999"/>
              <a:gd name="connsiteY268" fmla="*/ 6329509 h 6858001"/>
              <a:gd name="connsiteX269" fmla="*/ 1437355 w 12191999"/>
              <a:gd name="connsiteY269" fmla="*/ 6322102 h 6858001"/>
              <a:gd name="connsiteX270" fmla="*/ 1429798 w 12191999"/>
              <a:gd name="connsiteY270" fmla="*/ 6317235 h 6858001"/>
              <a:gd name="connsiteX271" fmla="*/ 1416436 w 12191999"/>
              <a:gd name="connsiteY271" fmla="*/ 6315300 h 6858001"/>
              <a:gd name="connsiteX272" fmla="*/ 1167698 w 12191999"/>
              <a:gd name="connsiteY272" fmla="*/ 6315300 h 6858001"/>
              <a:gd name="connsiteX273" fmla="*/ 1147503 w 12191999"/>
              <a:gd name="connsiteY273" fmla="*/ 6322435 h 6858001"/>
              <a:gd name="connsiteX274" fmla="*/ 1137588 w 12191999"/>
              <a:gd name="connsiteY274" fmla="*/ 6348856 h 6858001"/>
              <a:gd name="connsiteX275" fmla="*/ 1145901 w 12191999"/>
              <a:gd name="connsiteY275" fmla="*/ 6373766 h 6858001"/>
              <a:gd name="connsiteX276" fmla="*/ 1167698 w 12191999"/>
              <a:gd name="connsiteY276" fmla="*/ 6382412 h 6858001"/>
              <a:gd name="connsiteX277" fmla="*/ 1183206 w 12191999"/>
              <a:gd name="connsiteY277" fmla="*/ 6378482 h 6858001"/>
              <a:gd name="connsiteX278" fmla="*/ 1194028 w 12191999"/>
              <a:gd name="connsiteY278" fmla="*/ 6367448 h 6858001"/>
              <a:gd name="connsiteX279" fmla="*/ 1197747 w 12191999"/>
              <a:gd name="connsiteY279" fmla="*/ 6347949 h 6858001"/>
              <a:gd name="connsiteX280" fmla="*/ 1189343 w 12191999"/>
              <a:gd name="connsiteY280" fmla="*/ 6323976 h 6858001"/>
              <a:gd name="connsiteX281" fmla="*/ 1167698 w 12191999"/>
              <a:gd name="connsiteY281" fmla="*/ 6315300 h 6858001"/>
              <a:gd name="connsiteX282" fmla="*/ 1057965 w 12191999"/>
              <a:gd name="connsiteY282" fmla="*/ 6315300 h 6858001"/>
              <a:gd name="connsiteX283" fmla="*/ 1048563 w 12191999"/>
              <a:gd name="connsiteY283" fmla="*/ 6316600 h 6858001"/>
              <a:gd name="connsiteX284" fmla="*/ 1041640 w 12191999"/>
              <a:gd name="connsiteY284" fmla="*/ 6319774 h 6858001"/>
              <a:gd name="connsiteX285" fmla="*/ 1036289 w 12191999"/>
              <a:gd name="connsiteY285" fmla="*/ 6325851 h 6858001"/>
              <a:gd name="connsiteX286" fmla="*/ 1034324 w 12191999"/>
              <a:gd name="connsiteY286" fmla="*/ 6333801 h 6858001"/>
              <a:gd name="connsiteX287" fmla="*/ 1036712 w 12191999"/>
              <a:gd name="connsiteY287" fmla="*/ 6342417 h 6858001"/>
              <a:gd name="connsiteX288" fmla="*/ 1043726 w 12191999"/>
              <a:gd name="connsiteY288" fmla="*/ 6348524 h 6858001"/>
              <a:gd name="connsiteX289" fmla="*/ 1060323 w 12191999"/>
              <a:gd name="connsiteY289" fmla="*/ 6353754 h 6858001"/>
              <a:gd name="connsiteX290" fmla="*/ 1071447 w 12191999"/>
              <a:gd name="connsiteY290" fmla="*/ 6357442 h 6858001"/>
              <a:gd name="connsiteX291" fmla="*/ 1074652 w 12191999"/>
              <a:gd name="connsiteY291" fmla="*/ 6363246 h 6858001"/>
              <a:gd name="connsiteX292" fmla="*/ 1071024 w 12191999"/>
              <a:gd name="connsiteY292" fmla="*/ 6370411 h 6858001"/>
              <a:gd name="connsiteX293" fmla="*/ 1059899 w 12191999"/>
              <a:gd name="connsiteY293" fmla="*/ 6373464 h 6858001"/>
              <a:gd name="connsiteX294" fmla="*/ 1048321 w 12191999"/>
              <a:gd name="connsiteY294" fmla="*/ 6370018 h 6858001"/>
              <a:gd name="connsiteX295" fmla="*/ 1043272 w 12191999"/>
              <a:gd name="connsiteY295" fmla="*/ 6360102 h 6858001"/>
              <a:gd name="connsiteX296" fmla="*/ 1032510 w 12191999"/>
              <a:gd name="connsiteY296" fmla="*/ 6361795 h 6858001"/>
              <a:gd name="connsiteX297" fmla="*/ 1040884 w 12191999"/>
              <a:gd name="connsiteY297" fmla="*/ 6377213 h 6858001"/>
              <a:gd name="connsiteX298" fmla="*/ 1059960 w 12191999"/>
              <a:gd name="connsiteY298" fmla="*/ 6382412 h 6858001"/>
              <a:gd name="connsiteX299" fmla="*/ 1073503 w 12191999"/>
              <a:gd name="connsiteY299" fmla="*/ 6379782 h 6858001"/>
              <a:gd name="connsiteX300" fmla="*/ 1082663 w 12191999"/>
              <a:gd name="connsiteY300" fmla="*/ 6372345 h 6858001"/>
              <a:gd name="connsiteX301" fmla="*/ 1085837 w 12191999"/>
              <a:gd name="connsiteY301" fmla="*/ 6362097 h 6858001"/>
              <a:gd name="connsiteX302" fmla="*/ 1083237 w 12191999"/>
              <a:gd name="connsiteY302" fmla="*/ 6352786 h 6858001"/>
              <a:gd name="connsiteX303" fmla="*/ 1076073 w 12191999"/>
              <a:gd name="connsiteY303" fmla="*/ 6347073 h 6858001"/>
              <a:gd name="connsiteX304" fmla="*/ 1059960 w 12191999"/>
              <a:gd name="connsiteY304" fmla="*/ 6342024 h 6858001"/>
              <a:gd name="connsiteX305" fmla="*/ 1050346 w 12191999"/>
              <a:gd name="connsiteY305" fmla="*/ 6339243 h 6858001"/>
              <a:gd name="connsiteX306" fmla="*/ 1046175 w 12191999"/>
              <a:gd name="connsiteY306" fmla="*/ 6336341 h 6858001"/>
              <a:gd name="connsiteX307" fmla="*/ 1044844 w 12191999"/>
              <a:gd name="connsiteY307" fmla="*/ 6332532 h 6858001"/>
              <a:gd name="connsiteX308" fmla="*/ 1048049 w 12191999"/>
              <a:gd name="connsiteY308" fmla="*/ 6326727 h 6858001"/>
              <a:gd name="connsiteX309" fmla="*/ 1058751 w 12191999"/>
              <a:gd name="connsiteY309" fmla="*/ 6324248 h 6858001"/>
              <a:gd name="connsiteX310" fmla="*/ 1068576 w 12191999"/>
              <a:gd name="connsiteY310" fmla="*/ 6327030 h 6858001"/>
              <a:gd name="connsiteX311" fmla="*/ 1072778 w 12191999"/>
              <a:gd name="connsiteY311" fmla="*/ 6334769 h 6858001"/>
              <a:gd name="connsiteX312" fmla="*/ 1083419 w 12191999"/>
              <a:gd name="connsiteY312" fmla="*/ 6333318 h 6858001"/>
              <a:gd name="connsiteX313" fmla="*/ 1079670 w 12191999"/>
              <a:gd name="connsiteY313" fmla="*/ 6323372 h 6858001"/>
              <a:gd name="connsiteX314" fmla="*/ 1071236 w 12191999"/>
              <a:gd name="connsiteY314" fmla="*/ 6317477 h 6858001"/>
              <a:gd name="connsiteX315" fmla="*/ 1057965 w 12191999"/>
              <a:gd name="connsiteY315" fmla="*/ 6315300 h 6858001"/>
              <a:gd name="connsiteX316" fmla="*/ 991290 w 12191999"/>
              <a:gd name="connsiteY316" fmla="*/ 6315300 h 6858001"/>
              <a:gd name="connsiteX317" fmla="*/ 981888 w 12191999"/>
              <a:gd name="connsiteY317" fmla="*/ 6316600 h 6858001"/>
              <a:gd name="connsiteX318" fmla="*/ 974965 w 12191999"/>
              <a:gd name="connsiteY318" fmla="*/ 6319774 h 6858001"/>
              <a:gd name="connsiteX319" fmla="*/ 969614 w 12191999"/>
              <a:gd name="connsiteY319" fmla="*/ 6325851 h 6858001"/>
              <a:gd name="connsiteX320" fmla="*/ 967649 w 12191999"/>
              <a:gd name="connsiteY320" fmla="*/ 6333801 h 6858001"/>
              <a:gd name="connsiteX321" fmla="*/ 970037 w 12191999"/>
              <a:gd name="connsiteY321" fmla="*/ 6342417 h 6858001"/>
              <a:gd name="connsiteX322" fmla="*/ 977051 w 12191999"/>
              <a:gd name="connsiteY322" fmla="*/ 6348524 h 6858001"/>
              <a:gd name="connsiteX323" fmla="*/ 993648 w 12191999"/>
              <a:gd name="connsiteY323" fmla="*/ 6353754 h 6858001"/>
              <a:gd name="connsiteX324" fmla="*/ 1004772 w 12191999"/>
              <a:gd name="connsiteY324" fmla="*/ 6357442 h 6858001"/>
              <a:gd name="connsiteX325" fmla="*/ 1007977 w 12191999"/>
              <a:gd name="connsiteY325" fmla="*/ 6363246 h 6858001"/>
              <a:gd name="connsiteX326" fmla="*/ 1004349 w 12191999"/>
              <a:gd name="connsiteY326" fmla="*/ 6370411 h 6858001"/>
              <a:gd name="connsiteX327" fmla="*/ 993224 w 12191999"/>
              <a:gd name="connsiteY327" fmla="*/ 6373464 h 6858001"/>
              <a:gd name="connsiteX328" fmla="*/ 981646 w 12191999"/>
              <a:gd name="connsiteY328" fmla="*/ 6370018 h 6858001"/>
              <a:gd name="connsiteX329" fmla="*/ 976598 w 12191999"/>
              <a:gd name="connsiteY329" fmla="*/ 6360102 h 6858001"/>
              <a:gd name="connsiteX330" fmla="*/ 965835 w 12191999"/>
              <a:gd name="connsiteY330" fmla="*/ 6361795 h 6858001"/>
              <a:gd name="connsiteX331" fmla="*/ 974209 w 12191999"/>
              <a:gd name="connsiteY331" fmla="*/ 6377213 h 6858001"/>
              <a:gd name="connsiteX332" fmla="*/ 993285 w 12191999"/>
              <a:gd name="connsiteY332" fmla="*/ 6382412 h 6858001"/>
              <a:gd name="connsiteX333" fmla="*/ 1006828 w 12191999"/>
              <a:gd name="connsiteY333" fmla="*/ 6379782 h 6858001"/>
              <a:gd name="connsiteX334" fmla="*/ 1015988 w 12191999"/>
              <a:gd name="connsiteY334" fmla="*/ 6372345 h 6858001"/>
              <a:gd name="connsiteX335" fmla="*/ 1019162 w 12191999"/>
              <a:gd name="connsiteY335" fmla="*/ 6362097 h 6858001"/>
              <a:gd name="connsiteX336" fmla="*/ 1016562 w 12191999"/>
              <a:gd name="connsiteY336" fmla="*/ 6352786 h 6858001"/>
              <a:gd name="connsiteX337" fmla="*/ 1009398 w 12191999"/>
              <a:gd name="connsiteY337" fmla="*/ 6347073 h 6858001"/>
              <a:gd name="connsiteX338" fmla="*/ 993285 w 12191999"/>
              <a:gd name="connsiteY338" fmla="*/ 6342024 h 6858001"/>
              <a:gd name="connsiteX339" fmla="*/ 983671 w 12191999"/>
              <a:gd name="connsiteY339" fmla="*/ 6339243 h 6858001"/>
              <a:gd name="connsiteX340" fmla="*/ 979500 w 12191999"/>
              <a:gd name="connsiteY340" fmla="*/ 6336341 h 6858001"/>
              <a:gd name="connsiteX341" fmla="*/ 978170 w 12191999"/>
              <a:gd name="connsiteY341" fmla="*/ 6332532 h 6858001"/>
              <a:gd name="connsiteX342" fmla="*/ 981374 w 12191999"/>
              <a:gd name="connsiteY342" fmla="*/ 6326727 h 6858001"/>
              <a:gd name="connsiteX343" fmla="*/ 992076 w 12191999"/>
              <a:gd name="connsiteY343" fmla="*/ 6324248 h 6858001"/>
              <a:gd name="connsiteX344" fmla="*/ 1001900 w 12191999"/>
              <a:gd name="connsiteY344" fmla="*/ 6327030 h 6858001"/>
              <a:gd name="connsiteX345" fmla="*/ 1006103 w 12191999"/>
              <a:gd name="connsiteY345" fmla="*/ 6334769 h 6858001"/>
              <a:gd name="connsiteX346" fmla="*/ 1016744 w 12191999"/>
              <a:gd name="connsiteY346" fmla="*/ 6333318 h 6858001"/>
              <a:gd name="connsiteX347" fmla="*/ 1012995 w 12191999"/>
              <a:gd name="connsiteY347" fmla="*/ 6323372 h 6858001"/>
              <a:gd name="connsiteX348" fmla="*/ 1004561 w 12191999"/>
              <a:gd name="connsiteY348" fmla="*/ 6317477 h 6858001"/>
              <a:gd name="connsiteX349" fmla="*/ 991290 w 12191999"/>
              <a:gd name="connsiteY349" fmla="*/ 6315300 h 6858001"/>
              <a:gd name="connsiteX350" fmla="*/ 929875 w 12191999"/>
              <a:gd name="connsiteY350" fmla="*/ 6315300 h 6858001"/>
              <a:gd name="connsiteX351" fmla="*/ 908229 w 12191999"/>
              <a:gd name="connsiteY351" fmla="*/ 6324248 h 6858001"/>
              <a:gd name="connsiteX352" fmla="*/ 899886 w 12191999"/>
              <a:gd name="connsiteY352" fmla="*/ 6349400 h 6858001"/>
              <a:gd name="connsiteX353" fmla="*/ 908139 w 12191999"/>
              <a:gd name="connsiteY353" fmla="*/ 6373736 h 6858001"/>
              <a:gd name="connsiteX354" fmla="*/ 930479 w 12191999"/>
              <a:gd name="connsiteY354" fmla="*/ 6382412 h 6858001"/>
              <a:gd name="connsiteX355" fmla="*/ 948860 w 12191999"/>
              <a:gd name="connsiteY355" fmla="*/ 6376971 h 6858001"/>
              <a:gd name="connsiteX356" fmla="*/ 958715 w 12191999"/>
              <a:gd name="connsiteY356" fmla="*/ 6361674 h 6858001"/>
              <a:gd name="connsiteX357" fmla="*/ 947469 w 12191999"/>
              <a:gd name="connsiteY357" fmla="*/ 6360283 h 6858001"/>
              <a:gd name="connsiteX358" fmla="*/ 940758 w 12191999"/>
              <a:gd name="connsiteY358" fmla="*/ 6370320 h 6858001"/>
              <a:gd name="connsiteX359" fmla="*/ 930540 w 12191999"/>
              <a:gd name="connsiteY359" fmla="*/ 6373464 h 6858001"/>
              <a:gd name="connsiteX360" fmla="*/ 917117 w 12191999"/>
              <a:gd name="connsiteY360" fmla="*/ 6367841 h 6858001"/>
              <a:gd name="connsiteX361" fmla="*/ 911132 w 12191999"/>
              <a:gd name="connsiteY361" fmla="*/ 6351637 h 6858001"/>
              <a:gd name="connsiteX362" fmla="*/ 959017 w 12191999"/>
              <a:gd name="connsiteY362" fmla="*/ 6351637 h 6858001"/>
              <a:gd name="connsiteX363" fmla="*/ 959078 w 12191999"/>
              <a:gd name="connsiteY363" fmla="*/ 6348735 h 6858001"/>
              <a:gd name="connsiteX364" fmla="*/ 950915 w 12191999"/>
              <a:gd name="connsiteY364" fmla="*/ 6324067 h 6858001"/>
              <a:gd name="connsiteX365" fmla="*/ 929875 w 12191999"/>
              <a:gd name="connsiteY365" fmla="*/ 6315300 h 6858001"/>
              <a:gd name="connsiteX366" fmla="*/ 867069 w 12191999"/>
              <a:gd name="connsiteY366" fmla="*/ 6315300 h 6858001"/>
              <a:gd name="connsiteX367" fmla="*/ 846633 w 12191999"/>
              <a:gd name="connsiteY367" fmla="*/ 6325881 h 6858001"/>
              <a:gd name="connsiteX368" fmla="*/ 846633 w 12191999"/>
              <a:gd name="connsiteY368" fmla="*/ 6316751 h 6858001"/>
              <a:gd name="connsiteX369" fmla="*/ 836839 w 12191999"/>
              <a:gd name="connsiteY369" fmla="*/ 6316751 h 6858001"/>
              <a:gd name="connsiteX370" fmla="*/ 836839 w 12191999"/>
              <a:gd name="connsiteY370" fmla="*/ 6380961 h 6858001"/>
              <a:gd name="connsiteX371" fmla="*/ 847722 w 12191999"/>
              <a:gd name="connsiteY371" fmla="*/ 6380961 h 6858001"/>
              <a:gd name="connsiteX372" fmla="*/ 847722 w 12191999"/>
              <a:gd name="connsiteY372" fmla="*/ 6345894 h 6858001"/>
              <a:gd name="connsiteX373" fmla="*/ 852770 w 12191999"/>
              <a:gd name="connsiteY373" fmla="*/ 6329146 h 6858001"/>
              <a:gd name="connsiteX374" fmla="*/ 864772 w 12191999"/>
              <a:gd name="connsiteY374" fmla="*/ 6324732 h 6858001"/>
              <a:gd name="connsiteX375" fmla="*/ 872360 w 12191999"/>
              <a:gd name="connsiteY375" fmla="*/ 6326697 h 6858001"/>
              <a:gd name="connsiteX376" fmla="*/ 876864 w 12191999"/>
              <a:gd name="connsiteY376" fmla="*/ 6331957 h 6858001"/>
              <a:gd name="connsiteX377" fmla="*/ 878134 w 12191999"/>
              <a:gd name="connsiteY377" fmla="*/ 6341903 h 6858001"/>
              <a:gd name="connsiteX378" fmla="*/ 878134 w 12191999"/>
              <a:gd name="connsiteY378" fmla="*/ 6380961 h 6858001"/>
              <a:gd name="connsiteX379" fmla="*/ 889017 w 12191999"/>
              <a:gd name="connsiteY379" fmla="*/ 6380961 h 6858001"/>
              <a:gd name="connsiteX380" fmla="*/ 889017 w 12191999"/>
              <a:gd name="connsiteY380" fmla="*/ 6341480 h 6858001"/>
              <a:gd name="connsiteX381" fmla="*/ 888412 w 12191999"/>
              <a:gd name="connsiteY381" fmla="*/ 6330899 h 6858001"/>
              <a:gd name="connsiteX382" fmla="*/ 885026 w 12191999"/>
              <a:gd name="connsiteY382" fmla="*/ 6322858 h 6858001"/>
              <a:gd name="connsiteX383" fmla="*/ 877741 w 12191999"/>
              <a:gd name="connsiteY383" fmla="*/ 6317386 h 6858001"/>
              <a:gd name="connsiteX384" fmla="*/ 867069 w 12191999"/>
              <a:gd name="connsiteY384" fmla="*/ 6315300 h 6858001"/>
              <a:gd name="connsiteX385" fmla="*/ 762690 w 12191999"/>
              <a:gd name="connsiteY385" fmla="*/ 6315300 h 6858001"/>
              <a:gd name="connsiteX386" fmla="*/ 753288 w 12191999"/>
              <a:gd name="connsiteY386" fmla="*/ 6316600 h 6858001"/>
              <a:gd name="connsiteX387" fmla="*/ 746365 w 12191999"/>
              <a:gd name="connsiteY387" fmla="*/ 6319774 h 6858001"/>
              <a:gd name="connsiteX388" fmla="*/ 741014 w 12191999"/>
              <a:gd name="connsiteY388" fmla="*/ 6325851 h 6858001"/>
              <a:gd name="connsiteX389" fmla="*/ 739049 w 12191999"/>
              <a:gd name="connsiteY389" fmla="*/ 6333801 h 6858001"/>
              <a:gd name="connsiteX390" fmla="*/ 741437 w 12191999"/>
              <a:gd name="connsiteY390" fmla="*/ 6342417 h 6858001"/>
              <a:gd name="connsiteX391" fmla="*/ 748451 w 12191999"/>
              <a:gd name="connsiteY391" fmla="*/ 6348524 h 6858001"/>
              <a:gd name="connsiteX392" fmla="*/ 765048 w 12191999"/>
              <a:gd name="connsiteY392" fmla="*/ 6353754 h 6858001"/>
              <a:gd name="connsiteX393" fmla="*/ 776172 w 12191999"/>
              <a:gd name="connsiteY393" fmla="*/ 6357442 h 6858001"/>
              <a:gd name="connsiteX394" fmla="*/ 779377 w 12191999"/>
              <a:gd name="connsiteY394" fmla="*/ 6363246 h 6858001"/>
              <a:gd name="connsiteX395" fmla="*/ 775749 w 12191999"/>
              <a:gd name="connsiteY395" fmla="*/ 6370411 h 6858001"/>
              <a:gd name="connsiteX396" fmla="*/ 764624 w 12191999"/>
              <a:gd name="connsiteY396" fmla="*/ 6373464 h 6858001"/>
              <a:gd name="connsiteX397" fmla="*/ 753046 w 12191999"/>
              <a:gd name="connsiteY397" fmla="*/ 6370018 h 6858001"/>
              <a:gd name="connsiteX398" fmla="*/ 747997 w 12191999"/>
              <a:gd name="connsiteY398" fmla="*/ 6360102 h 6858001"/>
              <a:gd name="connsiteX399" fmla="*/ 737235 w 12191999"/>
              <a:gd name="connsiteY399" fmla="*/ 6361795 h 6858001"/>
              <a:gd name="connsiteX400" fmla="*/ 745609 w 12191999"/>
              <a:gd name="connsiteY400" fmla="*/ 6377213 h 6858001"/>
              <a:gd name="connsiteX401" fmla="*/ 764685 w 12191999"/>
              <a:gd name="connsiteY401" fmla="*/ 6382412 h 6858001"/>
              <a:gd name="connsiteX402" fmla="*/ 778228 w 12191999"/>
              <a:gd name="connsiteY402" fmla="*/ 6379782 h 6858001"/>
              <a:gd name="connsiteX403" fmla="*/ 787388 w 12191999"/>
              <a:gd name="connsiteY403" fmla="*/ 6372345 h 6858001"/>
              <a:gd name="connsiteX404" fmla="*/ 790562 w 12191999"/>
              <a:gd name="connsiteY404" fmla="*/ 6362097 h 6858001"/>
              <a:gd name="connsiteX405" fmla="*/ 787962 w 12191999"/>
              <a:gd name="connsiteY405" fmla="*/ 6352786 h 6858001"/>
              <a:gd name="connsiteX406" fmla="*/ 780798 w 12191999"/>
              <a:gd name="connsiteY406" fmla="*/ 6347073 h 6858001"/>
              <a:gd name="connsiteX407" fmla="*/ 764685 w 12191999"/>
              <a:gd name="connsiteY407" fmla="*/ 6342024 h 6858001"/>
              <a:gd name="connsiteX408" fmla="*/ 755071 w 12191999"/>
              <a:gd name="connsiteY408" fmla="*/ 6339243 h 6858001"/>
              <a:gd name="connsiteX409" fmla="*/ 750900 w 12191999"/>
              <a:gd name="connsiteY409" fmla="*/ 6336341 h 6858001"/>
              <a:gd name="connsiteX410" fmla="*/ 749569 w 12191999"/>
              <a:gd name="connsiteY410" fmla="*/ 6332532 h 6858001"/>
              <a:gd name="connsiteX411" fmla="*/ 752774 w 12191999"/>
              <a:gd name="connsiteY411" fmla="*/ 6326727 h 6858001"/>
              <a:gd name="connsiteX412" fmla="*/ 763476 w 12191999"/>
              <a:gd name="connsiteY412" fmla="*/ 6324248 h 6858001"/>
              <a:gd name="connsiteX413" fmla="*/ 773301 w 12191999"/>
              <a:gd name="connsiteY413" fmla="*/ 6327030 h 6858001"/>
              <a:gd name="connsiteX414" fmla="*/ 777503 w 12191999"/>
              <a:gd name="connsiteY414" fmla="*/ 6334769 h 6858001"/>
              <a:gd name="connsiteX415" fmla="*/ 788144 w 12191999"/>
              <a:gd name="connsiteY415" fmla="*/ 6333318 h 6858001"/>
              <a:gd name="connsiteX416" fmla="*/ 784395 w 12191999"/>
              <a:gd name="connsiteY416" fmla="*/ 6323372 h 6858001"/>
              <a:gd name="connsiteX417" fmla="*/ 775961 w 12191999"/>
              <a:gd name="connsiteY417" fmla="*/ 6317477 h 6858001"/>
              <a:gd name="connsiteX418" fmla="*/ 762690 w 12191999"/>
              <a:gd name="connsiteY418" fmla="*/ 6315300 h 6858001"/>
              <a:gd name="connsiteX419" fmla="*/ 525681 w 12191999"/>
              <a:gd name="connsiteY419" fmla="*/ 6301636 h 6858001"/>
              <a:gd name="connsiteX420" fmla="*/ 531969 w 12191999"/>
              <a:gd name="connsiteY420" fmla="*/ 6320016 h 6858001"/>
              <a:gd name="connsiteX421" fmla="*/ 541219 w 12191999"/>
              <a:gd name="connsiteY421" fmla="*/ 6344563 h 6858001"/>
              <a:gd name="connsiteX422" fmla="*/ 511170 w 12191999"/>
              <a:gd name="connsiteY422" fmla="*/ 6344563 h 6858001"/>
              <a:gd name="connsiteX423" fmla="*/ 520904 w 12191999"/>
              <a:gd name="connsiteY423" fmla="*/ 6318565 h 6858001"/>
              <a:gd name="connsiteX424" fmla="*/ 525681 w 12191999"/>
              <a:gd name="connsiteY424" fmla="*/ 6301636 h 6858001"/>
              <a:gd name="connsiteX425" fmla="*/ 1847396 w 12191999"/>
              <a:gd name="connsiteY425" fmla="*/ 6292325 h 6858001"/>
              <a:gd name="connsiteX426" fmla="*/ 1847396 w 12191999"/>
              <a:gd name="connsiteY426" fmla="*/ 6380961 h 6858001"/>
              <a:gd name="connsiteX427" fmla="*/ 1902778 w 12191999"/>
              <a:gd name="connsiteY427" fmla="*/ 6380961 h 6858001"/>
              <a:gd name="connsiteX428" fmla="*/ 1902778 w 12191999"/>
              <a:gd name="connsiteY428" fmla="*/ 6370501 h 6858001"/>
              <a:gd name="connsiteX429" fmla="*/ 1859125 w 12191999"/>
              <a:gd name="connsiteY429" fmla="*/ 6370501 h 6858001"/>
              <a:gd name="connsiteX430" fmla="*/ 1859125 w 12191999"/>
              <a:gd name="connsiteY430" fmla="*/ 6292325 h 6858001"/>
              <a:gd name="connsiteX431" fmla="*/ 1676067 w 12191999"/>
              <a:gd name="connsiteY431" fmla="*/ 6292325 h 6858001"/>
              <a:gd name="connsiteX432" fmla="*/ 1676067 w 12191999"/>
              <a:gd name="connsiteY432" fmla="*/ 6380961 h 6858001"/>
              <a:gd name="connsiteX433" fmla="*/ 1687373 w 12191999"/>
              <a:gd name="connsiteY433" fmla="*/ 6380961 h 6858001"/>
              <a:gd name="connsiteX434" fmla="*/ 1687373 w 12191999"/>
              <a:gd name="connsiteY434" fmla="*/ 6305505 h 6858001"/>
              <a:gd name="connsiteX435" fmla="*/ 1713008 w 12191999"/>
              <a:gd name="connsiteY435" fmla="*/ 6380961 h 6858001"/>
              <a:gd name="connsiteX436" fmla="*/ 1723589 w 12191999"/>
              <a:gd name="connsiteY436" fmla="*/ 6380961 h 6858001"/>
              <a:gd name="connsiteX437" fmla="*/ 1749346 w 12191999"/>
              <a:gd name="connsiteY437" fmla="*/ 6306775 h 6858001"/>
              <a:gd name="connsiteX438" fmla="*/ 1749346 w 12191999"/>
              <a:gd name="connsiteY438" fmla="*/ 6380961 h 6858001"/>
              <a:gd name="connsiteX439" fmla="*/ 1760652 w 12191999"/>
              <a:gd name="connsiteY439" fmla="*/ 6380961 h 6858001"/>
              <a:gd name="connsiteX440" fmla="*/ 1760652 w 12191999"/>
              <a:gd name="connsiteY440" fmla="*/ 6292325 h 6858001"/>
              <a:gd name="connsiteX441" fmla="*/ 1744872 w 12191999"/>
              <a:gd name="connsiteY441" fmla="*/ 6292325 h 6858001"/>
              <a:gd name="connsiteX442" fmla="*/ 1723650 w 12191999"/>
              <a:gd name="connsiteY442" fmla="*/ 6353995 h 6858001"/>
              <a:gd name="connsiteX443" fmla="*/ 1718933 w 12191999"/>
              <a:gd name="connsiteY443" fmla="*/ 6368204 h 6858001"/>
              <a:gd name="connsiteX444" fmla="*/ 1714701 w 12191999"/>
              <a:gd name="connsiteY444" fmla="*/ 6355084 h 6858001"/>
              <a:gd name="connsiteX445" fmla="*/ 1693721 w 12191999"/>
              <a:gd name="connsiteY445" fmla="*/ 6292325 h 6858001"/>
              <a:gd name="connsiteX446" fmla="*/ 1560739 w 12191999"/>
              <a:gd name="connsiteY446" fmla="*/ 6292325 h 6858001"/>
              <a:gd name="connsiteX447" fmla="*/ 1560739 w 12191999"/>
              <a:gd name="connsiteY447" fmla="*/ 6380961 h 6858001"/>
              <a:gd name="connsiteX448" fmla="*/ 1571622 w 12191999"/>
              <a:gd name="connsiteY448" fmla="*/ 6380961 h 6858001"/>
              <a:gd name="connsiteX449" fmla="*/ 1571622 w 12191999"/>
              <a:gd name="connsiteY449" fmla="*/ 6345833 h 6858001"/>
              <a:gd name="connsiteX450" fmla="*/ 1573435 w 12191999"/>
              <a:gd name="connsiteY450" fmla="*/ 6333983 h 6858001"/>
              <a:gd name="connsiteX451" fmla="*/ 1579512 w 12191999"/>
              <a:gd name="connsiteY451" fmla="*/ 6327181 h 6858001"/>
              <a:gd name="connsiteX452" fmla="*/ 1588611 w 12191999"/>
              <a:gd name="connsiteY452" fmla="*/ 6324672 h 6858001"/>
              <a:gd name="connsiteX453" fmla="*/ 1598618 w 12191999"/>
              <a:gd name="connsiteY453" fmla="*/ 6328390 h 6858001"/>
              <a:gd name="connsiteX454" fmla="*/ 1602155 w 12191999"/>
              <a:gd name="connsiteY454" fmla="*/ 6340271 h 6858001"/>
              <a:gd name="connsiteX455" fmla="*/ 1602155 w 12191999"/>
              <a:gd name="connsiteY455" fmla="*/ 6380961 h 6858001"/>
              <a:gd name="connsiteX456" fmla="*/ 1613038 w 12191999"/>
              <a:gd name="connsiteY456" fmla="*/ 6380961 h 6858001"/>
              <a:gd name="connsiteX457" fmla="*/ 1613038 w 12191999"/>
              <a:gd name="connsiteY457" fmla="*/ 6340271 h 6858001"/>
              <a:gd name="connsiteX458" fmla="*/ 1610771 w 12191999"/>
              <a:gd name="connsiteY458" fmla="*/ 6325881 h 6858001"/>
              <a:gd name="connsiteX459" fmla="*/ 1603243 w 12191999"/>
              <a:gd name="connsiteY459" fmla="*/ 6318112 h 6858001"/>
              <a:gd name="connsiteX460" fmla="*/ 1590848 w 12191999"/>
              <a:gd name="connsiteY460" fmla="*/ 6315300 h 6858001"/>
              <a:gd name="connsiteX461" fmla="*/ 1571622 w 12191999"/>
              <a:gd name="connsiteY461" fmla="*/ 6324128 h 6858001"/>
              <a:gd name="connsiteX462" fmla="*/ 1571622 w 12191999"/>
              <a:gd name="connsiteY462" fmla="*/ 6292325 h 6858001"/>
              <a:gd name="connsiteX463" fmla="*/ 1285542 w 12191999"/>
              <a:gd name="connsiteY463" fmla="*/ 6292325 h 6858001"/>
              <a:gd name="connsiteX464" fmla="*/ 1285542 w 12191999"/>
              <a:gd name="connsiteY464" fmla="*/ 6380961 h 6858001"/>
              <a:gd name="connsiteX465" fmla="*/ 1296848 w 12191999"/>
              <a:gd name="connsiteY465" fmla="*/ 6380961 h 6858001"/>
              <a:gd name="connsiteX466" fmla="*/ 1296848 w 12191999"/>
              <a:gd name="connsiteY466" fmla="*/ 6305505 h 6858001"/>
              <a:gd name="connsiteX467" fmla="*/ 1322484 w 12191999"/>
              <a:gd name="connsiteY467" fmla="*/ 6380961 h 6858001"/>
              <a:gd name="connsiteX468" fmla="*/ 1333064 w 12191999"/>
              <a:gd name="connsiteY468" fmla="*/ 6380961 h 6858001"/>
              <a:gd name="connsiteX469" fmla="*/ 1358821 w 12191999"/>
              <a:gd name="connsiteY469" fmla="*/ 6306775 h 6858001"/>
              <a:gd name="connsiteX470" fmla="*/ 1358821 w 12191999"/>
              <a:gd name="connsiteY470" fmla="*/ 6380961 h 6858001"/>
              <a:gd name="connsiteX471" fmla="*/ 1370127 w 12191999"/>
              <a:gd name="connsiteY471" fmla="*/ 6380961 h 6858001"/>
              <a:gd name="connsiteX472" fmla="*/ 1370127 w 12191999"/>
              <a:gd name="connsiteY472" fmla="*/ 6292325 h 6858001"/>
              <a:gd name="connsiteX473" fmla="*/ 1354347 w 12191999"/>
              <a:gd name="connsiteY473" fmla="*/ 6292325 h 6858001"/>
              <a:gd name="connsiteX474" fmla="*/ 1333125 w 12191999"/>
              <a:gd name="connsiteY474" fmla="*/ 6353995 h 6858001"/>
              <a:gd name="connsiteX475" fmla="*/ 1328409 w 12191999"/>
              <a:gd name="connsiteY475" fmla="*/ 6368204 h 6858001"/>
              <a:gd name="connsiteX476" fmla="*/ 1324176 w 12191999"/>
              <a:gd name="connsiteY476" fmla="*/ 6355084 h 6858001"/>
              <a:gd name="connsiteX477" fmla="*/ 1303196 w 12191999"/>
              <a:gd name="connsiteY477" fmla="*/ 6292325 h 6858001"/>
              <a:gd name="connsiteX478" fmla="*/ 808324 w 12191999"/>
              <a:gd name="connsiteY478" fmla="*/ 6292325 h 6858001"/>
              <a:gd name="connsiteX479" fmla="*/ 808324 w 12191999"/>
              <a:gd name="connsiteY479" fmla="*/ 6304840 h 6858001"/>
              <a:gd name="connsiteX480" fmla="*/ 819207 w 12191999"/>
              <a:gd name="connsiteY480" fmla="*/ 6304840 h 6858001"/>
              <a:gd name="connsiteX481" fmla="*/ 819207 w 12191999"/>
              <a:gd name="connsiteY481" fmla="*/ 6292325 h 6858001"/>
              <a:gd name="connsiteX482" fmla="*/ 608178 w 12191999"/>
              <a:gd name="connsiteY482" fmla="*/ 6292325 h 6858001"/>
              <a:gd name="connsiteX483" fmla="*/ 608178 w 12191999"/>
              <a:gd name="connsiteY483" fmla="*/ 6380961 h 6858001"/>
              <a:gd name="connsiteX484" fmla="*/ 618275 w 12191999"/>
              <a:gd name="connsiteY484" fmla="*/ 6380961 h 6858001"/>
              <a:gd name="connsiteX485" fmla="*/ 618275 w 12191999"/>
              <a:gd name="connsiteY485" fmla="*/ 6372920 h 6858001"/>
              <a:gd name="connsiteX486" fmla="*/ 636111 w 12191999"/>
              <a:gd name="connsiteY486" fmla="*/ 6382412 h 6858001"/>
              <a:gd name="connsiteX487" fmla="*/ 655701 w 12191999"/>
              <a:gd name="connsiteY487" fmla="*/ 6373404 h 6858001"/>
              <a:gd name="connsiteX488" fmla="*/ 663863 w 12191999"/>
              <a:gd name="connsiteY488" fmla="*/ 6347889 h 6858001"/>
              <a:gd name="connsiteX489" fmla="*/ 661928 w 12191999"/>
              <a:gd name="connsiteY489" fmla="*/ 6334829 h 6858001"/>
              <a:gd name="connsiteX490" fmla="*/ 656577 w 12191999"/>
              <a:gd name="connsiteY490" fmla="*/ 6324400 h 6858001"/>
              <a:gd name="connsiteX491" fmla="*/ 647871 w 12191999"/>
              <a:gd name="connsiteY491" fmla="*/ 6317688 h 6858001"/>
              <a:gd name="connsiteX492" fmla="*/ 636655 w 12191999"/>
              <a:gd name="connsiteY492" fmla="*/ 6315300 h 6858001"/>
              <a:gd name="connsiteX493" fmla="*/ 619061 w 12191999"/>
              <a:gd name="connsiteY493" fmla="*/ 6323946 h 6858001"/>
              <a:gd name="connsiteX494" fmla="*/ 619061 w 12191999"/>
              <a:gd name="connsiteY494" fmla="*/ 6292325 h 6858001"/>
              <a:gd name="connsiteX495" fmla="*/ 519635 w 12191999"/>
              <a:gd name="connsiteY495" fmla="*/ 6292325 h 6858001"/>
              <a:gd name="connsiteX496" fmla="*/ 485595 w 12191999"/>
              <a:gd name="connsiteY496" fmla="*/ 6380961 h 6858001"/>
              <a:gd name="connsiteX497" fmla="*/ 498050 w 12191999"/>
              <a:gd name="connsiteY497" fmla="*/ 6380961 h 6858001"/>
              <a:gd name="connsiteX498" fmla="*/ 507784 w 12191999"/>
              <a:gd name="connsiteY498" fmla="*/ 6354116 h 6858001"/>
              <a:gd name="connsiteX499" fmla="*/ 544847 w 12191999"/>
              <a:gd name="connsiteY499" fmla="*/ 6354116 h 6858001"/>
              <a:gd name="connsiteX500" fmla="*/ 555186 w 12191999"/>
              <a:gd name="connsiteY500" fmla="*/ 6380961 h 6858001"/>
              <a:gd name="connsiteX501" fmla="*/ 568548 w 12191999"/>
              <a:gd name="connsiteY501" fmla="*/ 6380961 h 6858001"/>
              <a:gd name="connsiteX502" fmla="*/ 532271 w 12191999"/>
              <a:gd name="connsiteY502" fmla="*/ 6292325 h 6858001"/>
              <a:gd name="connsiteX503" fmla="*/ 1228689 w 12191999"/>
              <a:gd name="connsiteY503" fmla="*/ 6290813 h 6858001"/>
              <a:gd name="connsiteX504" fmla="*/ 1217594 w 12191999"/>
              <a:gd name="connsiteY504" fmla="*/ 6293443 h 6858001"/>
              <a:gd name="connsiteX505" fmla="*/ 1212062 w 12191999"/>
              <a:gd name="connsiteY505" fmla="*/ 6300306 h 6858001"/>
              <a:gd name="connsiteX506" fmla="*/ 1210914 w 12191999"/>
              <a:gd name="connsiteY506" fmla="*/ 6309919 h 6858001"/>
              <a:gd name="connsiteX507" fmla="*/ 1210914 w 12191999"/>
              <a:gd name="connsiteY507" fmla="*/ 6316751 h 6858001"/>
              <a:gd name="connsiteX508" fmla="*/ 1201300 w 12191999"/>
              <a:gd name="connsiteY508" fmla="*/ 6316751 h 6858001"/>
              <a:gd name="connsiteX509" fmla="*/ 1201300 w 12191999"/>
              <a:gd name="connsiteY509" fmla="*/ 6325216 h 6858001"/>
              <a:gd name="connsiteX510" fmla="*/ 1210914 w 12191999"/>
              <a:gd name="connsiteY510" fmla="*/ 6325216 h 6858001"/>
              <a:gd name="connsiteX511" fmla="*/ 1210914 w 12191999"/>
              <a:gd name="connsiteY511" fmla="*/ 6380961 h 6858001"/>
              <a:gd name="connsiteX512" fmla="*/ 1221736 w 12191999"/>
              <a:gd name="connsiteY512" fmla="*/ 6380961 h 6858001"/>
              <a:gd name="connsiteX513" fmla="*/ 1221736 w 12191999"/>
              <a:gd name="connsiteY513" fmla="*/ 6325216 h 6858001"/>
              <a:gd name="connsiteX514" fmla="*/ 1234252 w 12191999"/>
              <a:gd name="connsiteY514" fmla="*/ 6325216 h 6858001"/>
              <a:gd name="connsiteX515" fmla="*/ 1234252 w 12191999"/>
              <a:gd name="connsiteY515" fmla="*/ 6316751 h 6858001"/>
              <a:gd name="connsiteX516" fmla="*/ 1221736 w 12191999"/>
              <a:gd name="connsiteY516" fmla="*/ 6316751 h 6858001"/>
              <a:gd name="connsiteX517" fmla="*/ 1221736 w 12191999"/>
              <a:gd name="connsiteY517" fmla="*/ 6310826 h 6858001"/>
              <a:gd name="connsiteX518" fmla="*/ 1223792 w 12191999"/>
              <a:gd name="connsiteY518" fmla="*/ 6302906 h 6858001"/>
              <a:gd name="connsiteX519" fmla="*/ 1230805 w 12191999"/>
              <a:gd name="connsiteY519" fmla="*/ 6300789 h 6858001"/>
              <a:gd name="connsiteX520" fmla="*/ 1237214 w 12191999"/>
              <a:gd name="connsiteY520" fmla="*/ 6301394 h 6858001"/>
              <a:gd name="connsiteX521" fmla="*/ 1238847 w 12191999"/>
              <a:gd name="connsiteY521" fmla="*/ 6291902 h 6858001"/>
              <a:gd name="connsiteX522" fmla="*/ 1228689 w 12191999"/>
              <a:gd name="connsiteY522" fmla="*/ 6290813 h 6858001"/>
              <a:gd name="connsiteX523" fmla="*/ 7175501 w 12191999"/>
              <a:gd name="connsiteY523" fmla="*/ 1 h 6858001"/>
              <a:gd name="connsiteX524" fmla="*/ 12191999 w 12191999"/>
              <a:gd name="connsiteY524" fmla="*/ 1 h 6858001"/>
              <a:gd name="connsiteX525" fmla="*/ 12191999 w 12191999"/>
              <a:gd name="connsiteY525" fmla="*/ 6858001 h 6858001"/>
              <a:gd name="connsiteX526" fmla="*/ 1 w 12191999"/>
              <a:gd name="connsiteY526" fmla="*/ 6858001 h 6858001"/>
              <a:gd name="connsiteX527" fmla="*/ 1 w 12191999"/>
              <a:gd name="connsiteY527" fmla="*/ 5752619 h 6858001"/>
              <a:gd name="connsiteX528" fmla="*/ 7175501 w 12191999"/>
              <a:gd name="connsiteY528" fmla="*/ 5752619 h 6858001"/>
              <a:gd name="connsiteX529" fmla="*/ 0 w 12191999"/>
              <a:gd name="connsiteY529" fmla="*/ 0 h 6858001"/>
              <a:gd name="connsiteX530" fmla="*/ 7175501 w 12191999"/>
              <a:gd name="connsiteY530" fmla="*/ 0 h 6858001"/>
              <a:gd name="connsiteX531" fmla="*/ 7175501 w 12191999"/>
              <a:gd name="connsiteY531" fmla="*/ 1 h 6858001"/>
              <a:gd name="connsiteX532" fmla="*/ 1 w 12191999"/>
              <a:gd name="connsiteY532" fmla="*/ 1 h 6858001"/>
              <a:gd name="connsiteX533" fmla="*/ 1 w 12191999"/>
              <a:gd name="connsiteY533" fmla="*/ 5752619 h 6858001"/>
              <a:gd name="connsiteX534" fmla="*/ 0 w 12191999"/>
              <a:gd name="connsiteY534" fmla="*/ 575261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Lst>
            <a:rect l="l" t="t" r="r" b="b"/>
            <a:pathLst>
              <a:path w="12191999" h="6858001">
                <a:moveTo>
                  <a:pt x="2154182" y="6348735"/>
                </a:moveTo>
                <a:lnTo>
                  <a:pt x="2154182" y="6352726"/>
                </a:lnTo>
                <a:cubicBezTo>
                  <a:pt x="2154182" y="6357522"/>
                  <a:pt x="2153597" y="6361150"/>
                  <a:pt x="2152428" y="6363609"/>
                </a:cubicBezTo>
                <a:cubicBezTo>
                  <a:pt x="2150896" y="6366793"/>
                  <a:pt x="2148498" y="6369302"/>
                  <a:pt x="2145233" y="6371136"/>
                </a:cubicBezTo>
                <a:cubicBezTo>
                  <a:pt x="2141968" y="6372970"/>
                  <a:pt x="2138240" y="6373887"/>
                  <a:pt x="2134048" y="6373887"/>
                </a:cubicBezTo>
                <a:cubicBezTo>
                  <a:pt x="2129816" y="6373887"/>
                  <a:pt x="2126601" y="6372920"/>
                  <a:pt x="2124404" y="6370985"/>
                </a:cubicBezTo>
                <a:cubicBezTo>
                  <a:pt x="2122207" y="6369050"/>
                  <a:pt x="2121109" y="6366632"/>
                  <a:pt x="2121109" y="6363730"/>
                </a:cubicBezTo>
                <a:cubicBezTo>
                  <a:pt x="2121109" y="6361835"/>
                  <a:pt x="2121613" y="6360112"/>
                  <a:pt x="2122621" y="6358560"/>
                </a:cubicBezTo>
                <a:cubicBezTo>
                  <a:pt x="2123628" y="6357008"/>
                  <a:pt x="2125059" y="6355829"/>
                  <a:pt x="2126913" y="6355023"/>
                </a:cubicBezTo>
                <a:cubicBezTo>
                  <a:pt x="2128768" y="6354217"/>
                  <a:pt x="2131932" y="6353492"/>
                  <a:pt x="2136406" y="6352847"/>
                </a:cubicBezTo>
                <a:cubicBezTo>
                  <a:pt x="2144306" y="6351718"/>
                  <a:pt x="2150231" y="6350348"/>
                  <a:pt x="2154182" y="6348735"/>
                </a:cubicBezTo>
                <a:close/>
                <a:moveTo>
                  <a:pt x="1430281" y="6348735"/>
                </a:moveTo>
                <a:lnTo>
                  <a:pt x="1430281" y="6352726"/>
                </a:lnTo>
                <a:cubicBezTo>
                  <a:pt x="1430281" y="6357522"/>
                  <a:pt x="1429697" y="6361150"/>
                  <a:pt x="1428528" y="6363609"/>
                </a:cubicBezTo>
                <a:cubicBezTo>
                  <a:pt x="1426997" y="6366793"/>
                  <a:pt x="1424598" y="6369302"/>
                  <a:pt x="1421333" y="6371136"/>
                </a:cubicBezTo>
                <a:cubicBezTo>
                  <a:pt x="1418068" y="6372970"/>
                  <a:pt x="1414340" y="6373887"/>
                  <a:pt x="1410148" y="6373887"/>
                </a:cubicBezTo>
                <a:cubicBezTo>
                  <a:pt x="1405916" y="6373887"/>
                  <a:pt x="1402701" y="6372920"/>
                  <a:pt x="1400504" y="6370985"/>
                </a:cubicBezTo>
                <a:cubicBezTo>
                  <a:pt x="1398308" y="6369050"/>
                  <a:pt x="1397209" y="6366632"/>
                  <a:pt x="1397209" y="6363730"/>
                </a:cubicBezTo>
                <a:cubicBezTo>
                  <a:pt x="1397209" y="6361835"/>
                  <a:pt x="1397713" y="6360112"/>
                  <a:pt x="1398721" y="6358560"/>
                </a:cubicBezTo>
                <a:cubicBezTo>
                  <a:pt x="1399728" y="6357008"/>
                  <a:pt x="1401159" y="6355829"/>
                  <a:pt x="1403013" y="6355023"/>
                </a:cubicBezTo>
                <a:cubicBezTo>
                  <a:pt x="1404867" y="6354217"/>
                  <a:pt x="1408032" y="6353492"/>
                  <a:pt x="1412506" y="6352847"/>
                </a:cubicBezTo>
                <a:cubicBezTo>
                  <a:pt x="1420406" y="6351718"/>
                  <a:pt x="1426331" y="6350348"/>
                  <a:pt x="1430281" y="6348735"/>
                </a:cubicBezTo>
                <a:close/>
                <a:moveTo>
                  <a:pt x="1167698" y="6324309"/>
                </a:moveTo>
                <a:cubicBezTo>
                  <a:pt x="1173058" y="6324309"/>
                  <a:pt x="1177543" y="6326355"/>
                  <a:pt x="1181150" y="6330446"/>
                </a:cubicBezTo>
                <a:cubicBezTo>
                  <a:pt x="1184758" y="6334537"/>
                  <a:pt x="1186561" y="6340553"/>
                  <a:pt x="1186561" y="6348493"/>
                </a:cubicBezTo>
                <a:cubicBezTo>
                  <a:pt x="1186561" y="6356918"/>
                  <a:pt x="1184768" y="6363186"/>
                  <a:pt x="1181180" y="6367297"/>
                </a:cubicBezTo>
                <a:cubicBezTo>
                  <a:pt x="1177593" y="6371408"/>
                  <a:pt x="1173099" y="6373464"/>
                  <a:pt x="1167698" y="6373464"/>
                </a:cubicBezTo>
                <a:cubicBezTo>
                  <a:pt x="1162256" y="6373464"/>
                  <a:pt x="1157741" y="6371418"/>
                  <a:pt x="1154154" y="6367327"/>
                </a:cubicBezTo>
                <a:cubicBezTo>
                  <a:pt x="1150567" y="6363236"/>
                  <a:pt x="1148773" y="6357079"/>
                  <a:pt x="1148773" y="6348856"/>
                </a:cubicBezTo>
                <a:cubicBezTo>
                  <a:pt x="1148773" y="6340633"/>
                  <a:pt x="1150567" y="6334487"/>
                  <a:pt x="1154154" y="6330415"/>
                </a:cubicBezTo>
                <a:cubicBezTo>
                  <a:pt x="1157741" y="6326344"/>
                  <a:pt x="1162256" y="6324309"/>
                  <a:pt x="1167698" y="6324309"/>
                </a:cubicBezTo>
                <a:close/>
                <a:moveTo>
                  <a:pt x="1939646" y="6324248"/>
                </a:moveTo>
                <a:cubicBezTo>
                  <a:pt x="1945168" y="6324248"/>
                  <a:pt x="1949662" y="6326344"/>
                  <a:pt x="1953129" y="6330536"/>
                </a:cubicBezTo>
                <a:cubicBezTo>
                  <a:pt x="1955386" y="6333237"/>
                  <a:pt x="1956756" y="6337288"/>
                  <a:pt x="1957240" y="6342689"/>
                </a:cubicBezTo>
                <a:lnTo>
                  <a:pt x="1921387" y="6342689"/>
                </a:lnTo>
                <a:cubicBezTo>
                  <a:pt x="1921749" y="6337086"/>
                  <a:pt x="1923634" y="6332612"/>
                  <a:pt x="1927040" y="6329267"/>
                </a:cubicBezTo>
                <a:cubicBezTo>
                  <a:pt x="1930445" y="6325921"/>
                  <a:pt x="1934648" y="6324248"/>
                  <a:pt x="1939646" y="6324248"/>
                </a:cubicBezTo>
                <a:close/>
                <a:moveTo>
                  <a:pt x="929996" y="6324248"/>
                </a:moveTo>
                <a:cubicBezTo>
                  <a:pt x="935518" y="6324248"/>
                  <a:pt x="940012" y="6326344"/>
                  <a:pt x="943479" y="6330536"/>
                </a:cubicBezTo>
                <a:cubicBezTo>
                  <a:pt x="945736" y="6333237"/>
                  <a:pt x="947106" y="6337288"/>
                  <a:pt x="947590" y="6342689"/>
                </a:cubicBezTo>
                <a:lnTo>
                  <a:pt x="911736" y="6342689"/>
                </a:lnTo>
                <a:cubicBezTo>
                  <a:pt x="912099" y="6337086"/>
                  <a:pt x="913983" y="6332612"/>
                  <a:pt x="917389" y="6329267"/>
                </a:cubicBezTo>
                <a:cubicBezTo>
                  <a:pt x="920795" y="6325921"/>
                  <a:pt x="924997" y="6324248"/>
                  <a:pt x="929996" y="6324248"/>
                </a:cubicBezTo>
                <a:close/>
                <a:moveTo>
                  <a:pt x="635688" y="6324248"/>
                </a:moveTo>
                <a:cubicBezTo>
                  <a:pt x="640404" y="6324248"/>
                  <a:pt x="644425" y="6326244"/>
                  <a:pt x="647750" y="6330234"/>
                </a:cubicBezTo>
                <a:cubicBezTo>
                  <a:pt x="651075" y="6334225"/>
                  <a:pt x="652738" y="6340412"/>
                  <a:pt x="652738" y="6348796"/>
                </a:cubicBezTo>
                <a:cubicBezTo>
                  <a:pt x="652738" y="6356978"/>
                  <a:pt x="651005" y="6363135"/>
                  <a:pt x="647538" y="6367267"/>
                </a:cubicBezTo>
                <a:cubicBezTo>
                  <a:pt x="644072" y="6371398"/>
                  <a:pt x="639961" y="6373464"/>
                  <a:pt x="635204" y="6373464"/>
                </a:cubicBezTo>
                <a:cubicBezTo>
                  <a:pt x="629360" y="6373464"/>
                  <a:pt x="624724" y="6370663"/>
                  <a:pt x="621298" y="6365060"/>
                </a:cubicBezTo>
                <a:cubicBezTo>
                  <a:pt x="619202" y="6361634"/>
                  <a:pt x="618154" y="6356071"/>
                  <a:pt x="618154" y="6348373"/>
                </a:cubicBezTo>
                <a:cubicBezTo>
                  <a:pt x="618154" y="6340553"/>
                  <a:pt x="619887" y="6334577"/>
                  <a:pt x="623354" y="6330446"/>
                </a:cubicBezTo>
                <a:cubicBezTo>
                  <a:pt x="626820" y="6326314"/>
                  <a:pt x="630932" y="6324248"/>
                  <a:pt x="635688" y="6324248"/>
                </a:cubicBezTo>
                <a:close/>
                <a:moveTo>
                  <a:pt x="808324" y="6316751"/>
                </a:moveTo>
                <a:lnTo>
                  <a:pt x="808324" y="6380961"/>
                </a:lnTo>
                <a:lnTo>
                  <a:pt x="819207" y="6380961"/>
                </a:lnTo>
                <a:lnTo>
                  <a:pt x="819207" y="6316751"/>
                </a:lnTo>
                <a:close/>
                <a:moveTo>
                  <a:pt x="674672" y="6316751"/>
                </a:moveTo>
                <a:lnTo>
                  <a:pt x="674672" y="6356535"/>
                </a:lnTo>
                <a:cubicBezTo>
                  <a:pt x="674672" y="6361170"/>
                  <a:pt x="674893" y="6364556"/>
                  <a:pt x="675337" y="6366692"/>
                </a:cubicBezTo>
                <a:cubicBezTo>
                  <a:pt x="675982" y="6369877"/>
                  <a:pt x="677100" y="6372567"/>
                  <a:pt x="678692" y="6374764"/>
                </a:cubicBezTo>
                <a:cubicBezTo>
                  <a:pt x="680284" y="6376961"/>
                  <a:pt x="682723" y="6378785"/>
                  <a:pt x="686008" y="6380236"/>
                </a:cubicBezTo>
                <a:cubicBezTo>
                  <a:pt x="689293" y="6381687"/>
                  <a:pt x="692830" y="6382412"/>
                  <a:pt x="696619" y="6382412"/>
                </a:cubicBezTo>
                <a:cubicBezTo>
                  <a:pt x="705205" y="6382412"/>
                  <a:pt x="711997" y="6378785"/>
                  <a:pt x="716995" y="6371529"/>
                </a:cubicBezTo>
                <a:lnTo>
                  <a:pt x="716995" y="6380961"/>
                </a:lnTo>
                <a:lnTo>
                  <a:pt x="726729" y="6380961"/>
                </a:lnTo>
                <a:lnTo>
                  <a:pt x="726729" y="6316751"/>
                </a:lnTo>
                <a:lnTo>
                  <a:pt x="715846" y="6316751"/>
                </a:lnTo>
                <a:lnTo>
                  <a:pt x="715846" y="6351154"/>
                </a:lnTo>
                <a:cubicBezTo>
                  <a:pt x="715846" y="6356636"/>
                  <a:pt x="715251" y="6360818"/>
                  <a:pt x="714062" y="6363700"/>
                </a:cubicBezTo>
                <a:cubicBezTo>
                  <a:pt x="712873" y="6366582"/>
                  <a:pt x="710848" y="6368859"/>
                  <a:pt x="707986" y="6370532"/>
                </a:cubicBezTo>
                <a:cubicBezTo>
                  <a:pt x="705124" y="6372204"/>
                  <a:pt x="702061" y="6373041"/>
                  <a:pt x="698796" y="6373041"/>
                </a:cubicBezTo>
                <a:cubicBezTo>
                  <a:pt x="695531" y="6373041"/>
                  <a:pt x="692790" y="6372225"/>
                  <a:pt x="690573" y="6370592"/>
                </a:cubicBezTo>
                <a:cubicBezTo>
                  <a:pt x="688356" y="6368960"/>
                  <a:pt x="686905" y="6366713"/>
                  <a:pt x="686220" y="6363851"/>
                </a:cubicBezTo>
                <a:cubicBezTo>
                  <a:pt x="685776" y="6361876"/>
                  <a:pt x="685555" y="6358046"/>
                  <a:pt x="685555" y="6352363"/>
                </a:cubicBezTo>
                <a:lnTo>
                  <a:pt x="685555" y="6316751"/>
                </a:lnTo>
                <a:close/>
                <a:moveTo>
                  <a:pt x="2210094" y="6315300"/>
                </a:moveTo>
                <a:cubicBezTo>
                  <a:pt x="2201186" y="6315300"/>
                  <a:pt x="2194374" y="6318827"/>
                  <a:pt x="2189659" y="6325881"/>
                </a:cubicBezTo>
                <a:lnTo>
                  <a:pt x="2189659" y="6316751"/>
                </a:lnTo>
                <a:lnTo>
                  <a:pt x="2179864" y="6316751"/>
                </a:lnTo>
                <a:lnTo>
                  <a:pt x="2179864" y="6380961"/>
                </a:lnTo>
                <a:lnTo>
                  <a:pt x="2190747" y="6380961"/>
                </a:lnTo>
                <a:lnTo>
                  <a:pt x="2190747" y="6345894"/>
                </a:lnTo>
                <a:cubicBezTo>
                  <a:pt x="2190747" y="6337671"/>
                  <a:pt x="2192430" y="6332088"/>
                  <a:pt x="2195795" y="6329146"/>
                </a:cubicBezTo>
                <a:cubicBezTo>
                  <a:pt x="2199161" y="6326203"/>
                  <a:pt x="2203161" y="6324732"/>
                  <a:pt x="2207797" y="6324732"/>
                </a:cubicBezTo>
                <a:cubicBezTo>
                  <a:pt x="2210699" y="6324732"/>
                  <a:pt x="2213228" y="6325387"/>
                  <a:pt x="2215385" y="6326697"/>
                </a:cubicBezTo>
                <a:cubicBezTo>
                  <a:pt x="2217541" y="6328007"/>
                  <a:pt x="2219043" y="6329761"/>
                  <a:pt x="2219889" y="6331957"/>
                </a:cubicBezTo>
                <a:cubicBezTo>
                  <a:pt x="2220735" y="6334154"/>
                  <a:pt x="2221159" y="6337469"/>
                  <a:pt x="2221159" y="6341903"/>
                </a:cubicBezTo>
                <a:lnTo>
                  <a:pt x="2221159" y="6380961"/>
                </a:lnTo>
                <a:lnTo>
                  <a:pt x="2232042" y="6380961"/>
                </a:lnTo>
                <a:lnTo>
                  <a:pt x="2232042" y="6341480"/>
                </a:lnTo>
                <a:cubicBezTo>
                  <a:pt x="2232042" y="6336441"/>
                  <a:pt x="2231840" y="6332915"/>
                  <a:pt x="2231437" y="6330899"/>
                </a:cubicBezTo>
                <a:cubicBezTo>
                  <a:pt x="2230792" y="6327796"/>
                  <a:pt x="2229664" y="6325115"/>
                  <a:pt x="2228052" y="6322858"/>
                </a:cubicBezTo>
                <a:cubicBezTo>
                  <a:pt x="2226439" y="6320601"/>
                  <a:pt x="2224011" y="6318777"/>
                  <a:pt x="2220766" y="6317386"/>
                </a:cubicBezTo>
                <a:cubicBezTo>
                  <a:pt x="2217521" y="6315995"/>
                  <a:pt x="2213964" y="6315300"/>
                  <a:pt x="2210094" y="6315300"/>
                </a:cubicBezTo>
                <a:close/>
                <a:moveTo>
                  <a:pt x="2140336" y="6315300"/>
                </a:moveTo>
                <a:cubicBezTo>
                  <a:pt x="2134814" y="6315300"/>
                  <a:pt x="2129957" y="6316056"/>
                  <a:pt x="2125765" y="6317567"/>
                </a:cubicBezTo>
                <a:cubicBezTo>
                  <a:pt x="2121573" y="6319079"/>
                  <a:pt x="2118368" y="6321235"/>
                  <a:pt x="2116151" y="6324037"/>
                </a:cubicBezTo>
                <a:cubicBezTo>
                  <a:pt x="2113934" y="6326838"/>
                  <a:pt x="2112342" y="6330516"/>
                  <a:pt x="2111375" y="6335071"/>
                </a:cubicBezTo>
                <a:lnTo>
                  <a:pt x="2122016" y="6336522"/>
                </a:lnTo>
                <a:cubicBezTo>
                  <a:pt x="2123185" y="6331967"/>
                  <a:pt x="2124989" y="6328793"/>
                  <a:pt x="2127427" y="6326999"/>
                </a:cubicBezTo>
                <a:cubicBezTo>
                  <a:pt x="2129866" y="6325206"/>
                  <a:pt x="2133645" y="6324309"/>
                  <a:pt x="2138764" y="6324309"/>
                </a:cubicBezTo>
                <a:cubicBezTo>
                  <a:pt x="2144246" y="6324309"/>
                  <a:pt x="2148377" y="6325538"/>
                  <a:pt x="2151159" y="6327997"/>
                </a:cubicBezTo>
                <a:cubicBezTo>
                  <a:pt x="2153214" y="6329811"/>
                  <a:pt x="2154242" y="6332935"/>
                  <a:pt x="2154242" y="6337369"/>
                </a:cubicBezTo>
                <a:cubicBezTo>
                  <a:pt x="2154242" y="6337772"/>
                  <a:pt x="2154222" y="6338719"/>
                  <a:pt x="2154182" y="6340210"/>
                </a:cubicBezTo>
                <a:cubicBezTo>
                  <a:pt x="2150030" y="6341661"/>
                  <a:pt x="2143560" y="6342911"/>
                  <a:pt x="2134773" y="6343959"/>
                </a:cubicBezTo>
                <a:cubicBezTo>
                  <a:pt x="2130460" y="6344483"/>
                  <a:pt x="2127236" y="6345027"/>
                  <a:pt x="2125100" y="6345591"/>
                </a:cubicBezTo>
                <a:cubicBezTo>
                  <a:pt x="2122197" y="6346397"/>
                  <a:pt x="2119587" y="6347587"/>
                  <a:pt x="2117270" y="6349159"/>
                </a:cubicBezTo>
                <a:cubicBezTo>
                  <a:pt x="2114952" y="6350731"/>
                  <a:pt x="2113078" y="6352816"/>
                  <a:pt x="2111647" y="6355416"/>
                </a:cubicBezTo>
                <a:cubicBezTo>
                  <a:pt x="2110216" y="6358016"/>
                  <a:pt x="2109500" y="6360888"/>
                  <a:pt x="2109500" y="6364032"/>
                </a:cubicBezTo>
                <a:cubicBezTo>
                  <a:pt x="2109500" y="6369393"/>
                  <a:pt x="2111395" y="6373797"/>
                  <a:pt x="2115184" y="6377243"/>
                </a:cubicBezTo>
                <a:cubicBezTo>
                  <a:pt x="2118973" y="6380689"/>
                  <a:pt x="2124394" y="6382412"/>
                  <a:pt x="2131448" y="6382412"/>
                </a:cubicBezTo>
                <a:cubicBezTo>
                  <a:pt x="2135721" y="6382412"/>
                  <a:pt x="2139721" y="6381707"/>
                  <a:pt x="2143450" y="6380296"/>
                </a:cubicBezTo>
                <a:cubicBezTo>
                  <a:pt x="2147178" y="6378885"/>
                  <a:pt x="2151058" y="6376467"/>
                  <a:pt x="2155089" y="6373041"/>
                </a:cubicBezTo>
                <a:cubicBezTo>
                  <a:pt x="2155411" y="6376064"/>
                  <a:pt x="2156136" y="6378704"/>
                  <a:pt x="2157265" y="6380961"/>
                </a:cubicBezTo>
                <a:lnTo>
                  <a:pt x="2168632" y="6380961"/>
                </a:lnTo>
                <a:cubicBezTo>
                  <a:pt x="2167261" y="6378502"/>
                  <a:pt x="2166344" y="6375933"/>
                  <a:pt x="2165881" y="6373252"/>
                </a:cubicBezTo>
                <a:cubicBezTo>
                  <a:pt x="2165417" y="6370572"/>
                  <a:pt x="2165185" y="6364173"/>
                  <a:pt x="2165185" y="6354056"/>
                </a:cubicBezTo>
                <a:lnTo>
                  <a:pt x="2165185" y="6339545"/>
                </a:lnTo>
                <a:cubicBezTo>
                  <a:pt x="2165185" y="6334708"/>
                  <a:pt x="2165004" y="6331363"/>
                  <a:pt x="2164641" y="6329509"/>
                </a:cubicBezTo>
                <a:cubicBezTo>
                  <a:pt x="2163996" y="6326526"/>
                  <a:pt x="2162868" y="6324057"/>
                  <a:pt x="2161255" y="6322102"/>
                </a:cubicBezTo>
                <a:cubicBezTo>
                  <a:pt x="2159643" y="6320147"/>
                  <a:pt x="2157124" y="6318525"/>
                  <a:pt x="2153698" y="6317235"/>
                </a:cubicBezTo>
                <a:cubicBezTo>
                  <a:pt x="2150272" y="6315945"/>
                  <a:pt x="2145818" y="6315300"/>
                  <a:pt x="2140336" y="6315300"/>
                </a:cubicBezTo>
                <a:close/>
                <a:moveTo>
                  <a:pt x="2076744" y="6315300"/>
                </a:moveTo>
                <a:cubicBezTo>
                  <a:pt x="2067836" y="6315300"/>
                  <a:pt x="2061024" y="6318827"/>
                  <a:pt x="2056309" y="6325881"/>
                </a:cubicBezTo>
                <a:lnTo>
                  <a:pt x="2056309" y="6316751"/>
                </a:lnTo>
                <a:lnTo>
                  <a:pt x="2046514" y="6316751"/>
                </a:lnTo>
                <a:lnTo>
                  <a:pt x="2046514" y="6380961"/>
                </a:lnTo>
                <a:lnTo>
                  <a:pt x="2057397" y="6380961"/>
                </a:lnTo>
                <a:lnTo>
                  <a:pt x="2057397" y="6345894"/>
                </a:lnTo>
                <a:cubicBezTo>
                  <a:pt x="2057397" y="6337671"/>
                  <a:pt x="2059079" y="6332088"/>
                  <a:pt x="2062445" y="6329146"/>
                </a:cubicBezTo>
                <a:cubicBezTo>
                  <a:pt x="2065811" y="6326203"/>
                  <a:pt x="2069811" y="6324732"/>
                  <a:pt x="2074447" y="6324732"/>
                </a:cubicBezTo>
                <a:cubicBezTo>
                  <a:pt x="2077349" y="6324732"/>
                  <a:pt x="2079878" y="6325387"/>
                  <a:pt x="2082035" y="6326697"/>
                </a:cubicBezTo>
                <a:cubicBezTo>
                  <a:pt x="2084191" y="6328007"/>
                  <a:pt x="2085692" y="6329761"/>
                  <a:pt x="2086539" y="6331957"/>
                </a:cubicBezTo>
                <a:cubicBezTo>
                  <a:pt x="2087385" y="6334154"/>
                  <a:pt x="2087809" y="6337469"/>
                  <a:pt x="2087809" y="6341903"/>
                </a:cubicBezTo>
                <a:lnTo>
                  <a:pt x="2087809" y="6380961"/>
                </a:lnTo>
                <a:lnTo>
                  <a:pt x="2098692" y="6380961"/>
                </a:lnTo>
                <a:lnTo>
                  <a:pt x="2098692" y="6341480"/>
                </a:lnTo>
                <a:cubicBezTo>
                  <a:pt x="2098692" y="6336441"/>
                  <a:pt x="2098490" y="6332915"/>
                  <a:pt x="2098087" y="6330899"/>
                </a:cubicBezTo>
                <a:cubicBezTo>
                  <a:pt x="2097442" y="6327796"/>
                  <a:pt x="2096314" y="6325115"/>
                  <a:pt x="2094702" y="6322858"/>
                </a:cubicBezTo>
                <a:cubicBezTo>
                  <a:pt x="2093089" y="6320601"/>
                  <a:pt x="2090661" y="6318777"/>
                  <a:pt x="2087416" y="6317386"/>
                </a:cubicBezTo>
                <a:cubicBezTo>
                  <a:pt x="2084171" y="6315995"/>
                  <a:pt x="2080614" y="6315300"/>
                  <a:pt x="2076744" y="6315300"/>
                </a:cubicBezTo>
                <a:close/>
                <a:moveTo>
                  <a:pt x="2010069" y="6315300"/>
                </a:moveTo>
                <a:cubicBezTo>
                  <a:pt x="2001161" y="6315300"/>
                  <a:pt x="1994349" y="6318827"/>
                  <a:pt x="1989633" y="6325881"/>
                </a:cubicBezTo>
                <a:lnTo>
                  <a:pt x="1989633" y="6316751"/>
                </a:lnTo>
                <a:lnTo>
                  <a:pt x="1979839" y="6316751"/>
                </a:lnTo>
                <a:lnTo>
                  <a:pt x="1979839" y="6380961"/>
                </a:lnTo>
                <a:lnTo>
                  <a:pt x="1990722" y="6380961"/>
                </a:lnTo>
                <a:lnTo>
                  <a:pt x="1990722" y="6345894"/>
                </a:lnTo>
                <a:cubicBezTo>
                  <a:pt x="1990722" y="6337671"/>
                  <a:pt x="1992405" y="6332088"/>
                  <a:pt x="1995770" y="6329146"/>
                </a:cubicBezTo>
                <a:cubicBezTo>
                  <a:pt x="1999136" y="6326203"/>
                  <a:pt x="2003136" y="6324732"/>
                  <a:pt x="2007772" y="6324732"/>
                </a:cubicBezTo>
                <a:cubicBezTo>
                  <a:pt x="2010674" y="6324732"/>
                  <a:pt x="2013203" y="6325387"/>
                  <a:pt x="2015360" y="6326697"/>
                </a:cubicBezTo>
                <a:cubicBezTo>
                  <a:pt x="2017516" y="6328007"/>
                  <a:pt x="2019018" y="6329761"/>
                  <a:pt x="2019864" y="6331957"/>
                </a:cubicBezTo>
                <a:cubicBezTo>
                  <a:pt x="2020710" y="6334154"/>
                  <a:pt x="2021134" y="6337469"/>
                  <a:pt x="2021134" y="6341903"/>
                </a:cubicBezTo>
                <a:lnTo>
                  <a:pt x="2021134" y="6380961"/>
                </a:lnTo>
                <a:lnTo>
                  <a:pt x="2032017" y="6380961"/>
                </a:lnTo>
                <a:lnTo>
                  <a:pt x="2032017" y="6341480"/>
                </a:lnTo>
                <a:cubicBezTo>
                  <a:pt x="2032017" y="6336441"/>
                  <a:pt x="2031815" y="6332915"/>
                  <a:pt x="2031412" y="6330899"/>
                </a:cubicBezTo>
                <a:cubicBezTo>
                  <a:pt x="2030767" y="6327796"/>
                  <a:pt x="2029639" y="6325115"/>
                  <a:pt x="2028026" y="6322858"/>
                </a:cubicBezTo>
                <a:cubicBezTo>
                  <a:pt x="2026414" y="6320601"/>
                  <a:pt x="2023985" y="6318777"/>
                  <a:pt x="2020741" y="6317386"/>
                </a:cubicBezTo>
                <a:cubicBezTo>
                  <a:pt x="2017496" y="6315995"/>
                  <a:pt x="2013939" y="6315300"/>
                  <a:pt x="2010069" y="6315300"/>
                </a:cubicBezTo>
                <a:close/>
                <a:moveTo>
                  <a:pt x="1939525" y="6315300"/>
                </a:moveTo>
                <a:cubicBezTo>
                  <a:pt x="1930657" y="6315300"/>
                  <a:pt x="1923442" y="6318283"/>
                  <a:pt x="1917880" y="6324248"/>
                </a:cubicBezTo>
                <a:cubicBezTo>
                  <a:pt x="1912317" y="6330214"/>
                  <a:pt x="1909536" y="6338598"/>
                  <a:pt x="1909536" y="6349400"/>
                </a:cubicBezTo>
                <a:cubicBezTo>
                  <a:pt x="1909536" y="6359840"/>
                  <a:pt x="1912287" y="6367952"/>
                  <a:pt x="1917789" y="6373736"/>
                </a:cubicBezTo>
                <a:cubicBezTo>
                  <a:pt x="1923291" y="6379520"/>
                  <a:pt x="1930738" y="6382412"/>
                  <a:pt x="1940129" y="6382412"/>
                </a:cubicBezTo>
                <a:cubicBezTo>
                  <a:pt x="1947586" y="6382412"/>
                  <a:pt x="1953713" y="6380598"/>
                  <a:pt x="1958510" y="6376971"/>
                </a:cubicBezTo>
                <a:cubicBezTo>
                  <a:pt x="1963306" y="6373343"/>
                  <a:pt x="1966591" y="6368244"/>
                  <a:pt x="1968365" y="6361674"/>
                </a:cubicBezTo>
                <a:lnTo>
                  <a:pt x="1957119" y="6360283"/>
                </a:lnTo>
                <a:cubicBezTo>
                  <a:pt x="1955466" y="6364879"/>
                  <a:pt x="1953229" y="6368224"/>
                  <a:pt x="1950408" y="6370320"/>
                </a:cubicBezTo>
                <a:cubicBezTo>
                  <a:pt x="1947586" y="6372416"/>
                  <a:pt x="1944180" y="6373464"/>
                  <a:pt x="1940190" y="6373464"/>
                </a:cubicBezTo>
                <a:cubicBezTo>
                  <a:pt x="1934829" y="6373464"/>
                  <a:pt x="1930355" y="6371590"/>
                  <a:pt x="1926767" y="6367841"/>
                </a:cubicBezTo>
                <a:cubicBezTo>
                  <a:pt x="1923180" y="6364093"/>
                  <a:pt x="1921185" y="6358691"/>
                  <a:pt x="1920782" y="6351637"/>
                </a:cubicBezTo>
                <a:lnTo>
                  <a:pt x="1968667" y="6351637"/>
                </a:lnTo>
                <a:cubicBezTo>
                  <a:pt x="1968707" y="6350348"/>
                  <a:pt x="1968728" y="6349380"/>
                  <a:pt x="1968728" y="6348735"/>
                </a:cubicBezTo>
                <a:cubicBezTo>
                  <a:pt x="1968728" y="6338134"/>
                  <a:pt x="1966007" y="6329912"/>
                  <a:pt x="1960565" y="6324067"/>
                </a:cubicBezTo>
                <a:cubicBezTo>
                  <a:pt x="1955124" y="6318222"/>
                  <a:pt x="1948110" y="6315300"/>
                  <a:pt x="1939525" y="6315300"/>
                </a:cubicBezTo>
                <a:close/>
                <a:moveTo>
                  <a:pt x="1805752" y="6315300"/>
                </a:moveTo>
                <a:cubicBezTo>
                  <a:pt x="1800230" y="6315300"/>
                  <a:pt x="1795120" y="6316600"/>
                  <a:pt x="1790425" y="6319200"/>
                </a:cubicBezTo>
                <a:cubicBezTo>
                  <a:pt x="1785729" y="6321800"/>
                  <a:pt x="1782232" y="6325700"/>
                  <a:pt x="1779935" y="6330899"/>
                </a:cubicBezTo>
                <a:cubicBezTo>
                  <a:pt x="1777637" y="6336099"/>
                  <a:pt x="1776488" y="6342165"/>
                  <a:pt x="1776488" y="6349098"/>
                </a:cubicBezTo>
                <a:cubicBezTo>
                  <a:pt x="1776488" y="6359820"/>
                  <a:pt x="1779159" y="6368053"/>
                  <a:pt x="1784499" y="6373797"/>
                </a:cubicBezTo>
                <a:cubicBezTo>
                  <a:pt x="1789840" y="6379540"/>
                  <a:pt x="1796904" y="6382412"/>
                  <a:pt x="1805691" y="6382412"/>
                </a:cubicBezTo>
                <a:cubicBezTo>
                  <a:pt x="1812705" y="6382412"/>
                  <a:pt x="1818620" y="6380326"/>
                  <a:pt x="1823437" y="6376155"/>
                </a:cubicBezTo>
                <a:cubicBezTo>
                  <a:pt x="1828253" y="6371983"/>
                  <a:pt x="1831246" y="6366209"/>
                  <a:pt x="1832415" y="6358832"/>
                </a:cubicBezTo>
                <a:lnTo>
                  <a:pt x="1821714" y="6357442"/>
                </a:lnTo>
                <a:cubicBezTo>
                  <a:pt x="1820948" y="6362883"/>
                  <a:pt x="1819134" y="6366914"/>
                  <a:pt x="1816272" y="6369534"/>
                </a:cubicBezTo>
                <a:cubicBezTo>
                  <a:pt x="1813410" y="6372154"/>
                  <a:pt x="1809843" y="6373464"/>
                  <a:pt x="1805570" y="6373464"/>
                </a:cubicBezTo>
                <a:cubicBezTo>
                  <a:pt x="1800250" y="6373464"/>
                  <a:pt x="1795937" y="6371509"/>
                  <a:pt x="1792632" y="6367599"/>
                </a:cubicBezTo>
                <a:cubicBezTo>
                  <a:pt x="1789326" y="6363689"/>
                  <a:pt x="1787674" y="6357422"/>
                  <a:pt x="1787674" y="6348796"/>
                </a:cubicBezTo>
                <a:cubicBezTo>
                  <a:pt x="1787674" y="6340291"/>
                  <a:pt x="1789387" y="6334073"/>
                  <a:pt x="1792813" y="6330143"/>
                </a:cubicBezTo>
                <a:cubicBezTo>
                  <a:pt x="1796239" y="6326213"/>
                  <a:pt x="1800693" y="6324248"/>
                  <a:pt x="1806175" y="6324248"/>
                </a:cubicBezTo>
                <a:cubicBezTo>
                  <a:pt x="1809803" y="6324248"/>
                  <a:pt x="1812896" y="6325337"/>
                  <a:pt x="1815456" y="6327513"/>
                </a:cubicBezTo>
                <a:cubicBezTo>
                  <a:pt x="1818015" y="6329690"/>
                  <a:pt x="1819799" y="6332935"/>
                  <a:pt x="1820806" y="6337248"/>
                </a:cubicBezTo>
                <a:lnTo>
                  <a:pt x="1831387" y="6335615"/>
                </a:lnTo>
                <a:cubicBezTo>
                  <a:pt x="1830138" y="6329126"/>
                  <a:pt x="1827296" y="6324117"/>
                  <a:pt x="1822862" y="6320591"/>
                </a:cubicBezTo>
                <a:cubicBezTo>
                  <a:pt x="1818428" y="6317064"/>
                  <a:pt x="1812725" y="6315300"/>
                  <a:pt x="1805752" y="6315300"/>
                </a:cubicBezTo>
                <a:close/>
                <a:moveTo>
                  <a:pt x="1515165" y="6315300"/>
                </a:moveTo>
                <a:cubicBezTo>
                  <a:pt x="1511819" y="6315300"/>
                  <a:pt x="1508685" y="6315733"/>
                  <a:pt x="1505763" y="6316600"/>
                </a:cubicBezTo>
                <a:cubicBezTo>
                  <a:pt x="1502840" y="6317467"/>
                  <a:pt x="1500533" y="6318525"/>
                  <a:pt x="1498840" y="6319774"/>
                </a:cubicBezTo>
                <a:cubicBezTo>
                  <a:pt x="1496583" y="6321387"/>
                  <a:pt x="1494799" y="6323412"/>
                  <a:pt x="1493489" y="6325851"/>
                </a:cubicBezTo>
                <a:cubicBezTo>
                  <a:pt x="1492179" y="6328289"/>
                  <a:pt x="1491524" y="6330939"/>
                  <a:pt x="1491524" y="6333801"/>
                </a:cubicBezTo>
                <a:cubicBezTo>
                  <a:pt x="1491524" y="6336945"/>
                  <a:pt x="1492320" y="6339817"/>
                  <a:pt x="1493913" y="6342417"/>
                </a:cubicBezTo>
                <a:cubicBezTo>
                  <a:pt x="1495505" y="6345017"/>
                  <a:pt x="1497843" y="6347052"/>
                  <a:pt x="1500926" y="6348524"/>
                </a:cubicBezTo>
                <a:cubicBezTo>
                  <a:pt x="1504009" y="6349995"/>
                  <a:pt x="1509542" y="6351738"/>
                  <a:pt x="1517523" y="6353754"/>
                </a:cubicBezTo>
                <a:cubicBezTo>
                  <a:pt x="1523448" y="6355245"/>
                  <a:pt x="1527156" y="6356474"/>
                  <a:pt x="1528648" y="6357442"/>
                </a:cubicBezTo>
                <a:cubicBezTo>
                  <a:pt x="1530784" y="6358853"/>
                  <a:pt x="1531852" y="6360787"/>
                  <a:pt x="1531852" y="6363246"/>
                </a:cubicBezTo>
                <a:cubicBezTo>
                  <a:pt x="1531852" y="6365987"/>
                  <a:pt x="1530643" y="6368375"/>
                  <a:pt x="1528224" y="6370411"/>
                </a:cubicBezTo>
                <a:cubicBezTo>
                  <a:pt x="1525806" y="6372446"/>
                  <a:pt x="1522097" y="6373464"/>
                  <a:pt x="1517100" y="6373464"/>
                </a:cubicBezTo>
                <a:cubicBezTo>
                  <a:pt x="1512141" y="6373464"/>
                  <a:pt x="1508282" y="6372315"/>
                  <a:pt x="1505521" y="6370018"/>
                </a:cubicBezTo>
                <a:cubicBezTo>
                  <a:pt x="1502760" y="6367720"/>
                  <a:pt x="1501077" y="6364415"/>
                  <a:pt x="1500472" y="6360102"/>
                </a:cubicBezTo>
                <a:lnTo>
                  <a:pt x="1489710" y="6361795"/>
                </a:lnTo>
                <a:cubicBezTo>
                  <a:pt x="1490920" y="6368607"/>
                  <a:pt x="1493711" y="6373746"/>
                  <a:pt x="1498084" y="6377213"/>
                </a:cubicBezTo>
                <a:cubicBezTo>
                  <a:pt x="1502458" y="6380679"/>
                  <a:pt x="1508816" y="6382412"/>
                  <a:pt x="1517160" y="6382412"/>
                </a:cubicBezTo>
                <a:cubicBezTo>
                  <a:pt x="1522198" y="6382412"/>
                  <a:pt x="1526713" y="6381536"/>
                  <a:pt x="1530703" y="6379782"/>
                </a:cubicBezTo>
                <a:cubicBezTo>
                  <a:pt x="1534694" y="6378029"/>
                  <a:pt x="1537747" y="6375550"/>
                  <a:pt x="1539863" y="6372345"/>
                </a:cubicBezTo>
                <a:cubicBezTo>
                  <a:pt x="1541979" y="6369141"/>
                  <a:pt x="1543037" y="6365725"/>
                  <a:pt x="1543037" y="6362097"/>
                </a:cubicBezTo>
                <a:cubicBezTo>
                  <a:pt x="1543037" y="6358389"/>
                  <a:pt x="1542171" y="6355285"/>
                  <a:pt x="1540437" y="6352786"/>
                </a:cubicBezTo>
                <a:cubicBezTo>
                  <a:pt x="1538704" y="6350287"/>
                  <a:pt x="1536316" y="6348383"/>
                  <a:pt x="1533273" y="6347073"/>
                </a:cubicBezTo>
                <a:cubicBezTo>
                  <a:pt x="1530230" y="6345763"/>
                  <a:pt x="1524859" y="6344080"/>
                  <a:pt x="1517160" y="6342024"/>
                </a:cubicBezTo>
                <a:cubicBezTo>
                  <a:pt x="1511839" y="6340573"/>
                  <a:pt x="1508635" y="6339646"/>
                  <a:pt x="1507547" y="6339243"/>
                </a:cubicBezTo>
                <a:cubicBezTo>
                  <a:pt x="1505652" y="6338477"/>
                  <a:pt x="1504261" y="6337510"/>
                  <a:pt x="1503375" y="6336341"/>
                </a:cubicBezTo>
                <a:cubicBezTo>
                  <a:pt x="1502488" y="6335212"/>
                  <a:pt x="1502044" y="6333942"/>
                  <a:pt x="1502044" y="6332532"/>
                </a:cubicBezTo>
                <a:cubicBezTo>
                  <a:pt x="1502044" y="6330315"/>
                  <a:pt x="1503113" y="6328380"/>
                  <a:pt x="1505249" y="6326727"/>
                </a:cubicBezTo>
                <a:cubicBezTo>
                  <a:pt x="1507385" y="6325075"/>
                  <a:pt x="1510953" y="6324248"/>
                  <a:pt x="1515951" y="6324248"/>
                </a:cubicBezTo>
                <a:cubicBezTo>
                  <a:pt x="1520183" y="6324248"/>
                  <a:pt x="1523458" y="6325176"/>
                  <a:pt x="1525776" y="6327030"/>
                </a:cubicBezTo>
                <a:cubicBezTo>
                  <a:pt x="1528093" y="6328884"/>
                  <a:pt x="1529494" y="6331463"/>
                  <a:pt x="1529978" y="6334769"/>
                </a:cubicBezTo>
                <a:lnTo>
                  <a:pt x="1540619" y="6333318"/>
                </a:lnTo>
                <a:cubicBezTo>
                  <a:pt x="1539934" y="6329166"/>
                  <a:pt x="1538684" y="6325851"/>
                  <a:pt x="1536870" y="6323372"/>
                </a:cubicBezTo>
                <a:cubicBezTo>
                  <a:pt x="1535056" y="6320893"/>
                  <a:pt x="1532245" y="6318928"/>
                  <a:pt x="1528436" y="6317477"/>
                </a:cubicBezTo>
                <a:cubicBezTo>
                  <a:pt x="1524627" y="6316026"/>
                  <a:pt x="1520203" y="6315300"/>
                  <a:pt x="1515165" y="6315300"/>
                </a:cubicBezTo>
                <a:close/>
                <a:moveTo>
                  <a:pt x="1479544" y="6315300"/>
                </a:moveTo>
                <a:cubicBezTo>
                  <a:pt x="1477004" y="6315300"/>
                  <a:pt x="1474676" y="6316026"/>
                  <a:pt x="1472560" y="6317477"/>
                </a:cubicBezTo>
                <a:cubicBezTo>
                  <a:pt x="1470444" y="6318928"/>
                  <a:pt x="1468136" y="6321931"/>
                  <a:pt x="1465638" y="6326486"/>
                </a:cubicBezTo>
                <a:lnTo>
                  <a:pt x="1465638" y="6316751"/>
                </a:lnTo>
                <a:lnTo>
                  <a:pt x="1455843" y="6316751"/>
                </a:lnTo>
                <a:lnTo>
                  <a:pt x="1455843" y="6380961"/>
                </a:lnTo>
                <a:lnTo>
                  <a:pt x="1466726" y="6380961"/>
                </a:lnTo>
                <a:lnTo>
                  <a:pt x="1466726" y="6347345"/>
                </a:lnTo>
                <a:cubicBezTo>
                  <a:pt x="1466726" y="6342750"/>
                  <a:pt x="1467330" y="6338517"/>
                  <a:pt x="1468540" y="6334648"/>
                </a:cubicBezTo>
                <a:cubicBezTo>
                  <a:pt x="1469346" y="6332108"/>
                  <a:pt x="1470696" y="6330123"/>
                  <a:pt x="1472590" y="6328692"/>
                </a:cubicBezTo>
                <a:cubicBezTo>
                  <a:pt x="1474485" y="6327261"/>
                  <a:pt x="1476621" y="6326546"/>
                  <a:pt x="1479000" y="6326546"/>
                </a:cubicBezTo>
                <a:cubicBezTo>
                  <a:pt x="1481660" y="6326546"/>
                  <a:pt x="1484320" y="6327332"/>
                  <a:pt x="1486980" y="6328904"/>
                </a:cubicBezTo>
                <a:lnTo>
                  <a:pt x="1490729" y="6318807"/>
                </a:lnTo>
                <a:cubicBezTo>
                  <a:pt x="1486940" y="6316469"/>
                  <a:pt x="1483212" y="6315300"/>
                  <a:pt x="1479544" y="6315300"/>
                </a:cubicBezTo>
                <a:close/>
                <a:moveTo>
                  <a:pt x="1416436" y="6315300"/>
                </a:moveTo>
                <a:cubicBezTo>
                  <a:pt x="1410914" y="6315300"/>
                  <a:pt x="1406057" y="6316056"/>
                  <a:pt x="1401865" y="6317567"/>
                </a:cubicBezTo>
                <a:cubicBezTo>
                  <a:pt x="1397673" y="6319079"/>
                  <a:pt x="1394468" y="6321235"/>
                  <a:pt x="1392251" y="6324037"/>
                </a:cubicBezTo>
                <a:cubicBezTo>
                  <a:pt x="1390034" y="6326838"/>
                  <a:pt x="1388442" y="6330516"/>
                  <a:pt x="1387475" y="6335071"/>
                </a:cubicBezTo>
                <a:lnTo>
                  <a:pt x="1398116" y="6336522"/>
                </a:lnTo>
                <a:cubicBezTo>
                  <a:pt x="1399285" y="6331967"/>
                  <a:pt x="1401089" y="6328793"/>
                  <a:pt x="1403527" y="6326999"/>
                </a:cubicBezTo>
                <a:cubicBezTo>
                  <a:pt x="1405966" y="6325206"/>
                  <a:pt x="1409745" y="6324309"/>
                  <a:pt x="1414864" y="6324309"/>
                </a:cubicBezTo>
                <a:cubicBezTo>
                  <a:pt x="1420345" y="6324309"/>
                  <a:pt x="1424477" y="6325538"/>
                  <a:pt x="1427258" y="6327997"/>
                </a:cubicBezTo>
                <a:cubicBezTo>
                  <a:pt x="1429314" y="6329811"/>
                  <a:pt x="1430342" y="6332935"/>
                  <a:pt x="1430342" y="6337369"/>
                </a:cubicBezTo>
                <a:cubicBezTo>
                  <a:pt x="1430342" y="6337772"/>
                  <a:pt x="1430322" y="6338719"/>
                  <a:pt x="1430281" y="6340210"/>
                </a:cubicBezTo>
                <a:cubicBezTo>
                  <a:pt x="1426130" y="6341661"/>
                  <a:pt x="1419660" y="6342911"/>
                  <a:pt x="1410873" y="6343959"/>
                </a:cubicBezTo>
                <a:cubicBezTo>
                  <a:pt x="1406561" y="6344483"/>
                  <a:pt x="1403336" y="6345027"/>
                  <a:pt x="1401199" y="6345591"/>
                </a:cubicBezTo>
                <a:cubicBezTo>
                  <a:pt x="1398297" y="6346397"/>
                  <a:pt x="1395687" y="6347587"/>
                  <a:pt x="1393370" y="6349159"/>
                </a:cubicBezTo>
                <a:cubicBezTo>
                  <a:pt x="1391052" y="6350731"/>
                  <a:pt x="1389178" y="6352816"/>
                  <a:pt x="1387747" y="6355416"/>
                </a:cubicBezTo>
                <a:cubicBezTo>
                  <a:pt x="1386316" y="6358016"/>
                  <a:pt x="1385600" y="6360888"/>
                  <a:pt x="1385600" y="6364032"/>
                </a:cubicBezTo>
                <a:cubicBezTo>
                  <a:pt x="1385600" y="6369393"/>
                  <a:pt x="1387495" y="6373797"/>
                  <a:pt x="1391284" y="6377243"/>
                </a:cubicBezTo>
                <a:cubicBezTo>
                  <a:pt x="1395073" y="6380689"/>
                  <a:pt x="1400494" y="6382412"/>
                  <a:pt x="1407548" y="6382412"/>
                </a:cubicBezTo>
                <a:cubicBezTo>
                  <a:pt x="1411821" y="6382412"/>
                  <a:pt x="1415821" y="6381707"/>
                  <a:pt x="1419550" y="6380296"/>
                </a:cubicBezTo>
                <a:cubicBezTo>
                  <a:pt x="1423278" y="6378885"/>
                  <a:pt x="1427158" y="6376467"/>
                  <a:pt x="1431188" y="6373041"/>
                </a:cubicBezTo>
                <a:cubicBezTo>
                  <a:pt x="1431511" y="6376064"/>
                  <a:pt x="1432236" y="6378704"/>
                  <a:pt x="1433365" y="6380961"/>
                </a:cubicBezTo>
                <a:lnTo>
                  <a:pt x="1444732" y="6380961"/>
                </a:lnTo>
                <a:cubicBezTo>
                  <a:pt x="1443361" y="6378502"/>
                  <a:pt x="1442444" y="6375933"/>
                  <a:pt x="1441981" y="6373252"/>
                </a:cubicBezTo>
                <a:cubicBezTo>
                  <a:pt x="1441517" y="6370572"/>
                  <a:pt x="1441285" y="6364173"/>
                  <a:pt x="1441285" y="6354056"/>
                </a:cubicBezTo>
                <a:lnTo>
                  <a:pt x="1441285" y="6339545"/>
                </a:lnTo>
                <a:cubicBezTo>
                  <a:pt x="1441285" y="6334708"/>
                  <a:pt x="1441104" y="6331363"/>
                  <a:pt x="1440741" y="6329509"/>
                </a:cubicBezTo>
                <a:cubicBezTo>
                  <a:pt x="1440096" y="6326526"/>
                  <a:pt x="1438968" y="6324057"/>
                  <a:pt x="1437355" y="6322102"/>
                </a:cubicBezTo>
                <a:cubicBezTo>
                  <a:pt x="1435743" y="6320147"/>
                  <a:pt x="1433224" y="6318525"/>
                  <a:pt x="1429798" y="6317235"/>
                </a:cubicBezTo>
                <a:cubicBezTo>
                  <a:pt x="1426372" y="6315945"/>
                  <a:pt x="1421917" y="6315300"/>
                  <a:pt x="1416436" y="6315300"/>
                </a:cubicBezTo>
                <a:close/>
                <a:moveTo>
                  <a:pt x="1167698" y="6315300"/>
                </a:moveTo>
                <a:cubicBezTo>
                  <a:pt x="1159757" y="6315300"/>
                  <a:pt x="1153026" y="6317678"/>
                  <a:pt x="1147503" y="6322435"/>
                </a:cubicBezTo>
                <a:cubicBezTo>
                  <a:pt x="1140893" y="6328158"/>
                  <a:pt x="1137588" y="6336965"/>
                  <a:pt x="1137588" y="6348856"/>
                </a:cubicBezTo>
                <a:cubicBezTo>
                  <a:pt x="1137588" y="6359699"/>
                  <a:pt x="1140359" y="6368002"/>
                  <a:pt x="1145901" y="6373766"/>
                </a:cubicBezTo>
                <a:cubicBezTo>
                  <a:pt x="1151443" y="6379530"/>
                  <a:pt x="1158709" y="6382412"/>
                  <a:pt x="1167698" y="6382412"/>
                </a:cubicBezTo>
                <a:cubicBezTo>
                  <a:pt x="1173300" y="6382412"/>
                  <a:pt x="1178470" y="6381102"/>
                  <a:pt x="1183206" y="6378482"/>
                </a:cubicBezTo>
                <a:cubicBezTo>
                  <a:pt x="1187942" y="6375862"/>
                  <a:pt x="1191550" y="6372184"/>
                  <a:pt x="1194028" y="6367448"/>
                </a:cubicBezTo>
                <a:cubicBezTo>
                  <a:pt x="1196507" y="6362712"/>
                  <a:pt x="1197747" y="6356212"/>
                  <a:pt x="1197747" y="6347949"/>
                </a:cubicBezTo>
                <a:cubicBezTo>
                  <a:pt x="1197747" y="6337751"/>
                  <a:pt x="1194945" y="6329761"/>
                  <a:pt x="1189343" y="6323976"/>
                </a:cubicBezTo>
                <a:cubicBezTo>
                  <a:pt x="1183740" y="6318192"/>
                  <a:pt x="1176525" y="6315300"/>
                  <a:pt x="1167698" y="6315300"/>
                </a:cubicBezTo>
                <a:close/>
                <a:moveTo>
                  <a:pt x="1057965" y="6315300"/>
                </a:moveTo>
                <a:cubicBezTo>
                  <a:pt x="1054619" y="6315300"/>
                  <a:pt x="1051485" y="6315733"/>
                  <a:pt x="1048563" y="6316600"/>
                </a:cubicBezTo>
                <a:cubicBezTo>
                  <a:pt x="1045641" y="6317467"/>
                  <a:pt x="1043333" y="6318525"/>
                  <a:pt x="1041640" y="6319774"/>
                </a:cubicBezTo>
                <a:cubicBezTo>
                  <a:pt x="1039383" y="6321387"/>
                  <a:pt x="1037599" y="6323412"/>
                  <a:pt x="1036289" y="6325851"/>
                </a:cubicBezTo>
                <a:cubicBezTo>
                  <a:pt x="1034979" y="6328289"/>
                  <a:pt x="1034324" y="6330939"/>
                  <a:pt x="1034324" y="6333801"/>
                </a:cubicBezTo>
                <a:cubicBezTo>
                  <a:pt x="1034324" y="6336945"/>
                  <a:pt x="1035120" y="6339817"/>
                  <a:pt x="1036712" y="6342417"/>
                </a:cubicBezTo>
                <a:cubicBezTo>
                  <a:pt x="1038304" y="6345017"/>
                  <a:pt x="1040642" y="6347052"/>
                  <a:pt x="1043726" y="6348524"/>
                </a:cubicBezTo>
                <a:cubicBezTo>
                  <a:pt x="1046809" y="6349995"/>
                  <a:pt x="1052342" y="6351738"/>
                  <a:pt x="1060323" y="6353754"/>
                </a:cubicBezTo>
                <a:cubicBezTo>
                  <a:pt x="1066248" y="6355245"/>
                  <a:pt x="1069956" y="6356474"/>
                  <a:pt x="1071447" y="6357442"/>
                </a:cubicBezTo>
                <a:cubicBezTo>
                  <a:pt x="1073584" y="6358853"/>
                  <a:pt x="1074652" y="6360787"/>
                  <a:pt x="1074652" y="6363246"/>
                </a:cubicBezTo>
                <a:cubicBezTo>
                  <a:pt x="1074652" y="6365987"/>
                  <a:pt x="1073443" y="6368375"/>
                  <a:pt x="1071024" y="6370411"/>
                </a:cubicBezTo>
                <a:cubicBezTo>
                  <a:pt x="1068606" y="6372446"/>
                  <a:pt x="1064898" y="6373464"/>
                  <a:pt x="1059899" y="6373464"/>
                </a:cubicBezTo>
                <a:cubicBezTo>
                  <a:pt x="1054942" y="6373464"/>
                  <a:pt x="1051082" y="6372315"/>
                  <a:pt x="1048321" y="6370018"/>
                </a:cubicBezTo>
                <a:cubicBezTo>
                  <a:pt x="1045560" y="6367720"/>
                  <a:pt x="1043877" y="6364415"/>
                  <a:pt x="1043272" y="6360102"/>
                </a:cubicBezTo>
                <a:lnTo>
                  <a:pt x="1032510" y="6361795"/>
                </a:lnTo>
                <a:cubicBezTo>
                  <a:pt x="1033720" y="6368607"/>
                  <a:pt x="1036511" y="6373746"/>
                  <a:pt x="1040884" y="6377213"/>
                </a:cubicBezTo>
                <a:cubicBezTo>
                  <a:pt x="1045258" y="6380679"/>
                  <a:pt x="1051616" y="6382412"/>
                  <a:pt x="1059960" y="6382412"/>
                </a:cubicBezTo>
                <a:cubicBezTo>
                  <a:pt x="1064998" y="6382412"/>
                  <a:pt x="1069513" y="6381536"/>
                  <a:pt x="1073503" y="6379782"/>
                </a:cubicBezTo>
                <a:cubicBezTo>
                  <a:pt x="1077494" y="6378029"/>
                  <a:pt x="1080547" y="6375550"/>
                  <a:pt x="1082663" y="6372345"/>
                </a:cubicBezTo>
                <a:cubicBezTo>
                  <a:pt x="1084779" y="6369141"/>
                  <a:pt x="1085837" y="6365725"/>
                  <a:pt x="1085837" y="6362097"/>
                </a:cubicBezTo>
                <a:cubicBezTo>
                  <a:pt x="1085837" y="6358389"/>
                  <a:pt x="1084971" y="6355285"/>
                  <a:pt x="1083237" y="6352786"/>
                </a:cubicBezTo>
                <a:cubicBezTo>
                  <a:pt x="1081504" y="6350287"/>
                  <a:pt x="1079116" y="6348383"/>
                  <a:pt x="1076073" y="6347073"/>
                </a:cubicBezTo>
                <a:cubicBezTo>
                  <a:pt x="1073030" y="6345763"/>
                  <a:pt x="1067659" y="6344080"/>
                  <a:pt x="1059960" y="6342024"/>
                </a:cubicBezTo>
                <a:cubicBezTo>
                  <a:pt x="1054639" y="6340573"/>
                  <a:pt x="1051435" y="6339646"/>
                  <a:pt x="1050346" y="6339243"/>
                </a:cubicBezTo>
                <a:cubicBezTo>
                  <a:pt x="1048452" y="6338477"/>
                  <a:pt x="1047061" y="6337510"/>
                  <a:pt x="1046175" y="6336341"/>
                </a:cubicBezTo>
                <a:cubicBezTo>
                  <a:pt x="1045288" y="6335212"/>
                  <a:pt x="1044844" y="6333942"/>
                  <a:pt x="1044844" y="6332532"/>
                </a:cubicBezTo>
                <a:cubicBezTo>
                  <a:pt x="1044844" y="6330315"/>
                  <a:pt x="1045913" y="6328380"/>
                  <a:pt x="1048049" y="6326727"/>
                </a:cubicBezTo>
                <a:cubicBezTo>
                  <a:pt x="1050185" y="6325075"/>
                  <a:pt x="1053753" y="6324248"/>
                  <a:pt x="1058751" y="6324248"/>
                </a:cubicBezTo>
                <a:cubicBezTo>
                  <a:pt x="1062983" y="6324248"/>
                  <a:pt x="1066258" y="6325176"/>
                  <a:pt x="1068576" y="6327030"/>
                </a:cubicBezTo>
                <a:cubicBezTo>
                  <a:pt x="1070893" y="6328884"/>
                  <a:pt x="1072294" y="6331463"/>
                  <a:pt x="1072778" y="6334769"/>
                </a:cubicBezTo>
                <a:lnTo>
                  <a:pt x="1083419" y="6333318"/>
                </a:lnTo>
                <a:cubicBezTo>
                  <a:pt x="1082734" y="6329166"/>
                  <a:pt x="1081484" y="6325851"/>
                  <a:pt x="1079670" y="6323372"/>
                </a:cubicBezTo>
                <a:cubicBezTo>
                  <a:pt x="1077856" y="6320893"/>
                  <a:pt x="1075045" y="6318928"/>
                  <a:pt x="1071236" y="6317477"/>
                </a:cubicBezTo>
                <a:cubicBezTo>
                  <a:pt x="1067427" y="6316026"/>
                  <a:pt x="1063003" y="6315300"/>
                  <a:pt x="1057965" y="6315300"/>
                </a:cubicBezTo>
                <a:close/>
                <a:moveTo>
                  <a:pt x="991290" y="6315300"/>
                </a:moveTo>
                <a:cubicBezTo>
                  <a:pt x="987944" y="6315300"/>
                  <a:pt x="984810" y="6315733"/>
                  <a:pt x="981888" y="6316600"/>
                </a:cubicBezTo>
                <a:cubicBezTo>
                  <a:pt x="978965" y="6317467"/>
                  <a:pt x="976658" y="6318525"/>
                  <a:pt x="974965" y="6319774"/>
                </a:cubicBezTo>
                <a:cubicBezTo>
                  <a:pt x="972708" y="6321387"/>
                  <a:pt x="970924" y="6323412"/>
                  <a:pt x="969614" y="6325851"/>
                </a:cubicBezTo>
                <a:cubicBezTo>
                  <a:pt x="968304" y="6328289"/>
                  <a:pt x="967649" y="6330939"/>
                  <a:pt x="967649" y="6333801"/>
                </a:cubicBezTo>
                <a:cubicBezTo>
                  <a:pt x="967649" y="6336945"/>
                  <a:pt x="968445" y="6339817"/>
                  <a:pt x="970037" y="6342417"/>
                </a:cubicBezTo>
                <a:cubicBezTo>
                  <a:pt x="971630" y="6345017"/>
                  <a:pt x="973967" y="6347052"/>
                  <a:pt x="977051" y="6348524"/>
                </a:cubicBezTo>
                <a:cubicBezTo>
                  <a:pt x="980134" y="6349995"/>
                  <a:pt x="985667" y="6351738"/>
                  <a:pt x="993648" y="6353754"/>
                </a:cubicBezTo>
                <a:cubicBezTo>
                  <a:pt x="999573" y="6355245"/>
                  <a:pt x="1003281" y="6356474"/>
                  <a:pt x="1004772" y="6357442"/>
                </a:cubicBezTo>
                <a:cubicBezTo>
                  <a:pt x="1006909" y="6358853"/>
                  <a:pt x="1007977" y="6360787"/>
                  <a:pt x="1007977" y="6363246"/>
                </a:cubicBezTo>
                <a:cubicBezTo>
                  <a:pt x="1007977" y="6365987"/>
                  <a:pt x="1006768" y="6368375"/>
                  <a:pt x="1004349" y="6370411"/>
                </a:cubicBezTo>
                <a:cubicBezTo>
                  <a:pt x="1001931" y="6372446"/>
                  <a:pt x="998222" y="6373464"/>
                  <a:pt x="993224" y="6373464"/>
                </a:cubicBezTo>
                <a:cubicBezTo>
                  <a:pt x="988266" y="6373464"/>
                  <a:pt x="984407" y="6372315"/>
                  <a:pt x="981646" y="6370018"/>
                </a:cubicBezTo>
                <a:cubicBezTo>
                  <a:pt x="978885" y="6367720"/>
                  <a:pt x="977202" y="6364415"/>
                  <a:pt x="976598" y="6360102"/>
                </a:cubicBezTo>
                <a:lnTo>
                  <a:pt x="965835" y="6361795"/>
                </a:lnTo>
                <a:cubicBezTo>
                  <a:pt x="967044" y="6368607"/>
                  <a:pt x="969836" y="6373746"/>
                  <a:pt x="974209" y="6377213"/>
                </a:cubicBezTo>
                <a:cubicBezTo>
                  <a:pt x="978583" y="6380679"/>
                  <a:pt x="984941" y="6382412"/>
                  <a:pt x="993285" y="6382412"/>
                </a:cubicBezTo>
                <a:cubicBezTo>
                  <a:pt x="998323" y="6382412"/>
                  <a:pt x="1002838" y="6381536"/>
                  <a:pt x="1006828" y="6379782"/>
                </a:cubicBezTo>
                <a:cubicBezTo>
                  <a:pt x="1010819" y="6378029"/>
                  <a:pt x="1013872" y="6375550"/>
                  <a:pt x="1015988" y="6372345"/>
                </a:cubicBezTo>
                <a:cubicBezTo>
                  <a:pt x="1018104" y="6369141"/>
                  <a:pt x="1019162" y="6365725"/>
                  <a:pt x="1019162" y="6362097"/>
                </a:cubicBezTo>
                <a:cubicBezTo>
                  <a:pt x="1019162" y="6358389"/>
                  <a:pt x="1018296" y="6355285"/>
                  <a:pt x="1016562" y="6352786"/>
                </a:cubicBezTo>
                <a:cubicBezTo>
                  <a:pt x="1014829" y="6350287"/>
                  <a:pt x="1012441" y="6348383"/>
                  <a:pt x="1009398" y="6347073"/>
                </a:cubicBezTo>
                <a:cubicBezTo>
                  <a:pt x="1006354" y="6345763"/>
                  <a:pt x="1000984" y="6344080"/>
                  <a:pt x="993285" y="6342024"/>
                </a:cubicBezTo>
                <a:cubicBezTo>
                  <a:pt x="987964" y="6340573"/>
                  <a:pt x="984760" y="6339646"/>
                  <a:pt x="983671" y="6339243"/>
                </a:cubicBezTo>
                <a:cubicBezTo>
                  <a:pt x="981777" y="6338477"/>
                  <a:pt x="980386" y="6337510"/>
                  <a:pt x="979500" y="6336341"/>
                </a:cubicBezTo>
                <a:cubicBezTo>
                  <a:pt x="978613" y="6335212"/>
                  <a:pt x="978170" y="6333942"/>
                  <a:pt x="978170" y="6332532"/>
                </a:cubicBezTo>
                <a:cubicBezTo>
                  <a:pt x="978170" y="6330315"/>
                  <a:pt x="979238" y="6328380"/>
                  <a:pt x="981374" y="6326727"/>
                </a:cubicBezTo>
                <a:cubicBezTo>
                  <a:pt x="983510" y="6325075"/>
                  <a:pt x="987077" y="6324248"/>
                  <a:pt x="992076" y="6324248"/>
                </a:cubicBezTo>
                <a:cubicBezTo>
                  <a:pt x="996308" y="6324248"/>
                  <a:pt x="999583" y="6325176"/>
                  <a:pt x="1001900" y="6327030"/>
                </a:cubicBezTo>
                <a:cubicBezTo>
                  <a:pt x="1004218" y="6328884"/>
                  <a:pt x="1005619" y="6331463"/>
                  <a:pt x="1006103" y="6334769"/>
                </a:cubicBezTo>
                <a:lnTo>
                  <a:pt x="1016744" y="6333318"/>
                </a:lnTo>
                <a:cubicBezTo>
                  <a:pt x="1016059" y="6329166"/>
                  <a:pt x="1014809" y="6325851"/>
                  <a:pt x="1012995" y="6323372"/>
                </a:cubicBezTo>
                <a:cubicBezTo>
                  <a:pt x="1011181" y="6320893"/>
                  <a:pt x="1008370" y="6318928"/>
                  <a:pt x="1004561" y="6317477"/>
                </a:cubicBezTo>
                <a:cubicBezTo>
                  <a:pt x="1000752" y="6316026"/>
                  <a:pt x="996328" y="6315300"/>
                  <a:pt x="991290" y="6315300"/>
                </a:cubicBezTo>
                <a:close/>
                <a:moveTo>
                  <a:pt x="929875" y="6315300"/>
                </a:moveTo>
                <a:cubicBezTo>
                  <a:pt x="921007" y="6315300"/>
                  <a:pt x="913792" y="6318283"/>
                  <a:pt x="908229" y="6324248"/>
                </a:cubicBezTo>
                <a:cubicBezTo>
                  <a:pt x="902667" y="6330214"/>
                  <a:pt x="899886" y="6338598"/>
                  <a:pt x="899886" y="6349400"/>
                </a:cubicBezTo>
                <a:cubicBezTo>
                  <a:pt x="899886" y="6359840"/>
                  <a:pt x="902637" y="6367952"/>
                  <a:pt x="908139" y="6373736"/>
                </a:cubicBezTo>
                <a:cubicBezTo>
                  <a:pt x="913641" y="6379520"/>
                  <a:pt x="921088" y="6382412"/>
                  <a:pt x="930479" y="6382412"/>
                </a:cubicBezTo>
                <a:cubicBezTo>
                  <a:pt x="937936" y="6382412"/>
                  <a:pt x="944063" y="6380598"/>
                  <a:pt x="948860" y="6376971"/>
                </a:cubicBezTo>
                <a:cubicBezTo>
                  <a:pt x="953656" y="6373343"/>
                  <a:pt x="956941" y="6368244"/>
                  <a:pt x="958715" y="6361674"/>
                </a:cubicBezTo>
                <a:lnTo>
                  <a:pt x="947469" y="6360283"/>
                </a:lnTo>
                <a:cubicBezTo>
                  <a:pt x="945816" y="6364879"/>
                  <a:pt x="943579" y="6368224"/>
                  <a:pt x="940758" y="6370320"/>
                </a:cubicBezTo>
                <a:cubicBezTo>
                  <a:pt x="937936" y="6372416"/>
                  <a:pt x="934530" y="6373464"/>
                  <a:pt x="930540" y="6373464"/>
                </a:cubicBezTo>
                <a:cubicBezTo>
                  <a:pt x="925179" y="6373464"/>
                  <a:pt x="920705" y="6371590"/>
                  <a:pt x="917117" y="6367841"/>
                </a:cubicBezTo>
                <a:cubicBezTo>
                  <a:pt x="913530" y="6364093"/>
                  <a:pt x="911535" y="6358691"/>
                  <a:pt x="911132" y="6351637"/>
                </a:cubicBezTo>
                <a:lnTo>
                  <a:pt x="959017" y="6351637"/>
                </a:lnTo>
                <a:cubicBezTo>
                  <a:pt x="959057" y="6350348"/>
                  <a:pt x="959078" y="6349380"/>
                  <a:pt x="959078" y="6348735"/>
                </a:cubicBezTo>
                <a:cubicBezTo>
                  <a:pt x="959078" y="6338134"/>
                  <a:pt x="956357" y="6329912"/>
                  <a:pt x="950915" y="6324067"/>
                </a:cubicBezTo>
                <a:cubicBezTo>
                  <a:pt x="945474" y="6318222"/>
                  <a:pt x="938460" y="6315300"/>
                  <a:pt x="929875" y="6315300"/>
                </a:cubicBezTo>
                <a:close/>
                <a:moveTo>
                  <a:pt x="867069" y="6315300"/>
                </a:moveTo>
                <a:cubicBezTo>
                  <a:pt x="858161" y="6315300"/>
                  <a:pt x="851349" y="6318827"/>
                  <a:pt x="846633" y="6325881"/>
                </a:cubicBezTo>
                <a:lnTo>
                  <a:pt x="846633" y="6316751"/>
                </a:lnTo>
                <a:lnTo>
                  <a:pt x="836839" y="6316751"/>
                </a:lnTo>
                <a:lnTo>
                  <a:pt x="836839" y="6380961"/>
                </a:lnTo>
                <a:lnTo>
                  <a:pt x="847722" y="6380961"/>
                </a:lnTo>
                <a:lnTo>
                  <a:pt x="847722" y="6345894"/>
                </a:lnTo>
                <a:cubicBezTo>
                  <a:pt x="847722" y="6337671"/>
                  <a:pt x="849405" y="6332088"/>
                  <a:pt x="852770" y="6329146"/>
                </a:cubicBezTo>
                <a:cubicBezTo>
                  <a:pt x="856136" y="6326203"/>
                  <a:pt x="860136" y="6324732"/>
                  <a:pt x="864772" y="6324732"/>
                </a:cubicBezTo>
                <a:cubicBezTo>
                  <a:pt x="867674" y="6324732"/>
                  <a:pt x="870203" y="6325387"/>
                  <a:pt x="872360" y="6326697"/>
                </a:cubicBezTo>
                <a:cubicBezTo>
                  <a:pt x="874516" y="6328007"/>
                  <a:pt x="876018" y="6329761"/>
                  <a:pt x="876864" y="6331957"/>
                </a:cubicBezTo>
                <a:cubicBezTo>
                  <a:pt x="877710" y="6334154"/>
                  <a:pt x="878134" y="6337469"/>
                  <a:pt x="878134" y="6341903"/>
                </a:cubicBezTo>
                <a:lnTo>
                  <a:pt x="878134" y="6380961"/>
                </a:lnTo>
                <a:lnTo>
                  <a:pt x="889017" y="6380961"/>
                </a:lnTo>
                <a:lnTo>
                  <a:pt x="889017" y="6341480"/>
                </a:lnTo>
                <a:cubicBezTo>
                  <a:pt x="889017" y="6336441"/>
                  <a:pt x="888815" y="6332915"/>
                  <a:pt x="888412" y="6330899"/>
                </a:cubicBezTo>
                <a:cubicBezTo>
                  <a:pt x="887767" y="6327796"/>
                  <a:pt x="886639" y="6325115"/>
                  <a:pt x="885026" y="6322858"/>
                </a:cubicBezTo>
                <a:cubicBezTo>
                  <a:pt x="883414" y="6320601"/>
                  <a:pt x="880985" y="6318777"/>
                  <a:pt x="877741" y="6317386"/>
                </a:cubicBezTo>
                <a:cubicBezTo>
                  <a:pt x="874496" y="6315995"/>
                  <a:pt x="870939" y="6315300"/>
                  <a:pt x="867069" y="6315300"/>
                </a:cubicBezTo>
                <a:close/>
                <a:moveTo>
                  <a:pt x="762690" y="6315300"/>
                </a:moveTo>
                <a:cubicBezTo>
                  <a:pt x="759344" y="6315300"/>
                  <a:pt x="756210" y="6315733"/>
                  <a:pt x="753288" y="6316600"/>
                </a:cubicBezTo>
                <a:cubicBezTo>
                  <a:pt x="750366" y="6317467"/>
                  <a:pt x="748058" y="6318525"/>
                  <a:pt x="746365" y="6319774"/>
                </a:cubicBezTo>
                <a:cubicBezTo>
                  <a:pt x="744108" y="6321387"/>
                  <a:pt x="742324" y="6323412"/>
                  <a:pt x="741014" y="6325851"/>
                </a:cubicBezTo>
                <a:cubicBezTo>
                  <a:pt x="739704" y="6328289"/>
                  <a:pt x="739049" y="6330939"/>
                  <a:pt x="739049" y="6333801"/>
                </a:cubicBezTo>
                <a:cubicBezTo>
                  <a:pt x="739049" y="6336945"/>
                  <a:pt x="739845" y="6339817"/>
                  <a:pt x="741437" y="6342417"/>
                </a:cubicBezTo>
                <a:cubicBezTo>
                  <a:pt x="743030" y="6345017"/>
                  <a:pt x="745367" y="6347052"/>
                  <a:pt x="748451" y="6348524"/>
                </a:cubicBezTo>
                <a:cubicBezTo>
                  <a:pt x="751534" y="6349995"/>
                  <a:pt x="757067" y="6351738"/>
                  <a:pt x="765048" y="6353754"/>
                </a:cubicBezTo>
                <a:cubicBezTo>
                  <a:pt x="770973" y="6355245"/>
                  <a:pt x="774681" y="6356474"/>
                  <a:pt x="776172" y="6357442"/>
                </a:cubicBezTo>
                <a:cubicBezTo>
                  <a:pt x="778309" y="6358853"/>
                  <a:pt x="779377" y="6360787"/>
                  <a:pt x="779377" y="6363246"/>
                </a:cubicBezTo>
                <a:cubicBezTo>
                  <a:pt x="779377" y="6365987"/>
                  <a:pt x="778168" y="6368375"/>
                  <a:pt x="775749" y="6370411"/>
                </a:cubicBezTo>
                <a:cubicBezTo>
                  <a:pt x="773331" y="6372446"/>
                  <a:pt x="769623" y="6373464"/>
                  <a:pt x="764624" y="6373464"/>
                </a:cubicBezTo>
                <a:cubicBezTo>
                  <a:pt x="759666" y="6373464"/>
                  <a:pt x="755807" y="6372315"/>
                  <a:pt x="753046" y="6370018"/>
                </a:cubicBezTo>
                <a:cubicBezTo>
                  <a:pt x="750285" y="6367720"/>
                  <a:pt x="748602" y="6364415"/>
                  <a:pt x="747997" y="6360102"/>
                </a:cubicBezTo>
                <a:lnTo>
                  <a:pt x="737235" y="6361795"/>
                </a:lnTo>
                <a:cubicBezTo>
                  <a:pt x="738445" y="6368607"/>
                  <a:pt x="741236" y="6373746"/>
                  <a:pt x="745609" y="6377213"/>
                </a:cubicBezTo>
                <a:cubicBezTo>
                  <a:pt x="749983" y="6380679"/>
                  <a:pt x="756341" y="6382412"/>
                  <a:pt x="764685" y="6382412"/>
                </a:cubicBezTo>
                <a:cubicBezTo>
                  <a:pt x="769723" y="6382412"/>
                  <a:pt x="774238" y="6381536"/>
                  <a:pt x="778228" y="6379782"/>
                </a:cubicBezTo>
                <a:cubicBezTo>
                  <a:pt x="782219" y="6378029"/>
                  <a:pt x="785272" y="6375550"/>
                  <a:pt x="787388" y="6372345"/>
                </a:cubicBezTo>
                <a:cubicBezTo>
                  <a:pt x="789504" y="6369141"/>
                  <a:pt x="790562" y="6365725"/>
                  <a:pt x="790562" y="6362097"/>
                </a:cubicBezTo>
                <a:cubicBezTo>
                  <a:pt x="790562" y="6358389"/>
                  <a:pt x="789696" y="6355285"/>
                  <a:pt x="787962" y="6352786"/>
                </a:cubicBezTo>
                <a:cubicBezTo>
                  <a:pt x="786229" y="6350287"/>
                  <a:pt x="783841" y="6348383"/>
                  <a:pt x="780798" y="6347073"/>
                </a:cubicBezTo>
                <a:cubicBezTo>
                  <a:pt x="777754" y="6345763"/>
                  <a:pt x="772383" y="6344080"/>
                  <a:pt x="764685" y="6342024"/>
                </a:cubicBezTo>
                <a:cubicBezTo>
                  <a:pt x="759364" y="6340573"/>
                  <a:pt x="756160" y="6339646"/>
                  <a:pt x="755071" y="6339243"/>
                </a:cubicBezTo>
                <a:cubicBezTo>
                  <a:pt x="753177" y="6338477"/>
                  <a:pt x="751786" y="6337510"/>
                  <a:pt x="750900" y="6336341"/>
                </a:cubicBezTo>
                <a:cubicBezTo>
                  <a:pt x="750013" y="6335212"/>
                  <a:pt x="749569" y="6333942"/>
                  <a:pt x="749569" y="6332532"/>
                </a:cubicBezTo>
                <a:cubicBezTo>
                  <a:pt x="749569" y="6330315"/>
                  <a:pt x="750638" y="6328380"/>
                  <a:pt x="752774" y="6326727"/>
                </a:cubicBezTo>
                <a:cubicBezTo>
                  <a:pt x="754910" y="6325075"/>
                  <a:pt x="758477" y="6324248"/>
                  <a:pt x="763476" y="6324248"/>
                </a:cubicBezTo>
                <a:cubicBezTo>
                  <a:pt x="767708" y="6324248"/>
                  <a:pt x="770983" y="6325176"/>
                  <a:pt x="773301" y="6327030"/>
                </a:cubicBezTo>
                <a:cubicBezTo>
                  <a:pt x="775618" y="6328884"/>
                  <a:pt x="777019" y="6331463"/>
                  <a:pt x="777503" y="6334769"/>
                </a:cubicBezTo>
                <a:lnTo>
                  <a:pt x="788144" y="6333318"/>
                </a:lnTo>
                <a:cubicBezTo>
                  <a:pt x="787459" y="6329166"/>
                  <a:pt x="786209" y="6325851"/>
                  <a:pt x="784395" y="6323372"/>
                </a:cubicBezTo>
                <a:cubicBezTo>
                  <a:pt x="782581" y="6320893"/>
                  <a:pt x="779770" y="6318928"/>
                  <a:pt x="775961" y="6317477"/>
                </a:cubicBezTo>
                <a:cubicBezTo>
                  <a:pt x="772152" y="6316026"/>
                  <a:pt x="767728" y="6315300"/>
                  <a:pt x="762690" y="6315300"/>
                </a:cubicBezTo>
                <a:close/>
                <a:moveTo>
                  <a:pt x="525681" y="6301636"/>
                </a:moveTo>
                <a:cubicBezTo>
                  <a:pt x="527051" y="6306432"/>
                  <a:pt x="529147" y="6312559"/>
                  <a:pt x="531969" y="6320016"/>
                </a:cubicBezTo>
                <a:lnTo>
                  <a:pt x="541219" y="6344563"/>
                </a:lnTo>
                <a:lnTo>
                  <a:pt x="511170" y="6344563"/>
                </a:lnTo>
                <a:lnTo>
                  <a:pt x="520904" y="6318565"/>
                </a:lnTo>
                <a:cubicBezTo>
                  <a:pt x="522960" y="6312962"/>
                  <a:pt x="524552" y="6307319"/>
                  <a:pt x="525681" y="6301636"/>
                </a:cubicBezTo>
                <a:close/>
                <a:moveTo>
                  <a:pt x="1847396" y="6292325"/>
                </a:moveTo>
                <a:lnTo>
                  <a:pt x="1847396" y="6380961"/>
                </a:lnTo>
                <a:lnTo>
                  <a:pt x="1902778" y="6380961"/>
                </a:lnTo>
                <a:lnTo>
                  <a:pt x="1902778" y="6370501"/>
                </a:lnTo>
                <a:lnTo>
                  <a:pt x="1859125" y="6370501"/>
                </a:lnTo>
                <a:lnTo>
                  <a:pt x="1859125" y="6292325"/>
                </a:lnTo>
                <a:close/>
                <a:moveTo>
                  <a:pt x="1676067" y="6292325"/>
                </a:moveTo>
                <a:lnTo>
                  <a:pt x="1676067" y="6380961"/>
                </a:lnTo>
                <a:lnTo>
                  <a:pt x="1687373" y="6380961"/>
                </a:lnTo>
                <a:lnTo>
                  <a:pt x="1687373" y="6305505"/>
                </a:lnTo>
                <a:lnTo>
                  <a:pt x="1713008" y="6380961"/>
                </a:lnTo>
                <a:lnTo>
                  <a:pt x="1723589" y="6380961"/>
                </a:lnTo>
                <a:lnTo>
                  <a:pt x="1749346" y="6306775"/>
                </a:lnTo>
                <a:lnTo>
                  <a:pt x="1749346" y="6380961"/>
                </a:lnTo>
                <a:lnTo>
                  <a:pt x="1760652" y="6380961"/>
                </a:lnTo>
                <a:lnTo>
                  <a:pt x="1760652" y="6292325"/>
                </a:lnTo>
                <a:lnTo>
                  <a:pt x="1744872" y="6292325"/>
                </a:lnTo>
                <a:lnTo>
                  <a:pt x="1723650" y="6353995"/>
                </a:lnTo>
                <a:cubicBezTo>
                  <a:pt x="1721513" y="6360243"/>
                  <a:pt x="1719941" y="6364979"/>
                  <a:pt x="1718933" y="6368204"/>
                </a:cubicBezTo>
                <a:cubicBezTo>
                  <a:pt x="1718047" y="6365302"/>
                  <a:pt x="1716636" y="6360928"/>
                  <a:pt x="1714701" y="6355084"/>
                </a:cubicBezTo>
                <a:lnTo>
                  <a:pt x="1693721" y="6292325"/>
                </a:lnTo>
                <a:close/>
                <a:moveTo>
                  <a:pt x="1560739" y="6292325"/>
                </a:moveTo>
                <a:lnTo>
                  <a:pt x="1560739" y="6380961"/>
                </a:lnTo>
                <a:lnTo>
                  <a:pt x="1571622" y="6380961"/>
                </a:lnTo>
                <a:lnTo>
                  <a:pt x="1571622" y="6345833"/>
                </a:lnTo>
                <a:cubicBezTo>
                  <a:pt x="1571622" y="6340795"/>
                  <a:pt x="1572226" y="6336845"/>
                  <a:pt x="1573435" y="6333983"/>
                </a:cubicBezTo>
                <a:cubicBezTo>
                  <a:pt x="1574645" y="6331121"/>
                  <a:pt x="1576670" y="6328854"/>
                  <a:pt x="1579512" y="6327181"/>
                </a:cubicBezTo>
                <a:cubicBezTo>
                  <a:pt x="1582354" y="6325508"/>
                  <a:pt x="1585387" y="6324672"/>
                  <a:pt x="1588611" y="6324672"/>
                </a:cubicBezTo>
                <a:cubicBezTo>
                  <a:pt x="1592924" y="6324672"/>
                  <a:pt x="1596260" y="6325911"/>
                  <a:pt x="1598618" y="6328390"/>
                </a:cubicBezTo>
                <a:cubicBezTo>
                  <a:pt x="1600976" y="6330869"/>
                  <a:pt x="1602155" y="6334829"/>
                  <a:pt x="1602155" y="6340271"/>
                </a:cubicBezTo>
                <a:lnTo>
                  <a:pt x="1602155" y="6380961"/>
                </a:lnTo>
                <a:lnTo>
                  <a:pt x="1613038" y="6380961"/>
                </a:lnTo>
                <a:lnTo>
                  <a:pt x="1613038" y="6340271"/>
                </a:lnTo>
                <a:cubicBezTo>
                  <a:pt x="1613038" y="6333983"/>
                  <a:pt x="1612282" y="6329186"/>
                  <a:pt x="1610771" y="6325881"/>
                </a:cubicBezTo>
                <a:cubicBezTo>
                  <a:pt x="1609259" y="6322576"/>
                  <a:pt x="1606750" y="6319986"/>
                  <a:pt x="1603243" y="6318112"/>
                </a:cubicBezTo>
                <a:cubicBezTo>
                  <a:pt x="1599736" y="6316237"/>
                  <a:pt x="1595605" y="6315300"/>
                  <a:pt x="1590848" y="6315300"/>
                </a:cubicBezTo>
                <a:cubicBezTo>
                  <a:pt x="1583109" y="6315300"/>
                  <a:pt x="1576700" y="6318243"/>
                  <a:pt x="1571622" y="6324128"/>
                </a:cubicBezTo>
                <a:lnTo>
                  <a:pt x="1571622" y="6292325"/>
                </a:lnTo>
                <a:close/>
                <a:moveTo>
                  <a:pt x="1285542" y="6292325"/>
                </a:moveTo>
                <a:lnTo>
                  <a:pt x="1285542" y="6380961"/>
                </a:lnTo>
                <a:lnTo>
                  <a:pt x="1296848" y="6380961"/>
                </a:lnTo>
                <a:lnTo>
                  <a:pt x="1296848" y="6305505"/>
                </a:lnTo>
                <a:lnTo>
                  <a:pt x="1322484" y="6380961"/>
                </a:lnTo>
                <a:lnTo>
                  <a:pt x="1333064" y="6380961"/>
                </a:lnTo>
                <a:lnTo>
                  <a:pt x="1358821" y="6306775"/>
                </a:lnTo>
                <a:lnTo>
                  <a:pt x="1358821" y="6380961"/>
                </a:lnTo>
                <a:lnTo>
                  <a:pt x="1370127" y="6380961"/>
                </a:lnTo>
                <a:lnTo>
                  <a:pt x="1370127" y="6292325"/>
                </a:lnTo>
                <a:lnTo>
                  <a:pt x="1354347" y="6292325"/>
                </a:lnTo>
                <a:lnTo>
                  <a:pt x="1333125" y="6353995"/>
                </a:lnTo>
                <a:cubicBezTo>
                  <a:pt x="1330988" y="6360243"/>
                  <a:pt x="1329416" y="6364979"/>
                  <a:pt x="1328409" y="6368204"/>
                </a:cubicBezTo>
                <a:cubicBezTo>
                  <a:pt x="1327522" y="6365302"/>
                  <a:pt x="1326111" y="6360928"/>
                  <a:pt x="1324176" y="6355084"/>
                </a:cubicBezTo>
                <a:lnTo>
                  <a:pt x="1303196" y="6292325"/>
                </a:lnTo>
                <a:close/>
                <a:moveTo>
                  <a:pt x="808324" y="6292325"/>
                </a:moveTo>
                <a:lnTo>
                  <a:pt x="808324" y="6304840"/>
                </a:lnTo>
                <a:lnTo>
                  <a:pt x="819207" y="6304840"/>
                </a:lnTo>
                <a:lnTo>
                  <a:pt x="819207" y="6292325"/>
                </a:lnTo>
                <a:close/>
                <a:moveTo>
                  <a:pt x="608178" y="6292325"/>
                </a:moveTo>
                <a:lnTo>
                  <a:pt x="608178" y="6380961"/>
                </a:lnTo>
                <a:lnTo>
                  <a:pt x="618275" y="6380961"/>
                </a:lnTo>
                <a:lnTo>
                  <a:pt x="618275" y="6372920"/>
                </a:lnTo>
                <a:cubicBezTo>
                  <a:pt x="622588" y="6379248"/>
                  <a:pt x="628533" y="6382412"/>
                  <a:pt x="636111" y="6382412"/>
                </a:cubicBezTo>
                <a:cubicBezTo>
                  <a:pt x="643729" y="6382412"/>
                  <a:pt x="650259" y="6379409"/>
                  <a:pt x="655701" y="6373404"/>
                </a:cubicBezTo>
                <a:cubicBezTo>
                  <a:pt x="661142" y="6367398"/>
                  <a:pt x="663863" y="6358893"/>
                  <a:pt x="663863" y="6347889"/>
                </a:cubicBezTo>
                <a:cubicBezTo>
                  <a:pt x="663863" y="6343253"/>
                  <a:pt x="663218" y="6338900"/>
                  <a:pt x="661928" y="6334829"/>
                </a:cubicBezTo>
                <a:cubicBezTo>
                  <a:pt x="660638" y="6330758"/>
                  <a:pt x="658855" y="6327282"/>
                  <a:pt x="656577" y="6324400"/>
                </a:cubicBezTo>
                <a:cubicBezTo>
                  <a:pt x="654300" y="6321518"/>
                  <a:pt x="651398" y="6319281"/>
                  <a:pt x="647871" y="6317688"/>
                </a:cubicBezTo>
                <a:cubicBezTo>
                  <a:pt x="644344" y="6316096"/>
                  <a:pt x="640606" y="6315300"/>
                  <a:pt x="636655" y="6315300"/>
                </a:cubicBezTo>
                <a:cubicBezTo>
                  <a:pt x="629521" y="6315300"/>
                  <a:pt x="623656" y="6318182"/>
                  <a:pt x="619061" y="6323946"/>
                </a:cubicBezTo>
                <a:lnTo>
                  <a:pt x="619061" y="6292325"/>
                </a:lnTo>
                <a:close/>
                <a:moveTo>
                  <a:pt x="519635" y="6292325"/>
                </a:moveTo>
                <a:lnTo>
                  <a:pt x="485595" y="6380961"/>
                </a:lnTo>
                <a:lnTo>
                  <a:pt x="498050" y="6380961"/>
                </a:lnTo>
                <a:lnTo>
                  <a:pt x="507784" y="6354116"/>
                </a:lnTo>
                <a:lnTo>
                  <a:pt x="544847" y="6354116"/>
                </a:lnTo>
                <a:lnTo>
                  <a:pt x="555186" y="6380961"/>
                </a:lnTo>
                <a:lnTo>
                  <a:pt x="568548" y="6380961"/>
                </a:lnTo>
                <a:lnTo>
                  <a:pt x="532271" y="6292325"/>
                </a:lnTo>
                <a:close/>
                <a:moveTo>
                  <a:pt x="1228689" y="6290813"/>
                </a:moveTo>
                <a:cubicBezTo>
                  <a:pt x="1223933" y="6290813"/>
                  <a:pt x="1220235" y="6291690"/>
                  <a:pt x="1217594" y="6293443"/>
                </a:cubicBezTo>
                <a:cubicBezTo>
                  <a:pt x="1214954" y="6295197"/>
                  <a:pt x="1213110" y="6297484"/>
                  <a:pt x="1212062" y="6300306"/>
                </a:cubicBezTo>
                <a:cubicBezTo>
                  <a:pt x="1211296" y="6302402"/>
                  <a:pt x="1210914" y="6305606"/>
                  <a:pt x="1210914" y="6309919"/>
                </a:cubicBezTo>
                <a:lnTo>
                  <a:pt x="1210914" y="6316751"/>
                </a:lnTo>
                <a:lnTo>
                  <a:pt x="1201300" y="6316751"/>
                </a:lnTo>
                <a:lnTo>
                  <a:pt x="1201300" y="6325216"/>
                </a:lnTo>
                <a:lnTo>
                  <a:pt x="1210914" y="6325216"/>
                </a:lnTo>
                <a:lnTo>
                  <a:pt x="1210914" y="6380961"/>
                </a:lnTo>
                <a:lnTo>
                  <a:pt x="1221736" y="6380961"/>
                </a:lnTo>
                <a:lnTo>
                  <a:pt x="1221736" y="6325216"/>
                </a:lnTo>
                <a:lnTo>
                  <a:pt x="1234252" y="6325216"/>
                </a:lnTo>
                <a:lnTo>
                  <a:pt x="1234252" y="6316751"/>
                </a:lnTo>
                <a:lnTo>
                  <a:pt x="1221736" y="6316751"/>
                </a:lnTo>
                <a:lnTo>
                  <a:pt x="1221736" y="6310826"/>
                </a:lnTo>
                <a:cubicBezTo>
                  <a:pt x="1221736" y="6306956"/>
                  <a:pt x="1222421" y="6304316"/>
                  <a:pt x="1223792" y="6302906"/>
                </a:cubicBezTo>
                <a:cubicBezTo>
                  <a:pt x="1225162" y="6301495"/>
                  <a:pt x="1227500" y="6300789"/>
                  <a:pt x="1230805" y="6300789"/>
                </a:cubicBezTo>
                <a:cubicBezTo>
                  <a:pt x="1232820" y="6300789"/>
                  <a:pt x="1234957" y="6300991"/>
                  <a:pt x="1237214" y="6301394"/>
                </a:cubicBezTo>
                <a:lnTo>
                  <a:pt x="1238847" y="6291902"/>
                </a:lnTo>
                <a:cubicBezTo>
                  <a:pt x="1235138" y="6291176"/>
                  <a:pt x="1231753" y="6290813"/>
                  <a:pt x="1228689" y="6290813"/>
                </a:cubicBezTo>
                <a:close/>
                <a:moveTo>
                  <a:pt x="7175501" y="1"/>
                </a:moveTo>
                <a:lnTo>
                  <a:pt x="12191999" y="1"/>
                </a:lnTo>
                <a:lnTo>
                  <a:pt x="12191999" y="6858001"/>
                </a:lnTo>
                <a:lnTo>
                  <a:pt x="1" y="6858001"/>
                </a:lnTo>
                <a:lnTo>
                  <a:pt x="1" y="5752619"/>
                </a:lnTo>
                <a:lnTo>
                  <a:pt x="7175501" y="5752619"/>
                </a:lnTo>
                <a:close/>
                <a:moveTo>
                  <a:pt x="0" y="0"/>
                </a:moveTo>
                <a:lnTo>
                  <a:pt x="7175501" y="0"/>
                </a:lnTo>
                <a:lnTo>
                  <a:pt x="7175501" y="1"/>
                </a:lnTo>
                <a:lnTo>
                  <a:pt x="1" y="1"/>
                </a:lnTo>
                <a:lnTo>
                  <a:pt x="1" y="5752619"/>
                </a:lnTo>
                <a:lnTo>
                  <a:pt x="0" y="5752619"/>
                </a:lnTo>
                <a:close/>
              </a:path>
            </a:pathLst>
          </a:custGeom>
        </p:spPr>
      </p:pic>
      <p:pic>
        <p:nvPicPr>
          <p:cNvPr id="3" name="Imagen 2">
            <a:extLst>
              <a:ext uri="{FF2B5EF4-FFF2-40B4-BE49-F238E27FC236}">
                <a16:creationId xmlns:a16="http://schemas.microsoft.com/office/drawing/2014/main" id="{90D528D4-C921-4A9C-B631-150AF938830A}"/>
              </a:ext>
            </a:extLst>
          </p:cNvPr>
          <p:cNvPicPr>
            <a:picLocks noChangeAspect="1"/>
          </p:cNvPicPr>
          <p:nvPr/>
        </p:nvPicPr>
        <p:blipFill>
          <a:blip r:embed="rId5"/>
          <a:stretch>
            <a:fillRect/>
          </a:stretch>
        </p:blipFill>
        <p:spPr>
          <a:xfrm>
            <a:off x="1181099" y="4209612"/>
            <a:ext cx="3196845" cy="1089295"/>
          </a:xfrm>
          <a:prstGeom prst="rect">
            <a:avLst/>
          </a:prstGeom>
        </p:spPr>
      </p:pic>
    </p:spTree>
    <p:extLst>
      <p:ext uri="{BB962C8B-B14F-4D97-AF65-F5344CB8AC3E}">
        <p14:creationId xmlns:p14="http://schemas.microsoft.com/office/powerpoint/2010/main" val="2263284498"/>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1219170" rtl="0" eaLnBrk="1" fontAlgn="base" latinLnBrk="0" hangingPunct="1">
              <a:lnSpc>
                <a:spcPct val="100000"/>
              </a:lnSpc>
              <a:spcBef>
                <a:spcPct val="0"/>
              </a:spcBef>
              <a:spcAft>
                <a:spcPct val="0"/>
              </a:spcAft>
              <a:buClrTx/>
              <a:buSzTx/>
              <a:buFontTx/>
              <a:buNone/>
              <a:tabLst/>
              <a:defRPr/>
            </a:pPr>
            <a:fld id="{505A1B4D-B9EB-45A5-8014-1762CE7C3DBB}" type="slidenum">
              <a:rPr kumimoji="0" lang="en-US" sz="1333" b="0" i="0" u="none" strike="noStrike" kern="1200" cap="none" spc="0" normalizeH="0" baseline="0" noProof="0">
                <a:ln>
                  <a:noFill/>
                </a:ln>
                <a:solidFill>
                  <a:srgbClr val="002C77"/>
                </a:solidFill>
                <a:effectLst/>
                <a:uLnTx/>
                <a:uFillTx/>
                <a:latin typeface="Arial" charset="0"/>
                <a:ea typeface="MS PGothic"/>
                <a:cs typeface="+mn-cs"/>
              </a:rPr>
              <a:pPr marL="0" marR="0" lvl="0" indent="0" algn="r" defTabSz="1219170" rtl="0" eaLnBrk="1" fontAlgn="base" latinLnBrk="0" hangingPunct="1">
                <a:lnSpc>
                  <a:spcPct val="100000"/>
                </a:lnSpc>
                <a:spcBef>
                  <a:spcPct val="0"/>
                </a:spcBef>
                <a:spcAft>
                  <a:spcPct val="0"/>
                </a:spcAft>
                <a:buClrTx/>
                <a:buSzTx/>
                <a:buFontTx/>
                <a:buNone/>
                <a:tabLst/>
                <a:defRPr/>
              </a:pPr>
              <a:t>10</a:t>
            </a:fld>
            <a:endParaRPr kumimoji="0" lang="en-US" sz="1333" b="0" i="0" u="none" strike="noStrike" kern="1200" cap="none" spc="0" normalizeH="0" baseline="0" noProof="0">
              <a:ln>
                <a:noFill/>
              </a:ln>
              <a:solidFill>
                <a:srgbClr val="002C77"/>
              </a:solidFill>
              <a:effectLst/>
              <a:uLnTx/>
              <a:uFillTx/>
              <a:latin typeface="Arial" charset="0"/>
              <a:ea typeface="MS PGothic"/>
              <a:cs typeface="+mn-cs"/>
            </a:endParaRPr>
          </a:p>
        </p:txBody>
      </p:sp>
      <p:sp>
        <p:nvSpPr>
          <p:cNvPr id="56" name="ZoneTexte 77"/>
          <p:cNvSpPr txBox="1"/>
          <p:nvPr/>
        </p:nvSpPr>
        <p:spPr>
          <a:xfrm>
            <a:off x="2480767" y="1568400"/>
            <a:ext cx="8523631" cy="58477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1600"/>
              </a:spcAft>
              <a:buClrTx/>
              <a:buSzTx/>
              <a:buFontTx/>
              <a:buNone/>
              <a:tabLst/>
              <a:defRPr/>
            </a:pPr>
            <a:r>
              <a:rPr kumimoji="0" lang="es-MX" sz="1600" b="1" i="0" u="none" strike="noStrike" kern="1200" cap="none" spc="0" normalizeH="0" baseline="0" noProof="0" dirty="0">
                <a:ln>
                  <a:noFill/>
                </a:ln>
                <a:solidFill>
                  <a:schemeClr val="accent1"/>
                </a:solidFill>
                <a:effectLst/>
                <a:uLnTx/>
                <a:uFillTx/>
                <a:latin typeface="Arial"/>
                <a:ea typeface="MS PGothic"/>
                <a:cs typeface="+mn-cs"/>
              </a:rPr>
              <a:t>Ataques maliciosos o eventos accidentales que afectan la información o que resultan en una indisponibilidad o falla parcial o total de los sistemas (TI – OT)</a:t>
            </a:r>
          </a:p>
        </p:txBody>
      </p:sp>
      <p:sp>
        <p:nvSpPr>
          <p:cNvPr id="57" name="Rectangle 55"/>
          <p:cNvSpPr/>
          <p:nvPr/>
        </p:nvSpPr>
        <p:spPr>
          <a:xfrm>
            <a:off x="349986" y="1713571"/>
            <a:ext cx="1768489" cy="379656"/>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MX" sz="1867" b="1" i="0" u="none" strike="noStrike" kern="1200" cap="none" spc="0" normalizeH="0" baseline="0" noProof="0" dirty="0">
                <a:ln>
                  <a:noFill/>
                </a:ln>
                <a:solidFill>
                  <a:srgbClr val="A5A5A5">
                    <a:lumMod val="75000"/>
                  </a:srgbClr>
                </a:solidFill>
                <a:effectLst/>
                <a:uLnTx/>
                <a:uFillTx/>
                <a:latin typeface="Arial"/>
                <a:ea typeface="MS PGothic"/>
                <a:cs typeface="+mn-cs"/>
              </a:rPr>
              <a:t>Evento Cyber</a:t>
            </a:r>
          </a:p>
        </p:txBody>
      </p:sp>
      <p:cxnSp>
        <p:nvCxnSpPr>
          <p:cNvPr id="58" name="Straight Connector 57"/>
          <p:cNvCxnSpPr/>
          <p:nvPr/>
        </p:nvCxnSpPr>
        <p:spPr bwMode="auto">
          <a:xfrm>
            <a:off x="815413" y="2564180"/>
            <a:ext cx="10081120" cy="0"/>
          </a:xfrm>
          <a:prstGeom prst="line">
            <a:avLst/>
          </a:prstGeom>
          <a:noFill/>
          <a:ln w="9525" cap="flat" cmpd="sng" algn="ctr">
            <a:solidFill>
              <a:srgbClr val="37424A"/>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9" name="Isosceles Triangle 58"/>
          <p:cNvSpPr>
            <a:spLocks/>
          </p:cNvSpPr>
          <p:nvPr/>
        </p:nvSpPr>
        <p:spPr bwMode="auto">
          <a:xfrm rot="10800000">
            <a:off x="4804421" y="2540216"/>
            <a:ext cx="3413760" cy="304800"/>
          </a:xfrm>
          <a:prstGeom prst="triangle">
            <a:avLst/>
          </a:prstGeom>
          <a:solidFill>
            <a:srgbClr val="37424A"/>
          </a:solidFill>
          <a:ln w="9525" cap="flat" cmpd="sng" algn="ctr">
            <a:solidFill>
              <a:srgbClr val="EEECE1"/>
            </a:solidFill>
            <a:prstDash val="solid"/>
            <a:round/>
            <a:headEnd type="none" w="med" len="med"/>
            <a:tailEnd type="none" w="med" len="med"/>
          </a:ln>
          <a:effectLst/>
        </p:spPr>
        <p:txBody>
          <a:bodyPr vert="horz" wrap="none" lIns="0" tIns="0" rIns="121920" bIns="60960" numCol="1" rtlCol="0" anchor="ctr" anchorCtr="0" compatLnSpc="1">
            <a:prstTxWarp prst="textNoShape">
              <a:avLst/>
            </a:prstTxWarp>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s-MX" sz="2667" b="0" i="0" u="none" strike="noStrike" kern="0" cap="none" spc="0" normalizeH="0" baseline="0" noProof="0" dirty="0">
              <a:ln>
                <a:noFill/>
              </a:ln>
              <a:solidFill>
                <a:prstClr val="black"/>
              </a:solidFill>
              <a:effectLst/>
              <a:uLnTx/>
              <a:uFillTx/>
              <a:latin typeface="Arial" charset="0"/>
              <a:ea typeface="MS PGothic"/>
              <a:cs typeface="+mn-cs"/>
            </a:endParaRPr>
          </a:p>
        </p:txBody>
      </p:sp>
      <p:cxnSp>
        <p:nvCxnSpPr>
          <p:cNvPr id="60" name="Straight Connector 59"/>
          <p:cNvCxnSpPr/>
          <p:nvPr/>
        </p:nvCxnSpPr>
        <p:spPr bwMode="auto">
          <a:xfrm flipH="1">
            <a:off x="2255574" y="1403268"/>
            <a:ext cx="1" cy="960000"/>
          </a:xfrm>
          <a:prstGeom prst="line">
            <a:avLst/>
          </a:prstGeom>
          <a:noFill/>
          <a:ln w="9525" cap="flat" cmpd="sng" algn="ctr">
            <a:solidFill>
              <a:srgbClr val="FCAF17"/>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1" name="TextBox 41"/>
          <p:cNvSpPr txBox="1"/>
          <p:nvPr/>
        </p:nvSpPr>
        <p:spPr>
          <a:xfrm>
            <a:off x="8770718" y="3624536"/>
            <a:ext cx="1709471" cy="502573"/>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MX" sz="1333" b="0" i="0" u="none" strike="noStrike" kern="1200" cap="none" spc="0" normalizeH="0" baseline="0" noProof="0" dirty="0">
                <a:ln>
                  <a:noFill/>
                </a:ln>
                <a:solidFill>
                  <a:srgbClr val="37424A"/>
                </a:solidFill>
                <a:effectLst/>
                <a:uLnTx/>
                <a:uFillTx/>
                <a:latin typeface="Arial"/>
                <a:ea typeface="MS PGothic"/>
                <a:cs typeface="+mn-cs"/>
              </a:rPr>
              <a:t>Daños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MX" sz="1333" b="0" i="0" u="none" strike="noStrike" kern="1200" cap="none" spc="0" normalizeH="0" baseline="0" noProof="0" dirty="0">
                <a:ln>
                  <a:noFill/>
                </a:ln>
                <a:solidFill>
                  <a:srgbClr val="37424A"/>
                </a:solidFill>
                <a:effectLst/>
                <a:uLnTx/>
                <a:uFillTx/>
                <a:latin typeface="Arial"/>
                <a:ea typeface="MS PGothic"/>
                <a:cs typeface="+mn-cs"/>
              </a:rPr>
              <a:t>materiales</a:t>
            </a:r>
          </a:p>
        </p:txBody>
      </p:sp>
      <p:sp>
        <p:nvSpPr>
          <p:cNvPr id="62" name="TextBox 42"/>
          <p:cNvSpPr txBox="1"/>
          <p:nvPr/>
        </p:nvSpPr>
        <p:spPr>
          <a:xfrm>
            <a:off x="3450451" y="3624535"/>
            <a:ext cx="1300867" cy="502573"/>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MX" sz="1333" b="0" i="0" u="none" strike="noStrike" kern="1200" cap="none" spc="0" normalizeH="0" baseline="0" noProof="0" dirty="0">
                <a:ln>
                  <a:noFill/>
                </a:ln>
                <a:solidFill>
                  <a:srgbClr val="37424A"/>
                </a:solidFill>
                <a:effectLst/>
                <a:uLnTx/>
                <a:uFillTx/>
                <a:latin typeface="Arial"/>
                <a:ea typeface="MS PGothic"/>
                <a:cs typeface="+mn-cs"/>
              </a:rPr>
              <a:t>Violación de seguridad</a:t>
            </a:r>
          </a:p>
        </p:txBody>
      </p:sp>
      <p:sp>
        <p:nvSpPr>
          <p:cNvPr id="63" name="TextBox 43"/>
          <p:cNvSpPr txBox="1"/>
          <p:nvPr/>
        </p:nvSpPr>
        <p:spPr>
          <a:xfrm>
            <a:off x="2343613" y="3634909"/>
            <a:ext cx="1300867" cy="502573"/>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MX" sz="1333" b="0" i="0" u="none" strike="noStrike" kern="1200" cap="none" spc="0" normalizeH="0" baseline="0" noProof="0" dirty="0">
                <a:ln>
                  <a:noFill/>
                </a:ln>
                <a:solidFill>
                  <a:srgbClr val="37424A"/>
                </a:solidFill>
                <a:effectLst/>
                <a:uLnTx/>
                <a:uFillTx/>
                <a:latin typeface="Arial"/>
                <a:ea typeface="MS PGothic"/>
                <a:cs typeface="+mn-cs"/>
              </a:rPr>
              <a:t>Cifrado de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MX" sz="1333" b="0" i="0" u="none" strike="noStrike" kern="1200" cap="none" spc="0" normalizeH="0" baseline="0" noProof="0" dirty="0">
                <a:ln>
                  <a:noFill/>
                </a:ln>
                <a:solidFill>
                  <a:srgbClr val="37424A"/>
                </a:solidFill>
                <a:effectLst/>
                <a:uLnTx/>
                <a:uFillTx/>
                <a:latin typeface="Arial"/>
                <a:ea typeface="MS PGothic"/>
                <a:cs typeface="+mn-cs"/>
              </a:rPr>
              <a:t>información</a:t>
            </a:r>
          </a:p>
        </p:txBody>
      </p:sp>
      <p:sp>
        <p:nvSpPr>
          <p:cNvPr id="64" name="TextBox 45"/>
          <p:cNvSpPr txBox="1"/>
          <p:nvPr/>
        </p:nvSpPr>
        <p:spPr>
          <a:xfrm>
            <a:off x="5495842" y="3616014"/>
            <a:ext cx="1709471" cy="502573"/>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MX" sz="1333" b="0" i="0" u="none" strike="noStrike" kern="1200" cap="none" spc="0" normalizeH="0" baseline="0" noProof="0" dirty="0">
                <a:ln>
                  <a:noFill/>
                </a:ln>
                <a:solidFill>
                  <a:srgbClr val="37424A"/>
                </a:solidFill>
                <a:effectLst/>
                <a:uLnTx/>
                <a:uFillTx/>
                <a:latin typeface="Arial"/>
                <a:ea typeface="MS PGothic"/>
                <a:cs typeface="+mn-cs"/>
              </a:rPr>
              <a:t>Investigaciones regulatorias</a:t>
            </a:r>
          </a:p>
        </p:txBody>
      </p:sp>
      <p:sp>
        <p:nvSpPr>
          <p:cNvPr id="65" name="TextBox 46"/>
          <p:cNvSpPr txBox="1"/>
          <p:nvPr/>
        </p:nvSpPr>
        <p:spPr>
          <a:xfrm>
            <a:off x="4527583" y="3625837"/>
            <a:ext cx="1300867" cy="502573"/>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MX" sz="1333" b="0" i="0" u="none" strike="noStrike" kern="1200" cap="none" spc="0" normalizeH="0" baseline="0" noProof="0" dirty="0">
                <a:ln>
                  <a:noFill/>
                </a:ln>
                <a:solidFill>
                  <a:srgbClr val="37424A"/>
                </a:solidFill>
                <a:effectLst/>
                <a:uLnTx/>
                <a:uFillTx/>
                <a:latin typeface="Arial"/>
                <a:ea typeface="MS PGothic"/>
                <a:cs typeface="+mn-cs"/>
              </a:rPr>
              <a:t>Violación de privacidad</a:t>
            </a:r>
          </a:p>
        </p:txBody>
      </p:sp>
      <p:sp>
        <p:nvSpPr>
          <p:cNvPr id="66" name="TextBox 47"/>
          <p:cNvSpPr txBox="1"/>
          <p:nvPr/>
        </p:nvSpPr>
        <p:spPr>
          <a:xfrm>
            <a:off x="6709447" y="3704574"/>
            <a:ext cx="1426404" cy="297454"/>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MX" sz="1333" b="0" i="0" u="none" strike="noStrike" kern="1200" cap="none" spc="0" normalizeH="0" baseline="0" noProof="0" dirty="0">
                <a:ln>
                  <a:noFill/>
                </a:ln>
                <a:solidFill>
                  <a:srgbClr val="37424A"/>
                </a:solidFill>
                <a:effectLst/>
                <a:uLnTx/>
                <a:uFillTx/>
                <a:latin typeface="Arial"/>
                <a:ea typeface="MS PGothic"/>
                <a:cs typeface="+mn-cs"/>
              </a:rPr>
              <a:t>Fraudes</a:t>
            </a:r>
          </a:p>
        </p:txBody>
      </p:sp>
      <p:sp>
        <p:nvSpPr>
          <p:cNvPr id="67" name="TextBox 49"/>
          <p:cNvSpPr txBox="1"/>
          <p:nvPr/>
        </p:nvSpPr>
        <p:spPr>
          <a:xfrm>
            <a:off x="10033710" y="3624536"/>
            <a:ext cx="1412785" cy="502573"/>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MX" sz="1333" b="0" i="0" u="none" strike="noStrike" kern="1200" cap="none" spc="0" normalizeH="0" baseline="0" noProof="0" dirty="0">
                <a:ln>
                  <a:noFill/>
                </a:ln>
                <a:solidFill>
                  <a:srgbClr val="37424A"/>
                </a:solidFill>
                <a:effectLst/>
                <a:uLnTx/>
                <a:uFillTx/>
                <a:latin typeface="Arial"/>
                <a:ea typeface="MS PGothic"/>
                <a:cs typeface="+mn-cs"/>
              </a:rPr>
              <a:t>Lesiones</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MX" sz="1333" b="0" i="0" u="none" strike="noStrike" kern="1200" cap="none" spc="0" normalizeH="0" baseline="0" noProof="0" dirty="0">
                <a:ln>
                  <a:noFill/>
                </a:ln>
                <a:solidFill>
                  <a:srgbClr val="37424A"/>
                </a:solidFill>
                <a:effectLst/>
                <a:uLnTx/>
                <a:uFillTx/>
                <a:latin typeface="Arial"/>
                <a:ea typeface="MS PGothic"/>
                <a:cs typeface="+mn-cs"/>
              </a:rPr>
              <a:t>personales</a:t>
            </a:r>
          </a:p>
        </p:txBody>
      </p:sp>
      <p:pic>
        <p:nvPicPr>
          <p:cNvPr id="68" name="Picture 50"/>
          <p:cNvPicPr>
            <a:picLocks noChangeAspect="1"/>
          </p:cNvPicPr>
          <p:nvPr/>
        </p:nvPicPr>
        <p:blipFill>
          <a:blip r:embed="rId4"/>
          <a:stretch>
            <a:fillRect/>
          </a:stretch>
        </p:blipFill>
        <p:spPr>
          <a:xfrm>
            <a:off x="10449141" y="3000554"/>
            <a:ext cx="581927" cy="582911"/>
          </a:xfrm>
          <a:prstGeom prst="rect">
            <a:avLst/>
          </a:prstGeom>
        </p:spPr>
      </p:pic>
      <p:sp>
        <p:nvSpPr>
          <p:cNvPr id="69" name="TextBox 51"/>
          <p:cNvSpPr txBox="1"/>
          <p:nvPr/>
        </p:nvSpPr>
        <p:spPr>
          <a:xfrm>
            <a:off x="7652961" y="3616013"/>
            <a:ext cx="1709471" cy="502573"/>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MX" sz="1333" b="0" i="0" u="none" strike="noStrike" kern="1200" cap="none" spc="0" normalizeH="0" baseline="0" noProof="0" dirty="0">
                <a:ln>
                  <a:noFill/>
                </a:ln>
                <a:solidFill>
                  <a:srgbClr val="37424A"/>
                </a:solidFill>
                <a:effectLst/>
                <a:uLnTx/>
                <a:uFillTx/>
                <a:latin typeface="Arial"/>
                <a:ea typeface="MS PGothic"/>
                <a:cs typeface="+mn-cs"/>
              </a:rPr>
              <a:t>Inutilización de</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MX" sz="1333" b="0" i="0" u="none" strike="noStrike" kern="1200" cap="none" spc="0" normalizeH="0" baseline="0" noProof="0" dirty="0">
                <a:ln>
                  <a:noFill/>
                </a:ln>
                <a:solidFill>
                  <a:srgbClr val="37424A"/>
                </a:solidFill>
                <a:effectLst/>
                <a:uLnTx/>
                <a:uFillTx/>
                <a:latin typeface="Arial"/>
                <a:ea typeface="MS PGothic"/>
                <a:cs typeface="+mn-cs"/>
              </a:rPr>
              <a:t>equipos</a:t>
            </a:r>
          </a:p>
        </p:txBody>
      </p:sp>
      <p:sp>
        <p:nvSpPr>
          <p:cNvPr id="70" name="Rectangle 60"/>
          <p:cNvSpPr/>
          <p:nvPr/>
        </p:nvSpPr>
        <p:spPr>
          <a:xfrm>
            <a:off x="579209" y="3087079"/>
            <a:ext cx="1310044" cy="379656"/>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MX" sz="1867" b="1" i="0" u="none" strike="noStrike" kern="1200" cap="none" spc="0" normalizeH="0" baseline="0" noProof="0" dirty="0">
                <a:ln>
                  <a:noFill/>
                </a:ln>
                <a:solidFill>
                  <a:srgbClr val="4BACC6">
                    <a:lumMod val="75000"/>
                  </a:srgbClr>
                </a:solidFill>
                <a:effectLst/>
                <a:uLnTx/>
                <a:uFillTx/>
                <a:latin typeface="Arial"/>
                <a:ea typeface="MS PGothic"/>
                <a:cs typeface="+mn-cs"/>
              </a:rPr>
              <a:t>Impacto</a:t>
            </a:r>
          </a:p>
        </p:txBody>
      </p:sp>
      <p:cxnSp>
        <p:nvCxnSpPr>
          <p:cNvPr id="71" name="Straight Connector 64"/>
          <p:cNvCxnSpPr/>
          <p:nvPr/>
        </p:nvCxnSpPr>
        <p:spPr bwMode="auto">
          <a:xfrm>
            <a:off x="2255573" y="2853300"/>
            <a:ext cx="0" cy="960000"/>
          </a:xfrm>
          <a:prstGeom prst="line">
            <a:avLst/>
          </a:prstGeom>
          <a:noFill/>
          <a:ln w="9525" cap="flat" cmpd="sng" algn="ctr">
            <a:solidFill>
              <a:srgbClr val="0FB795"/>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72" name="Picture 68"/>
          <p:cNvPicPr>
            <a:picLocks noChangeAspect="1"/>
          </p:cNvPicPr>
          <p:nvPr/>
        </p:nvPicPr>
        <p:blipFill>
          <a:blip r:embed="rId5"/>
          <a:stretch>
            <a:fillRect/>
          </a:stretch>
        </p:blipFill>
        <p:spPr>
          <a:xfrm>
            <a:off x="9344760" y="2972763"/>
            <a:ext cx="577616" cy="582912"/>
          </a:xfrm>
          <a:prstGeom prst="rect">
            <a:avLst/>
          </a:prstGeom>
        </p:spPr>
      </p:pic>
      <p:pic>
        <p:nvPicPr>
          <p:cNvPr id="73" name="Picture 73"/>
          <p:cNvPicPr>
            <a:picLocks noChangeAspect="1"/>
          </p:cNvPicPr>
          <p:nvPr/>
        </p:nvPicPr>
        <p:blipFill>
          <a:blip r:embed="rId6"/>
          <a:stretch>
            <a:fillRect/>
          </a:stretch>
        </p:blipFill>
        <p:spPr>
          <a:xfrm>
            <a:off x="7131687" y="2972763"/>
            <a:ext cx="581927" cy="582912"/>
          </a:xfrm>
          <a:prstGeom prst="rect">
            <a:avLst/>
          </a:prstGeom>
        </p:spPr>
      </p:pic>
      <p:pic>
        <p:nvPicPr>
          <p:cNvPr id="74" name="Picture 74"/>
          <p:cNvPicPr>
            <a:picLocks noChangeAspect="1"/>
          </p:cNvPicPr>
          <p:nvPr/>
        </p:nvPicPr>
        <p:blipFill>
          <a:blip r:embed="rId7"/>
          <a:stretch>
            <a:fillRect/>
          </a:stretch>
        </p:blipFill>
        <p:spPr>
          <a:xfrm>
            <a:off x="8240379" y="2972763"/>
            <a:ext cx="577616" cy="582912"/>
          </a:xfrm>
          <a:prstGeom prst="rect">
            <a:avLst/>
          </a:prstGeom>
        </p:spPr>
      </p:pic>
      <p:sp>
        <p:nvSpPr>
          <p:cNvPr id="75" name="Rounded Rectangle 34"/>
          <p:cNvSpPr/>
          <p:nvPr/>
        </p:nvSpPr>
        <p:spPr bwMode="auto">
          <a:xfrm>
            <a:off x="6819044" y="5701849"/>
            <a:ext cx="1536192" cy="576064"/>
          </a:xfrm>
          <a:prstGeom prst="roundRect">
            <a:avLst/>
          </a:prstGeom>
          <a:noFill/>
          <a:ln w="2857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MX" sz="1333" b="0" i="0" u="none" strike="noStrike" kern="1200" cap="none" spc="0" normalizeH="0" baseline="0" noProof="0" dirty="0">
                <a:ln>
                  <a:noFill/>
                </a:ln>
                <a:solidFill>
                  <a:srgbClr val="37424A"/>
                </a:solidFill>
                <a:effectLst/>
                <a:uLnTx/>
                <a:uFillTx/>
                <a:latin typeface="Arial"/>
                <a:ea typeface="MS PGothic"/>
                <a:cs typeface="+mn-cs"/>
              </a:rPr>
              <a:t>Extorsiones</a:t>
            </a:r>
          </a:p>
        </p:txBody>
      </p:sp>
      <p:sp>
        <p:nvSpPr>
          <p:cNvPr id="76" name="Rounded Rectangle 35"/>
          <p:cNvSpPr/>
          <p:nvPr/>
        </p:nvSpPr>
        <p:spPr bwMode="auto">
          <a:xfrm>
            <a:off x="5781181" y="5711025"/>
            <a:ext cx="1536192" cy="576064"/>
          </a:xfrm>
          <a:prstGeom prst="roundRect">
            <a:avLst/>
          </a:prstGeom>
          <a:noFill/>
          <a:ln w="2857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MX" sz="1333" b="0" i="0" u="none" strike="noStrike" kern="1200" cap="none" spc="0" normalizeH="0" baseline="0" noProof="0" dirty="0">
                <a:ln>
                  <a:noFill/>
                </a:ln>
                <a:solidFill>
                  <a:srgbClr val="37424A"/>
                </a:solidFill>
                <a:effectLst/>
                <a:uLnTx/>
                <a:uFillTx/>
                <a:latin typeface="Arial"/>
                <a:ea typeface="MS PGothic"/>
                <a:cs typeface="+mn-cs"/>
              </a:rPr>
              <a:t>Multas y</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MX" sz="1333" b="0" i="0" u="none" strike="noStrike" kern="1200" cap="none" spc="0" normalizeH="0" baseline="0" noProof="0" dirty="0">
                <a:ln>
                  <a:noFill/>
                </a:ln>
                <a:solidFill>
                  <a:srgbClr val="37424A"/>
                </a:solidFill>
                <a:effectLst/>
                <a:uLnTx/>
                <a:uFillTx/>
                <a:latin typeface="Arial"/>
                <a:ea typeface="MS PGothic"/>
                <a:cs typeface="+mn-cs"/>
              </a:rPr>
              <a:t>sanciones</a:t>
            </a:r>
          </a:p>
        </p:txBody>
      </p:sp>
      <p:sp>
        <p:nvSpPr>
          <p:cNvPr id="77" name="Rounded Rectangle 36"/>
          <p:cNvSpPr/>
          <p:nvPr/>
        </p:nvSpPr>
        <p:spPr bwMode="auto">
          <a:xfrm>
            <a:off x="4663016" y="5709899"/>
            <a:ext cx="1536192" cy="576064"/>
          </a:xfrm>
          <a:prstGeom prst="roundRect">
            <a:avLst/>
          </a:prstGeom>
          <a:noFill/>
          <a:ln w="2857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MX" sz="1333" b="0" i="0" u="none" strike="noStrike" kern="1200" cap="none" spc="0" normalizeH="0" baseline="0" noProof="0" dirty="0">
                <a:ln>
                  <a:noFill/>
                </a:ln>
                <a:solidFill>
                  <a:srgbClr val="37424A"/>
                </a:solidFill>
                <a:effectLst/>
                <a:uLnTx/>
                <a:uFillTx/>
                <a:latin typeface="Arial"/>
                <a:ea typeface="MS PGothic"/>
                <a:cs typeface="+mn-cs"/>
              </a:rPr>
              <a:t>Daños a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MX" sz="1333" b="0" i="0" u="none" strike="noStrike" kern="1200" cap="none" spc="0" normalizeH="0" baseline="0" noProof="0" dirty="0">
                <a:ln>
                  <a:noFill/>
                </a:ln>
                <a:solidFill>
                  <a:srgbClr val="37424A"/>
                </a:solidFill>
                <a:effectLst/>
                <a:uLnTx/>
                <a:uFillTx/>
                <a:latin typeface="Arial"/>
                <a:ea typeface="MS PGothic"/>
                <a:cs typeface="+mn-cs"/>
              </a:rPr>
              <a:t>terceros</a:t>
            </a:r>
          </a:p>
        </p:txBody>
      </p:sp>
      <p:sp>
        <p:nvSpPr>
          <p:cNvPr id="78" name="Rounded Rectangle 37"/>
          <p:cNvSpPr/>
          <p:nvPr/>
        </p:nvSpPr>
        <p:spPr bwMode="auto">
          <a:xfrm>
            <a:off x="3538232" y="5712151"/>
            <a:ext cx="1536192" cy="576064"/>
          </a:xfrm>
          <a:prstGeom prst="roundRect">
            <a:avLst/>
          </a:prstGeom>
          <a:noFill/>
          <a:ln w="2857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MX" sz="1333" b="0" i="0" u="none" strike="noStrike" kern="1200" cap="none" spc="0" normalizeH="0" baseline="0" noProof="0" dirty="0">
                <a:ln>
                  <a:noFill/>
                </a:ln>
                <a:solidFill>
                  <a:srgbClr val="37424A"/>
                </a:solidFill>
                <a:effectLst/>
                <a:uLnTx/>
                <a:uFillTx/>
                <a:latin typeface="Arial"/>
                <a:ea typeface="MS PGothic"/>
                <a:cs typeface="+mn-cs"/>
              </a:rPr>
              <a:t>Pérdida de</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MX" sz="1333" b="0" i="0" u="none" strike="noStrike" kern="1200" cap="none" spc="0" normalizeH="0" baseline="0" noProof="0" dirty="0">
                <a:ln>
                  <a:noFill/>
                </a:ln>
                <a:solidFill>
                  <a:srgbClr val="37424A"/>
                </a:solidFill>
                <a:effectLst/>
                <a:uLnTx/>
                <a:uFillTx/>
                <a:latin typeface="Arial"/>
                <a:ea typeface="MS PGothic"/>
                <a:cs typeface="+mn-cs"/>
              </a:rPr>
              <a:t>ingresos</a:t>
            </a:r>
          </a:p>
        </p:txBody>
      </p:sp>
      <p:sp>
        <p:nvSpPr>
          <p:cNvPr id="79" name="Rounded Rectangle 38"/>
          <p:cNvSpPr/>
          <p:nvPr/>
        </p:nvSpPr>
        <p:spPr bwMode="auto">
          <a:xfrm>
            <a:off x="2391625" y="5709899"/>
            <a:ext cx="1539633" cy="576064"/>
          </a:xfrm>
          <a:prstGeom prst="roundRect">
            <a:avLst/>
          </a:prstGeom>
          <a:noFill/>
          <a:ln w="2857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MX" sz="1333" b="0" i="0" u="none" strike="noStrike" kern="1200" cap="none" spc="0" normalizeH="0" baseline="0" noProof="0" dirty="0">
                <a:ln>
                  <a:noFill/>
                </a:ln>
                <a:solidFill>
                  <a:srgbClr val="37424A"/>
                </a:solidFill>
                <a:effectLst/>
                <a:uLnTx/>
                <a:uFillTx/>
                <a:latin typeface="Arial"/>
                <a:ea typeface="MS PGothic"/>
                <a:cs typeface="+mn-cs"/>
              </a:rPr>
              <a:t>Pérdidas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MX" sz="1333" b="0" i="0" u="none" strike="noStrike" kern="1200" cap="none" spc="0" normalizeH="0" baseline="0" noProof="0" dirty="0">
                <a:ln>
                  <a:noFill/>
                </a:ln>
                <a:solidFill>
                  <a:srgbClr val="37424A"/>
                </a:solidFill>
                <a:effectLst/>
                <a:uLnTx/>
                <a:uFillTx/>
                <a:latin typeface="Arial"/>
                <a:ea typeface="MS PGothic"/>
                <a:cs typeface="+mn-cs"/>
              </a:rPr>
              <a:t>propias</a:t>
            </a:r>
          </a:p>
        </p:txBody>
      </p:sp>
      <p:sp>
        <p:nvSpPr>
          <p:cNvPr id="80" name="Rounded Rectangle 39"/>
          <p:cNvSpPr/>
          <p:nvPr/>
        </p:nvSpPr>
        <p:spPr bwMode="auto">
          <a:xfrm>
            <a:off x="8058973" y="5700696"/>
            <a:ext cx="1536192" cy="576064"/>
          </a:xfrm>
          <a:prstGeom prst="roundRect">
            <a:avLst/>
          </a:prstGeom>
          <a:noFill/>
          <a:ln w="2857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MX" sz="1333" b="0" i="0" u="none" strike="noStrike" kern="1200" cap="none" spc="0" normalizeH="0" baseline="0" noProof="0" dirty="0">
                <a:ln>
                  <a:noFill/>
                </a:ln>
                <a:solidFill>
                  <a:srgbClr val="37424A"/>
                </a:solidFill>
                <a:effectLst/>
                <a:uLnTx/>
                <a:uFillTx/>
                <a:latin typeface="Arial"/>
                <a:ea typeface="MS PGothic"/>
                <a:cs typeface="+mn-cs"/>
              </a:rPr>
              <a:t>Negligencia en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MX" sz="1333" b="0" i="0" u="none" strike="noStrike" kern="1200" cap="none" spc="0" normalizeH="0" baseline="0" noProof="0" dirty="0">
                <a:ln>
                  <a:noFill/>
                </a:ln>
                <a:solidFill>
                  <a:srgbClr val="37424A"/>
                </a:solidFill>
                <a:effectLst/>
                <a:uLnTx/>
                <a:uFillTx/>
                <a:latin typeface="Arial"/>
                <a:ea typeface="MS PGothic"/>
                <a:cs typeface="+mn-cs"/>
              </a:rPr>
              <a:t>la prestación de</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MX" sz="1333" b="0" i="0" u="none" strike="noStrike" kern="1200" cap="none" spc="0" normalizeH="0" baseline="0" noProof="0" dirty="0">
                <a:ln>
                  <a:noFill/>
                </a:ln>
                <a:solidFill>
                  <a:srgbClr val="37424A"/>
                </a:solidFill>
                <a:effectLst/>
                <a:uLnTx/>
                <a:uFillTx/>
                <a:latin typeface="Arial"/>
                <a:ea typeface="MS PGothic"/>
                <a:cs typeface="+mn-cs"/>
              </a:rPr>
              <a:t>servicios</a:t>
            </a:r>
          </a:p>
        </p:txBody>
      </p:sp>
      <p:sp>
        <p:nvSpPr>
          <p:cNvPr id="81" name="Rounded Rectangle 40"/>
          <p:cNvSpPr/>
          <p:nvPr/>
        </p:nvSpPr>
        <p:spPr bwMode="auto">
          <a:xfrm>
            <a:off x="9206926" y="5703548"/>
            <a:ext cx="1363431" cy="576064"/>
          </a:xfrm>
          <a:prstGeom prst="roundRect">
            <a:avLst/>
          </a:prstGeom>
          <a:noFill/>
          <a:ln w="2857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MX" sz="1333" b="0" i="0" u="none" strike="noStrike" kern="1200" cap="none" spc="0" normalizeH="0" baseline="0" noProof="0" dirty="0">
                <a:ln>
                  <a:noFill/>
                </a:ln>
                <a:solidFill>
                  <a:srgbClr val="37424A"/>
                </a:solidFill>
                <a:effectLst/>
                <a:uLnTx/>
                <a:uFillTx/>
                <a:latin typeface="Arial"/>
                <a:ea typeface="MS PGothic"/>
                <a:cs typeface="+mn-cs"/>
              </a:rPr>
              <a:t>Litigios</a:t>
            </a:r>
          </a:p>
        </p:txBody>
      </p:sp>
      <p:sp>
        <p:nvSpPr>
          <p:cNvPr id="82" name="Rectangle 61"/>
          <p:cNvSpPr/>
          <p:nvPr/>
        </p:nvSpPr>
        <p:spPr>
          <a:xfrm>
            <a:off x="4822090" y="4228815"/>
            <a:ext cx="3510125" cy="307777"/>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noProof="0" dirty="0">
                <a:ln>
                  <a:noFill/>
                </a:ln>
                <a:solidFill>
                  <a:srgbClr val="37424A"/>
                </a:solidFill>
                <a:effectLst/>
                <a:uLnTx/>
                <a:uFillTx/>
                <a:latin typeface="Arial"/>
                <a:ea typeface="MS PGothic"/>
                <a:cs typeface="+mn-cs"/>
              </a:rPr>
              <a:t>Generando pérdidas/reclamaciones por:</a:t>
            </a:r>
          </a:p>
        </p:txBody>
      </p:sp>
      <p:sp>
        <p:nvSpPr>
          <p:cNvPr id="83" name="Rectangle 62"/>
          <p:cNvSpPr/>
          <p:nvPr/>
        </p:nvSpPr>
        <p:spPr>
          <a:xfrm>
            <a:off x="63525" y="5174211"/>
            <a:ext cx="2341412" cy="379656"/>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MX" sz="1867" b="1" i="0" u="none" strike="noStrike" kern="1200" cap="none" spc="0" normalizeH="0" baseline="0" noProof="0" dirty="0">
                <a:ln>
                  <a:noFill/>
                </a:ln>
                <a:solidFill>
                  <a:srgbClr val="4BACC6">
                    <a:lumMod val="75000"/>
                  </a:srgbClr>
                </a:solidFill>
                <a:effectLst/>
                <a:uLnTx/>
                <a:uFillTx/>
                <a:latin typeface="Arial"/>
                <a:ea typeface="MS PGothic"/>
                <a:cs typeface="+mn-cs"/>
              </a:rPr>
              <a:t>Consecuencias</a:t>
            </a:r>
          </a:p>
        </p:txBody>
      </p:sp>
      <p:cxnSp>
        <p:nvCxnSpPr>
          <p:cNvPr id="84" name="Straight Connector 65"/>
          <p:cNvCxnSpPr/>
          <p:nvPr/>
        </p:nvCxnSpPr>
        <p:spPr bwMode="auto">
          <a:xfrm>
            <a:off x="2255573" y="4939877"/>
            <a:ext cx="0" cy="960000"/>
          </a:xfrm>
          <a:prstGeom prst="line">
            <a:avLst/>
          </a:prstGeom>
          <a:noFill/>
          <a:ln w="9525" cap="flat" cmpd="sng" algn="ctr">
            <a:solidFill>
              <a:srgbClr val="00A8C8"/>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85" name="Picture 75"/>
          <p:cNvPicPr>
            <a:picLocks noChangeAspect="1"/>
          </p:cNvPicPr>
          <p:nvPr/>
        </p:nvPicPr>
        <p:blipFill>
          <a:blip r:embed="rId8"/>
          <a:stretch>
            <a:fillRect/>
          </a:stretch>
        </p:blipFill>
        <p:spPr>
          <a:xfrm>
            <a:off x="2905187" y="5062791"/>
            <a:ext cx="581927" cy="582912"/>
          </a:xfrm>
          <a:prstGeom prst="rect">
            <a:avLst/>
          </a:prstGeom>
        </p:spPr>
      </p:pic>
      <p:pic>
        <p:nvPicPr>
          <p:cNvPr id="86" name="Picture 76"/>
          <p:cNvPicPr>
            <a:picLocks noChangeAspect="1"/>
          </p:cNvPicPr>
          <p:nvPr/>
        </p:nvPicPr>
        <p:blipFill>
          <a:blip r:embed="rId9"/>
          <a:stretch>
            <a:fillRect/>
          </a:stretch>
        </p:blipFill>
        <p:spPr>
          <a:xfrm>
            <a:off x="6250175" y="5032703"/>
            <a:ext cx="581927" cy="582912"/>
          </a:xfrm>
          <a:prstGeom prst="rect">
            <a:avLst/>
          </a:prstGeom>
        </p:spPr>
      </p:pic>
      <p:pic>
        <p:nvPicPr>
          <p:cNvPr id="87" name="Picture 77"/>
          <p:cNvPicPr>
            <a:picLocks noChangeAspect="1"/>
          </p:cNvPicPr>
          <p:nvPr/>
        </p:nvPicPr>
        <p:blipFill>
          <a:blip r:embed="rId10"/>
          <a:stretch>
            <a:fillRect/>
          </a:stretch>
        </p:blipFill>
        <p:spPr>
          <a:xfrm>
            <a:off x="8480167" y="5045957"/>
            <a:ext cx="581927" cy="582912"/>
          </a:xfrm>
          <a:prstGeom prst="rect">
            <a:avLst/>
          </a:prstGeom>
        </p:spPr>
      </p:pic>
      <p:pic>
        <p:nvPicPr>
          <p:cNvPr id="88" name="Picture 78"/>
          <p:cNvPicPr>
            <a:picLocks noChangeAspect="1"/>
          </p:cNvPicPr>
          <p:nvPr/>
        </p:nvPicPr>
        <p:blipFill>
          <a:blip r:embed="rId11"/>
          <a:stretch>
            <a:fillRect/>
          </a:stretch>
        </p:blipFill>
        <p:spPr>
          <a:xfrm>
            <a:off x="9595166" y="5028260"/>
            <a:ext cx="581927" cy="582912"/>
          </a:xfrm>
          <a:prstGeom prst="rect">
            <a:avLst/>
          </a:prstGeom>
        </p:spPr>
      </p:pic>
      <p:pic>
        <p:nvPicPr>
          <p:cNvPr id="89" name="Picture 79"/>
          <p:cNvPicPr>
            <a:picLocks noChangeAspect="1"/>
          </p:cNvPicPr>
          <p:nvPr/>
        </p:nvPicPr>
        <p:blipFill>
          <a:blip r:embed="rId12"/>
          <a:stretch>
            <a:fillRect/>
          </a:stretch>
        </p:blipFill>
        <p:spPr>
          <a:xfrm>
            <a:off x="4020183" y="5043745"/>
            <a:ext cx="581927" cy="582912"/>
          </a:xfrm>
          <a:prstGeom prst="rect">
            <a:avLst/>
          </a:prstGeom>
        </p:spPr>
      </p:pic>
      <p:pic>
        <p:nvPicPr>
          <p:cNvPr id="90" name="Picture 80"/>
          <p:cNvPicPr>
            <a:picLocks noChangeAspect="1"/>
          </p:cNvPicPr>
          <p:nvPr/>
        </p:nvPicPr>
        <p:blipFill>
          <a:blip r:embed="rId13"/>
          <a:stretch>
            <a:fillRect/>
          </a:stretch>
        </p:blipFill>
        <p:spPr>
          <a:xfrm>
            <a:off x="7365171" y="5066261"/>
            <a:ext cx="581927" cy="582912"/>
          </a:xfrm>
          <a:prstGeom prst="rect">
            <a:avLst/>
          </a:prstGeom>
        </p:spPr>
      </p:pic>
      <p:pic>
        <p:nvPicPr>
          <p:cNvPr id="91" name="Picture 81"/>
          <p:cNvPicPr>
            <a:picLocks noChangeAspect="1"/>
          </p:cNvPicPr>
          <p:nvPr/>
        </p:nvPicPr>
        <p:blipFill>
          <a:blip r:embed="rId14"/>
          <a:stretch>
            <a:fillRect/>
          </a:stretch>
        </p:blipFill>
        <p:spPr>
          <a:xfrm>
            <a:off x="5135179" y="5033893"/>
            <a:ext cx="581927" cy="582912"/>
          </a:xfrm>
          <a:prstGeom prst="rect">
            <a:avLst/>
          </a:prstGeom>
        </p:spPr>
      </p:pic>
      <p:cxnSp>
        <p:nvCxnSpPr>
          <p:cNvPr id="92" name="Straight Connector 57"/>
          <p:cNvCxnSpPr/>
          <p:nvPr/>
        </p:nvCxnSpPr>
        <p:spPr bwMode="auto">
          <a:xfrm>
            <a:off x="871627" y="4609593"/>
            <a:ext cx="10081120" cy="0"/>
          </a:xfrm>
          <a:prstGeom prst="line">
            <a:avLst/>
          </a:prstGeom>
          <a:noFill/>
          <a:ln w="9525" cap="flat" cmpd="sng" algn="ctr">
            <a:solidFill>
              <a:srgbClr val="37424A"/>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3" name="Isosceles Triangle 58"/>
          <p:cNvSpPr>
            <a:spLocks/>
          </p:cNvSpPr>
          <p:nvPr/>
        </p:nvSpPr>
        <p:spPr bwMode="auto">
          <a:xfrm rot="10800000">
            <a:off x="4804421" y="4597537"/>
            <a:ext cx="3413760" cy="304800"/>
          </a:xfrm>
          <a:prstGeom prst="triangle">
            <a:avLst/>
          </a:prstGeom>
          <a:solidFill>
            <a:srgbClr val="37424A"/>
          </a:solidFill>
          <a:ln w="9525" cap="flat" cmpd="sng" algn="ctr">
            <a:solidFill>
              <a:srgbClr val="EEECE1"/>
            </a:solidFill>
            <a:prstDash val="solid"/>
            <a:round/>
            <a:headEnd type="none" w="med" len="med"/>
            <a:tailEnd type="none" w="med" len="med"/>
          </a:ln>
          <a:effectLst/>
        </p:spPr>
        <p:txBody>
          <a:bodyPr vert="horz" wrap="none" lIns="0" tIns="0" rIns="121920" bIns="60960" numCol="1" rtlCol="0" anchor="ctr" anchorCtr="0" compatLnSpc="1">
            <a:prstTxWarp prst="textNoShape">
              <a:avLst/>
            </a:prstTxWarp>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s-MX" sz="2667" b="0" i="0" u="none" strike="noStrike" kern="0" cap="none" spc="0" normalizeH="0" baseline="0" noProof="0" dirty="0">
              <a:ln>
                <a:noFill/>
              </a:ln>
              <a:solidFill>
                <a:prstClr val="black"/>
              </a:solidFill>
              <a:effectLst/>
              <a:uLnTx/>
              <a:uFillTx/>
              <a:latin typeface="Arial" charset="0"/>
              <a:ea typeface="MS PGothic"/>
              <a:cs typeface="+mn-cs"/>
            </a:endParaRPr>
          </a:p>
        </p:txBody>
      </p:sp>
      <p:sp>
        <p:nvSpPr>
          <p:cNvPr id="94" name="Rectangle 61"/>
          <p:cNvSpPr/>
          <p:nvPr/>
        </p:nvSpPr>
        <p:spPr>
          <a:xfrm>
            <a:off x="5816137" y="2153175"/>
            <a:ext cx="1268409" cy="307777"/>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noProof="0" dirty="0">
                <a:ln>
                  <a:noFill/>
                </a:ln>
                <a:solidFill>
                  <a:srgbClr val="37424A"/>
                </a:solidFill>
                <a:effectLst/>
                <a:uLnTx/>
                <a:uFillTx/>
                <a:latin typeface="Arial"/>
                <a:ea typeface="MS PGothic"/>
                <a:cs typeface="+mn-cs"/>
              </a:rPr>
              <a:t>Generando:</a:t>
            </a:r>
          </a:p>
        </p:txBody>
      </p:sp>
      <p:grpSp>
        <p:nvGrpSpPr>
          <p:cNvPr id="95" name="Grupo 94"/>
          <p:cNvGrpSpPr/>
          <p:nvPr/>
        </p:nvGrpSpPr>
        <p:grpSpPr>
          <a:xfrm>
            <a:off x="2700571" y="2964753"/>
            <a:ext cx="585600" cy="585600"/>
            <a:chOff x="3563488" y="2133762"/>
            <a:chExt cx="439200" cy="439200"/>
          </a:xfrm>
        </p:grpSpPr>
        <p:sp>
          <p:nvSpPr>
            <p:cNvPr id="96" name="Elipse 95"/>
            <p:cNvSpPr/>
            <p:nvPr/>
          </p:nvSpPr>
          <p:spPr>
            <a:xfrm>
              <a:off x="3563488" y="2133762"/>
              <a:ext cx="439200" cy="439200"/>
            </a:xfrm>
            <a:prstGeom prst="ellipse">
              <a:avLst/>
            </a:prstGeom>
            <a:solidFill>
              <a:srgbClr val="6E84C0"/>
            </a:solidFill>
            <a:ln w="25400" cap="flat" cmpd="sng" algn="ctr">
              <a:solidFill>
                <a:srgbClr val="6E84C0"/>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s-MX" sz="2400" b="0" i="0" u="none" strike="noStrike" kern="0" cap="none" spc="0" normalizeH="0" baseline="0" noProof="0" dirty="0">
                <a:ln>
                  <a:noFill/>
                </a:ln>
                <a:solidFill>
                  <a:prstClr val="white"/>
                </a:solidFill>
                <a:effectLst/>
                <a:uLnTx/>
                <a:uFillTx/>
                <a:latin typeface="Calibri"/>
                <a:ea typeface="MS PGothic"/>
                <a:cs typeface="+mn-cs"/>
              </a:endParaRPr>
            </a:p>
          </p:txBody>
        </p:sp>
        <p:pic>
          <p:nvPicPr>
            <p:cNvPr id="97" name="Imagen 96"/>
            <p:cNvPicPr>
              <a:picLocks noChangeAspect="1"/>
            </p:cNvPicPr>
            <p:nvPr/>
          </p:nvPicPr>
          <p:blipFill>
            <a:blip r:embed="rId15">
              <a:clrChange>
                <a:clrFrom>
                  <a:srgbClr val="000000"/>
                </a:clrFrom>
                <a:clrTo>
                  <a:srgbClr val="000000">
                    <a:alpha val="0"/>
                  </a:srgbClr>
                </a:clrTo>
              </a:clrChange>
            </a:blip>
            <a:stretch>
              <a:fillRect/>
            </a:stretch>
          </p:blipFill>
          <p:spPr>
            <a:xfrm>
              <a:off x="3635948" y="2165430"/>
              <a:ext cx="290976" cy="379831"/>
            </a:xfrm>
            <a:prstGeom prst="rect">
              <a:avLst/>
            </a:prstGeom>
          </p:spPr>
        </p:pic>
      </p:grpSp>
      <p:grpSp>
        <p:nvGrpSpPr>
          <p:cNvPr id="98" name="Grupo 97"/>
          <p:cNvGrpSpPr/>
          <p:nvPr/>
        </p:nvGrpSpPr>
        <p:grpSpPr>
          <a:xfrm>
            <a:off x="3810241" y="2971800"/>
            <a:ext cx="585600" cy="585600"/>
            <a:chOff x="3395687" y="2067694"/>
            <a:chExt cx="439200" cy="439200"/>
          </a:xfrm>
        </p:grpSpPr>
        <p:sp>
          <p:nvSpPr>
            <p:cNvPr id="99" name="Elipse 98"/>
            <p:cNvSpPr/>
            <p:nvPr/>
          </p:nvSpPr>
          <p:spPr>
            <a:xfrm>
              <a:off x="3395687" y="2067694"/>
              <a:ext cx="439200" cy="439200"/>
            </a:xfrm>
            <a:prstGeom prst="ellipse">
              <a:avLst/>
            </a:prstGeom>
            <a:solidFill>
              <a:srgbClr val="6E84C0"/>
            </a:solidFill>
            <a:ln w="25400" cap="flat" cmpd="sng" algn="ctr">
              <a:solidFill>
                <a:srgbClr val="6E84C0"/>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s-MX" sz="2400" b="0" i="0" u="none" strike="noStrike" kern="0" cap="none" spc="0" normalizeH="0" baseline="0" noProof="0" dirty="0">
                <a:ln>
                  <a:noFill/>
                </a:ln>
                <a:solidFill>
                  <a:prstClr val="white"/>
                </a:solidFill>
                <a:effectLst/>
                <a:uLnTx/>
                <a:uFillTx/>
                <a:latin typeface="Calibri"/>
                <a:ea typeface="MS PGothic"/>
                <a:cs typeface="+mn-cs"/>
              </a:endParaRPr>
            </a:p>
          </p:txBody>
        </p:sp>
        <p:pic>
          <p:nvPicPr>
            <p:cNvPr id="100" name="Imagen 99"/>
            <p:cNvPicPr>
              <a:picLocks noChangeAspect="1"/>
            </p:cNvPicPr>
            <p:nvPr/>
          </p:nvPicPr>
          <p:blipFill>
            <a:blip r:embed="rId16">
              <a:clrChange>
                <a:clrFrom>
                  <a:srgbClr val="000000"/>
                </a:clrFrom>
                <a:clrTo>
                  <a:srgbClr val="000000">
                    <a:alpha val="0"/>
                  </a:srgbClr>
                </a:clrTo>
              </a:clrChange>
            </a:blip>
            <a:stretch>
              <a:fillRect/>
            </a:stretch>
          </p:blipFill>
          <p:spPr>
            <a:xfrm>
              <a:off x="3447326" y="2123253"/>
              <a:ext cx="335857" cy="327788"/>
            </a:xfrm>
            <a:prstGeom prst="rect">
              <a:avLst/>
            </a:prstGeom>
          </p:spPr>
        </p:pic>
      </p:grpSp>
      <p:grpSp>
        <p:nvGrpSpPr>
          <p:cNvPr id="101" name="Grupo 100"/>
          <p:cNvGrpSpPr/>
          <p:nvPr/>
        </p:nvGrpSpPr>
        <p:grpSpPr>
          <a:xfrm>
            <a:off x="4885216" y="2965472"/>
            <a:ext cx="585600" cy="590203"/>
            <a:chOff x="3051560" y="1869426"/>
            <a:chExt cx="439200" cy="442652"/>
          </a:xfrm>
        </p:grpSpPr>
        <p:sp>
          <p:nvSpPr>
            <p:cNvPr id="102" name="Elipse 101"/>
            <p:cNvSpPr/>
            <p:nvPr/>
          </p:nvSpPr>
          <p:spPr>
            <a:xfrm>
              <a:off x="3051560" y="1872878"/>
              <a:ext cx="439200" cy="439200"/>
            </a:xfrm>
            <a:prstGeom prst="ellipse">
              <a:avLst/>
            </a:prstGeom>
            <a:solidFill>
              <a:srgbClr val="6E84C0"/>
            </a:solidFill>
            <a:ln w="25400" cap="flat" cmpd="sng" algn="ctr">
              <a:solidFill>
                <a:srgbClr val="6E84C0"/>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s-MX" sz="2400" b="0" i="0" u="none" strike="noStrike" kern="0" cap="none" spc="0" normalizeH="0" baseline="0" noProof="0" dirty="0">
                <a:ln>
                  <a:noFill/>
                </a:ln>
                <a:solidFill>
                  <a:prstClr val="white"/>
                </a:solidFill>
                <a:effectLst/>
                <a:uLnTx/>
                <a:uFillTx/>
                <a:latin typeface="Calibri"/>
                <a:ea typeface="MS PGothic"/>
                <a:cs typeface="+mn-cs"/>
              </a:endParaRPr>
            </a:p>
          </p:txBody>
        </p:sp>
        <p:pic>
          <p:nvPicPr>
            <p:cNvPr id="103" name="Imagen 102"/>
            <p:cNvPicPr>
              <a:picLocks noChangeAspect="1"/>
            </p:cNvPicPr>
            <p:nvPr/>
          </p:nvPicPr>
          <p:blipFill>
            <a:blip r:embed="rId17">
              <a:clrChange>
                <a:clrFrom>
                  <a:srgbClr val="000000"/>
                </a:clrFrom>
                <a:clrTo>
                  <a:srgbClr val="000000">
                    <a:alpha val="0"/>
                  </a:srgbClr>
                </a:clrTo>
              </a:clrChange>
            </a:blip>
            <a:stretch>
              <a:fillRect/>
            </a:stretch>
          </p:blipFill>
          <p:spPr>
            <a:xfrm>
              <a:off x="3072865" y="1869426"/>
              <a:ext cx="385919" cy="389808"/>
            </a:xfrm>
            <a:prstGeom prst="rect">
              <a:avLst/>
            </a:prstGeom>
          </p:spPr>
        </p:pic>
      </p:grpSp>
      <p:grpSp>
        <p:nvGrpSpPr>
          <p:cNvPr id="104" name="Grupo 103"/>
          <p:cNvGrpSpPr/>
          <p:nvPr/>
        </p:nvGrpSpPr>
        <p:grpSpPr>
          <a:xfrm>
            <a:off x="6027529" y="2952265"/>
            <a:ext cx="585600" cy="601868"/>
            <a:chOff x="4520647" y="2214198"/>
            <a:chExt cx="439200" cy="451401"/>
          </a:xfrm>
        </p:grpSpPr>
        <p:sp>
          <p:nvSpPr>
            <p:cNvPr id="105" name="Elipse 104"/>
            <p:cNvSpPr/>
            <p:nvPr/>
          </p:nvSpPr>
          <p:spPr>
            <a:xfrm>
              <a:off x="4520647" y="2226399"/>
              <a:ext cx="439200" cy="439200"/>
            </a:xfrm>
            <a:prstGeom prst="ellipse">
              <a:avLst/>
            </a:prstGeom>
            <a:solidFill>
              <a:srgbClr val="6E84C0"/>
            </a:solidFill>
            <a:ln w="25400" cap="flat" cmpd="sng" algn="ctr">
              <a:solidFill>
                <a:srgbClr val="6E84C0"/>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s-MX" sz="2400" b="0" i="0" u="none" strike="noStrike" kern="0" cap="none" spc="0" normalizeH="0" baseline="0" noProof="0" dirty="0">
                <a:ln>
                  <a:noFill/>
                </a:ln>
                <a:solidFill>
                  <a:prstClr val="white"/>
                </a:solidFill>
                <a:effectLst/>
                <a:uLnTx/>
                <a:uFillTx/>
                <a:latin typeface="Calibri"/>
                <a:ea typeface="MS PGothic"/>
                <a:cs typeface="+mn-cs"/>
              </a:endParaRPr>
            </a:p>
          </p:txBody>
        </p:sp>
        <p:pic>
          <p:nvPicPr>
            <p:cNvPr id="106" name="Imagen 105"/>
            <p:cNvPicPr>
              <a:picLocks noChangeAspect="1"/>
            </p:cNvPicPr>
            <p:nvPr/>
          </p:nvPicPr>
          <p:blipFill>
            <a:blip r:embed="rId18">
              <a:clrChange>
                <a:clrFrom>
                  <a:srgbClr val="000000"/>
                </a:clrFrom>
                <a:clrTo>
                  <a:srgbClr val="000000">
                    <a:alpha val="0"/>
                  </a:srgbClr>
                </a:clrTo>
              </a:clrChange>
            </a:blip>
            <a:stretch>
              <a:fillRect/>
            </a:stretch>
          </p:blipFill>
          <p:spPr>
            <a:xfrm>
              <a:off x="4568321" y="2214198"/>
              <a:ext cx="355943" cy="413490"/>
            </a:xfrm>
            <a:prstGeom prst="rect">
              <a:avLst/>
            </a:prstGeom>
          </p:spPr>
        </p:pic>
      </p:grpSp>
      <p:sp>
        <p:nvSpPr>
          <p:cNvPr id="3" name="Elipse 2"/>
          <p:cNvSpPr/>
          <p:nvPr/>
        </p:nvSpPr>
        <p:spPr bwMode="auto">
          <a:xfrm>
            <a:off x="9010932" y="2799682"/>
            <a:ext cx="2561549" cy="1567565"/>
          </a:xfrm>
          <a:prstGeom prst="ellipse">
            <a:avLst/>
          </a:prstGeom>
          <a:noFill/>
          <a:ln w="28575"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121920" bIns="60960" numCol="1" rtlCol="0" anchor="ctr" anchorCtr="0" compatLnSpc="1">
            <a:prstTxWarp prst="textNoShape">
              <a:avLst/>
            </a:prstTxWarp>
          </a:bodyPr>
          <a:lstStyle/>
          <a:p>
            <a:pPr marL="0" marR="0" lvl="0" indent="0" algn="ctr" defTabSz="1219170" rtl="0" eaLnBrk="1" fontAlgn="base" latinLnBrk="0" hangingPunct="1">
              <a:lnSpc>
                <a:spcPct val="86000"/>
              </a:lnSpc>
              <a:spcBef>
                <a:spcPct val="0"/>
              </a:spcBef>
              <a:spcAft>
                <a:spcPct val="0"/>
              </a:spcAft>
              <a:buClrTx/>
              <a:buSzTx/>
              <a:buFontTx/>
              <a:buNone/>
              <a:tabLst/>
              <a:defRPr/>
            </a:pPr>
            <a:endParaRPr kumimoji="0" lang="es-MX" sz="2667" b="0" i="0" u="none" strike="noStrike" kern="1200" cap="none" spc="0" normalizeH="0" baseline="0" noProof="0" dirty="0">
              <a:ln>
                <a:noFill/>
              </a:ln>
              <a:solidFill>
                <a:prstClr val="black"/>
              </a:solidFill>
              <a:effectLst/>
              <a:uLnTx/>
              <a:uFillTx/>
              <a:latin typeface="Arial" charset="0"/>
              <a:ea typeface="MS PGothic"/>
              <a:cs typeface="+mn-cs"/>
            </a:endParaRPr>
          </a:p>
        </p:txBody>
      </p:sp>
      <p:sp>
        <p:nvSpPr>
          <p:cNvPr id="107" name="Elipse 106"/>
          <p:cNvSpPr/>
          <p:nvPr/>
        </p:nvSpPr>
        <p:spPr bwMode="auto">
          <a:xfrm>
            <a:off x="6881246" y="2728104"/>
            <a:ext cx="1138417" cy="1450768"/>
          </a:xfrm>
          <a:prstGeom prst="ellipse">
            <a:avLst/>
          </a:prstGeom>
          <a:noFill/>
          <a:ln w="28575"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121920" bIns="60960" numCol="1" rtlCol="0" anchor="ctr" anchorCtr="0" compatLnSpc="1">
            <a:prstTxWarp prst="textNoShape">
              <a:avLst/>
            </a:prstTxWarp>
          </a:bodyPr>
          <a:lstStyle/>
          <a:p>
            <a:pPr marL="0" marR="0" lvl="0" indent="0" algn="ctr" defTabSz="1219170" rtl="0" eaLnBrk="1" fontAlgn="base" latinLnBrk="0" hangingPunct="1">
              <a:lnSpc>
                <a:spcPct val="86000"/>
              </a:lnSpc>
              <a:spcBef>
                <a:spcPct val="0"/>
              </a:spcBef>
              <a:spcAft>
                <a:spcPct val="0"/>
              </a:spcAft>
              <a:buClrTx/>
              <a:buSzTx/>
              <a:buFontTx/>
              <a:buNone/>
              <a:tabLst/>
              <a:defRPr/>
            </a:pPr>
            <a:endParaRPr kumimoji="0" lang="es-MX" sz="2667" b="0" i="0" u="none" strike="noStrike" kern="1200" cap="none" spc="0" normalizeH="0" baseline="0" noProof="0" dirty="0">
              <a:ln>
                <a:noFill/>
              </a:ln>
              <a:solidFill>
                <a:prstClr val="black"/>
              </a:solidFill>
              <a:effectLst/>
              <a:uLnTx/>
              <a:uFillTx/>
              <a:latin typeface="Arial" charset="0"/>
              <a:ea typeface="MS PGothic"/>
              <a:cs typeface="+mn-cs"/>
            </a:endParaRPr>
          </a:p>
        </p:txBody>
      </p:sp>
      <p:sp>
        <p:nvSpPr>
          <p:cNvPr id="108" name="Elipse 107"/>
          <p:cNvSpPr/>
          <p:nvPr/>
        </p:nvSpPr>
        <p:spPr bwMode="auto">
          <a:xfrm>
            <a:off x="8135852" y="4965825"/>
            <a:ext cx="1367337" cy="1450768"/>
          </a:xfrm>
          <a:prstGeom prst="ellipse">
            <a:avLst/>
          </a:prstGeom>
          <a:noFill/>
          <a:ln w="28575"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121920" bIns="60960" numCol="1" rtlCol="0" anchor="ctr" anchorCtr="0" compatLnSpc="1">
            <a:prstTxWarp prst="textNoShape">
              <a:avLst/>
            </a:prstTxWarp>
          </a:bodyPr>
          <a:lstStyle/>
          <a:p>
            <a:pPr marL="0" marR="0" lvl="0" indent="0" algn="ctr" defTabSz="1219170" rtl="0" eaLnBrk="1" fontAlgn="base" latinLnBrk="0" hangingPunct="1">
              <a:lnSpc>
                <a:spcPct val="86000"/>
              </a:lnSpc>
              <a:spcBef>
                <a:spcPct val="0"/>
              </a:spcBef>
              <a:spcAft>
                <a:spcPct val="0"/>
              </a:spcAft>
              <a:buClrTx/>
              <a:buSzTx/>
              <a:buFontTx/>
              <a:buNone/>
              <a:tabLst/>
              <a:defRPr/>
            </a:pPr>
            <a:endParaRPr kumimoji="0" lang="es-MX" sz="2667" b="0" i="0" u="none" strike="noStrike" kern="1200" cap="none" spc="0" normalizeH="0" baseline="0" noProof="0" dirty="0">
              <a:ln>
                <a:noFill/>
              </a:ln>
              <a:solidFill>
                <a:prstClr val="black"/>
              </a:solidFill>
              <a:effectLst/>
              <a:uLnTx/>
              <a:uFillTx/>
              <a:latin typeface="Arial" charset="0"/>
              <a:ea typeface="MS PGothic"/>
              <a:cs typeface="+mn-cs"/>
            </a:endParaRPr>
          </a:p>
        </p:txBody>
      </p:sp>
      <p:sp>
        <p:nvSpPr>
          <p:cNvPr id="109" name="Elipse 108"/>
          <p:cNvSpPr/>
          <p:nvPr/>
        </p:nvSpPr>
        <p:spPr bwMode="auto">
          <a:xfrm>
            <a:off x="2476107" y="2537240"/>
            <a:ext cx="4485889" cy="1739940"/>
          </a:xfrm>
          <a:prstGeom prst="ellipse">
            <a:avLst/>
          </a:prstGeom>
          <a:noFill/>
          <a:ln w="28575" cap="flat" cmpd="sng" algn="ctr">
            <a:solidFill>
              <a:srgbClr val="14B795"/>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121920" bIns="60960" numCol="1" rtlCol="0" anchor="ctr" anchorCtr="0" compatLnSpc="1">
            <a:prstTxWarp prst="textNoShape">
              <a:avLst/>
            </a:prstTxWarp>
          </a:bodyPr>
          <a:lstStyle/>
          <a:p>
            <a:pPr marL="0" marR="0" lvl="0" indent="0" algn="ctr" defTabSz="1219170" rtl="0" eaLnBrk="1" fontAlgn="base" latinLnBrk="0" hangingPunct="1">
              <a:lnSpc>
                <a:spcPct val="86000"/>
              </a:lnSpc>
              <a:spcBef>
                <a:spcPct val="0"/>
              </a:spcBef>
              <a:spcAft>
                <a:spcPct val="0"/>
              </a:spcAft>
              <a:buClrTx/>
              <a:buSzTx/>
              <a:buFontTx/>
              <a:buNone/>
              <a:tabLst/>
              <a:defRPr/>
            </a:pPr>
            <a:endParaRPr kumimoji="0" lang="es-MX" sz="2667" b="0" i="0" u="none" strike="noStrike" kern="1200" cap="none" spc="0" normalizeH="0" baseline="0" noProof="0" dirty="0">
              <a:ln>
                <a:noFill/>
              </a:ln>
              <a:solidFill>
                <a:prstClr val="black"/>
              </a:solidFill>
              <a:effectLst/>
              <a:uLnTx/>
              <a:uFillTx/>
              <a:latin typeface="Arial" charset="0"/>
              <a:ea typeface="MS PGothic"/>
              <a:cs typeface="+mn-cs"/>
            </a:endParaRPr>
          </a:p>
        </p:txBody>
      </p:sp>
      <p:sp>
        <p:nvSpPr>
          <p:cNvPr id="110" name="Elipse 109"/>
          <p:cNvSpPr/>
          <p:nvPr/>
        </p:nvSpPr>
        <p:spPr bwMode="auto">
          <a:xfrm>
            <a:off x="8015206" y="2729636"/>
            <a:ext cx="1109021" cy="1567565"/>
          </a:xfrm>
          <a:prstGeom prst="ellipse">
            <a:avLst/>
          </a:prstGeom>
          <a:noFill/>
          <a:ln w="28575" cap="flat" cmpd="sng" algn="ctr">
            <a:solidFill>
              <a:srgbClr val="6E84C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121920" bIns="60960" numCol="1" rtlCol="0" anchor="ctr" anchorCtr="0" compatLnSpc="1">
            <a:prstTxWarp prst="textNoShape">
              <a:avLst/>
            </a:prstTxWarp>
          </a:bodyPr>
          <a:lstStyle/>
          <a:p>
            <a:pPr marL="0" marR="0" lvl="0" indent="0" algn="ctr" defTabSz="1219170" rtl="0" eaLnBrk="1" fontAlgn="base" latinLnBrk="0" hangingPunct="1">
              <a:lnSpc>
                <a:spcPct val="86000"/>
              </a:lnSpc>
              <a:spcBef>
                <a:spcPct val="0"/>
              </a:spcBef>
              <a:spcAft>
                <a:spcPct val="0"/>
              </a:spcAft>
              <a:buClrTx/>
              <a:buSzTx/>
              <a:buFontTx/>
              <a:buNone/>
              <a:tabLst/>
              <a:defRPr/>
            </a:pPr>
            <a:endParaRPr kumimoji="0" lang="es-MX" sz="2667" b="0" i="0" u="none" strike="noStrike" kern="1200" cap="none" spc="0" normalizeH="0" baseline="0" noProof="0" dirty="0">
              <a:ln>
                <a:noFill/>
              </a:ln>
              <a:solidFill>
                <a:prstClr val="black"/>
              </a:solidFill>
              <a:effectLst/>
              <a:uLnTx/>
              <a:uFillTx/>
              <a:latin typeface="Arial" charset="0"/>
              <a:ea typeface="MS PGothic"/>
              <a:cs typeface="+mn-cs"/>
            </a:endParaRPr>
          </a:p>
        </p:txBody>
      </p:sp>
      <p:sp>
        <p:nvSpPr>
          <p:cNvPr id="112" name="Shape 1091"/>
          <p:cNvSpPr/>
          <p:nvPr/>
        </p:nvSpPr>
        <p:spPr>
          <a:xfrm>
            <a:off x="602944" y="286327"/>
            <a:ext cx="8167774" cy="44319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nSpc>
                <a:spcPct val="80000"/>
              </a:lnSpc>
              <a:spcBef>
                <a:spcPts val="1200"/>
              </a:spcBef>
              <a:defRPr sz="2200" b="1">
                <a:solidFill>
                  <a:srgbClr val="FFFFFF"/>
                </a:solidFill>
                <a:latin typeface="MMC Display"/>
                <a:ea typeface="MMC Display"/>
                <a:cs typeface="MMC Display"/>
                <a:sym typeface="MMC Display"/>
              </a:defRPr>
            </a:lvl1pPr>
          </a:lstStyle>
          <a:p>
            <a:pPr>
              <a:lnSpc>
                <a:spcPct val="90000"/>
              </a:lnSpc>
            </a:pPr>
            <a:r>
              <a:rPr lang="es-ES" sz="3200" kern="1200" dirty="0">
                <a:solidFill>
                  <a:schemeClr val="accent1"/>
                </a:solidFill>
                <a:ea typeface="+mj-ea"/>
                <a:cs typeface="+mj-cs"/>
              </a:rPr>
              <a:t>Riesgo Cibernético - ¿Qué </a:t>
            </a:r>
            <a:r>
              <a:rPr lang="es-ES" sz="3200" dirty="0">
                <a:solidFill>
                  <a:schemeClr val="accent1"/>
                </a:solidFill>
              </a:rPr>
              <a:t>es</a:t>
            </a:r>
            <a:r>
              <a:rPr lang="es-ES" sz="3200" kern="1200" dirty="0">
                <a:solidFill>
                  <a:schemeClr val="accent1"/>
                </a:solidFill>
                <a:ea typeface="+mj-ea"/>
                <a:cs typeface="+mj-cs"/>
              </a:rPr>
              <a:t>? </a:t>
            </a:r>
          </a:p>
        </p:txBody>
      </p:sp>
      <p:pic>
        <p:nvPicPr>
          <p:cNvPr id="118" name="Imagen 117">
            <a:extLst>
              <a:ext uri="{FF2B5EF4-FFF2-40B4-BE49-F238E27FC236}">
                <a16:creationId xmlns:a16="http://schemas.microsoft.com/office/drawing/2014/main" id="{F5C7D1AE-DE87-4F4D-8853-D92364F9C732}"/>
              </a:ext>
            </a:extLst>
          </p:cNvPr>
          <p:cNvPicPr>
            <a:picLocks noChangeAspect="1"/>
          </p:cNvPicPr>
          <p:nvPr/>
        </p:nvPicPr>
        <p:blipFill>
          <a:blip r:embed="rId19"/>
          <a:stretch>
            <a:fillRect/>
          </a:stretch>
        </p:blipFill>
        <p:spPr>
          <a:xfrm>
            <a:off x="394330" y="6460047"/>
            <a:ext cx="1800225" cy="304800"/>
          </a:xfrm>
          <a:prstGeom prst="rect">
            <a:avLst/>
          </a:prstGeom>
        </p:spPr>
      </p:pic>
    </p:spTree>
    <p:custDataLst>
      <p:tags r:id="rId1"/>
    </p:custDataLst>
    <p:extLst>
      <p:ext uri="{BB962C8B-B14F-4D97-AF65-F5344CB8AC3E}">
        <p14:creationId xmlns:p14="http://schemas.microsoft.com/office/powerpoint/2010/main" val="75747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07" grpId="0" animBg="1"/>
      <p:bldP spid="108" grpId="0" animBg="1"/>
      <p:bldP spid="109" grpId="0" animBg="1"/>
      <p:bldP spid="11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CA3DCC1-C5DE-2447-8F3E-D162983867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6CA3DCC1-C5DE-2447-8F3E-D1629838670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CC3EF53-BEBF-7B46-AF6D-8D54BAF6D64F}"/>
              </a:ext>
            </a:extLst>
          </p:cNvPr>
          <p:cNvSpPr>
            <a:spLocks noGrp="1"/>
          </p:cNvSpPr>
          <p:nvPr>
            <p:ph type="title"/>
          </p:nvPr>
        </p:nvSpPr>
        <p:spPr>
          <a:xfrm>
            <a:off x="457201" y="301274"/>
            <a:ext cx="7429500" cy="495299"/>
          </a:xfrm>
        </p:spPr>
        <p:txBody>
          <a:bodyPr/>
          <a:lstStyle/>
          <a:p>
            <a:r>
              <a:rPr lang="es-PE" dirty="0"/>
              <a:t>¿Cómo puede impactar el riesgo cibernético?</a:t>
            </a:r>
          </a:p>
        </p:txBody>
      </p:sp>
      <p:pic>
        <p:nvPicPr>
          <p:cNvPr id="46" name="Picture 2"/>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7833" r="8925"/>
          <a:stretch/>
        </p:blipFill>
        <p:spPr bwMode="auto">
          <a:xfrm>
            <a:off x="829076" y="1151590"/>
            <a:ext cx="6685751" cy="5368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Placeholder 3"/>
          <p:cNvPicPr>
            <a:picLocks noGrp="1" noChangeAspect="1"/>
          </p:cNvPicPr>
          <p:nvPr>
            <p:ph type="pic" sz="quarter" idx="12"/>
          </p:nvPr>
        </p:nvPicPr>
        <p:blipFill>
          <a:blip r:embed="rId7">
            <a:extLst>
              <a:ext uri="{28A0092B-C50C-407E-A947-70E740481C1C}">
                <a14:useLocalDpi xmlns:a14="http://schemas.microsoft.com/office/drawing/2010/main" val="0"/>
              </a:ext>
            </a:extLst>
          </a:blip>
          <a:srcRect l="32005" r="32005"/>
          <a:stretch>
            <a:fillRect/>
          </a:stretch>
        </p:blipFill>
        <p:spPr/>
      </p:pic>
      <p:pic>
        <p:nvPicPr>
          <p:cNvPr id="6" name="Imagen 5">
            <a:extLst>
              <a:ext uri="{FF2B5EF4-FFF2-40B4-BE49-F238E27FC236}">
                <a16:creationId xmlns:a16="http://schemas.microsoft.com/office/drawing/2014/main" id="{AAA1D7FF-0698-4CB2-BAFA-BAB7B28B467A}"/>
              </a:ext>
            </a:extLst>
          </p:cNvPr>
          <p:cNvPicPr>
            <a:picLocks noChangeAspect="1"/>
          </p:cNvPicPr>
          <p:nvPr/>
        </p:nvPicPr>
        <p:blipFill>
          <a:blip r:embed="rId8"/>
          <a:stretch>
            <a:fillRect/>
          </a:stretch>
        </p:blipFill>
        <p:spPr>
          <a:xfrm>
            <a:off x="394330" y="6460047"/>
            <a:ext cx="1800225" cy="304800"/>
          </a:xfrm>
          <a:prstGeom prst="rect">
            <a:avLst/>
          </a:prstGeom>
        </p:spPr>
      </p:pic>
    </p:spTree>
    <p:extLst>
      <p:ext uri="{BB962C8B-B14F-4D97-AF65-F5344CB8AC3E}">
        <p14:creationId xmlns:p14="http://schemas.microsoft.com/office/powerpoint/2010/main" val="1944289207"/>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8500" y="2270340"/>
            <a:ext cx="9531350" cy="1514259"/>
          </a:xfrm>
        </p:spPr>
        <p:txBody>
          <a:bodyPr>
            <a:noAutofit/>
          </a:bodyPr>
          <a:lstStyle/>
          <a:p>
            <a:r>
              <a:rPr lang="es-CO" sz="4400" dirty="0"/>
              <a:t>Características de ataques cibernéticos </a:t>
            </a:r>
            <a:br>
              <a:rPr lang="es-CO" sz="4400" dirty="0"/>
            </a:br>
            <a:r>
              <a:rPr lang="es-CO" sz="4400" dirty="0"/>
              <a:t>Ejemplos </a:t>
            </a:r>
          </a:p>
        </p:txBody>
      </p:sp>
    </p:spTree>
    <p:extLst>
      <p:ext uri="{BB962C8B-B14F-4D97-AF65-F5344CB8AC3E}">
        <p14:creationId xmlns:p14="http://schemas.microsoft.com/office/powerpoint/2010/main" val="39040117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Imagen 35">
            <a:extLst>
              <a:ext uri="{FF2B5EF4-FFF2-40B4-BE49-F238E27FC236}">
                <a16:creationId xmlns:a16="http://schemas.microsoft.com/office/drawing/2014/main" id="{16BF5AAD-2D29-47C6-A591-92553994DF41}"/>
              </a:ext>
            </a:extLst>
          </p:cNvPr>
          <p:cNvPicPr>
            <a:picLocks noChangeAspect="1"/>
          </p:cNvPicPr>
          <p:nvPr/>
        </p:nvPicPr>
        <p:blipFill>
          <a:blip r:embed="rId3"/>
          <a:stretch>
            <a:fillRect/>
          </a:stretch>
        </p:blipFill>
        <p:spPr>
          <a:xfrm>
            <a:off x="394330" y="6460047"/>
            <a:ext cx="1800225" cy="304800"/>
          </a:xfrm>
          <a:prstGeom prst="rect">
            <a:avLst/>
          </a:prstGeom>
        </p:spPr>
      </p:pic>
      <p:pic>
        <p:nvPicPr>
          <p:cNvPr id="3" name="Imagen 2">
            <a:extLst>
              <a:ext uri="{FF2B5EF4-FFF2-40B4-BE49-F238E27FC236}">
                <a16:creationId xmlns:a16="http://schemas.microsoft.com/office/drawing/2014/main" id="{7F8D2040-9D9B-4892-8E9B-15FA8F62ACDD}"/>
              </a:ext>
            </a:extLst>
          </p:cNvPr>
          <p:cNvPicPr>
            <a:picLocks noChangeAspect="1"/>
          </p:cNvPicPr>
          <p:nvPr/>
        </p:nvPicPr>
        <p:blipFill>
          <a:blip r:embed="rId4"/>
          <a:stretch>
            <a:fillRect/>
          </a:stretch>
        </p:blipFill>
        <p:spPr>
          <a:xfrm>
            <a:off x="190499" y="1483620"/>
            <a:ext cx="11750987" cy="3240780"/>
          </a:xfrm>
          <a:prstGeom prst="rect">
            <a:avLst/>
          </a:prstGeom>
        </p:spPr>
      </p:pic>
      <p:sp>
        <p:nvSpPr>
          <p:cNvPr id="5" name="Title 1">
            <a:extLst>
              <a:ext uri="{FF2B5EF4-FFF2-40B4-BE49-F238E27FC236}">
                <a16:creationId xmlns:a16="http://schemas.microsoft.com/office/drawing/2014/main" id="{44F49CDF-D061-4D80-8130-F1AE4DE01B85}"/>
              </a:ext>
            </a:extLst>
          </p:cNvPr>
          <p:cNvSpPr>
            <a:spLocks noGrp="1"/>
          </p:cNvSpPr>
          <p:nvPr>
            <p:ph type="title"/>
          </p:nvPr>
        </p:nvSpPr>
        <p:spPr>
          <a:xfrm>
            <a:off x="457201" y="850900"/>
            <a:ext cx="7068277" cy="495299"/>
          </a:xfrm>
        </p:spPr>
        <p:txBody>
          <a:bodyPr/>
          <a:lstStyle/>
          <a:p>
            <a:r>
              <a:rPr lang="es-PE" sz="4000" dirty="0">
                <a:latin typeface="MMC Display"/>
              </a:rPr>
              <a:t>Estructura de un ataque </a:t>
            </a:r>
          </a:p>
        </p:txBody>
      </p:sp>
      <p:sp>
        <p:nvSpPr>
          <p:cNvPr id="6" name="Title 1">
            <a:extLst>
              <a:ext uri="{FF2B5EF4-FFF2-40B4-BE49-F238E27FC236}">
                <a16:creationId xmlns:a16="http://schemas.microsoft.com/office/drawing/2014/main" id="{E19AD1E0-0B6D-4843-8CF6-35FDB18A04DE}"/>
              </a:ext>
            </a:extLst>
          </p:cNvPr>
          <p:cNvSpPr txBox="1">
            <a:spLocks/>
          </p:cNvSpPr>
          <p:nvPr/>
        </p:nvSpPr>
        <p:spPr>
          <a:xfrm>
            <a:off x="4133849" y="5220748"/>
            <a:ext cx="8655361" cy="495299"/>
          </a:xfrm>
          <a:prstGeom prst="rect">
            <a:avLst/>
          </a:prstGeom>
        </p:spPr>
        <p:txBody>
          <a:bodyPr vert="horz" lIns="0" tIns="0" rIns="0" bIns="0" rtlCol="0" anchor="t">
            <a:noAutofit/>
          </a:bodyPr>
          <a:lstStyle>
            <a:lvl1pPr algn="l" defTabSz="457200" rtl="0" eaLnBrk="1" latinLnBrk="0" hangingPunct="1">
              <a:lnSpc>
                <a:spcPct val="80000"/>
              </a:lnSpc>
              <a:spcBef>
                <a:spcPct val="0"/>
              </a:spcBef>
              <a:buNone/>
              <a:defRPr sz="3000" b="1" kern="1200">
                <a:solidFill>
                  <a:schemeClr val="tx2"/>
                </a:solidFill>
                <a:latin typeface="+mj-lt"/>
                <a:ea typeface="+mj-ea"/>
                <a:cs typeface="+mj-cs"/>
              </a:defRPr>
            </a:lvl1pPr>
          </a:lstStyle>
          <a:p>
            <a:r>
              <a:rPr lang="es-PE" sz="2400" dirty="0">
                <a:solidFill>
                  <a:srgbClr val="FF0000"/>
                </a:solidFill>
                <a:latin typeface="MMC Display"/>
              </a:rPr>
              <a:t>Objetivo: Robo, corrupción o destrucción de datos y dinero</a:t>
            </a:r>
          </a:p>
          <a:p>
            <a:r>
              <a:rPr lang="es-PE" sz="2400" dirty="0">
                <a:solidFill>
                  <a:srgbClr val="FF0000"/>
                </a:solidFill>
                <a:latin typeface="MMC Display"/>
              </a:rPr>
              <a:t> </a:t>
            </a:r>
          </a:p>
        </p:txBody>
      </p:sp>
    </p:spTree>
    <p:extLst>
      <p:ext uri="{BB962C8B-B14F-4D97-AF65-F5344CB8AC3E}">
        <p14:creationId xmlns:p14="http://schemas.microsoft.com/office/powerpoint/2010/main" val="885355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Imagen 35">
            <a:extLst>
              <a:ext uri="{FF2B5EF4-FFF2-40B4-BE49-F238E27FC236}">
                <a16:creationId xmlns:a16="http://schemas.microsoft.com/office/drawing/2014/main" id="{16BF5AAD-2D29-47C6-A591-92553994DF41}"/>
              </a:ext>
            </a:extLst>
          </p:cNvPr>
          <p:cNvPicPr>
            <a:picLocks noChangeAspect="1"/>
          </p:cNvPicPr>
          <p:nvPr/>
        </p:nvPicPr>
        <p:blipFill>
          <a:blip r:embed="rId3"/>
          <a:stretch>
            <a:fillRect/>
          </a:stretch>
        </p:blipFill>
        <p:spPr>
          <a:xfrm>
            <a:off x="394330" y="6460047"/>
            <a:ext cx="1800225" cy="304800"/>
          </a:xfrm>
          <a:prstGeom prst="rect">
            <a:avLst/>
          </a:prstGeom>
        </p:spPr>
      </p:pic>
      <p:sp>
        <p:nvSpPr>
          <p:cNvPr id="5" name="Title 1">
            <a:extLst>
              <a:ext uri="{FF2B5EF4-FFF2-40B4-BE49-F238E27FC236}">
                <a16:creationId xmlns:a16="http://schemas.microsoft.com/office/drawing/2014/main" id="{44F49CDF-D061-4D80-8130-F1AE4DE01B85}"/>
              </a:ext>
            </a:extLst>
          </p:cNvPr>
          <p:cNvSpPr>
            <a:spLocks noGrp="1"/>
          </p:cNvSpPr>
          <p:nvPr>
            <p:ph type="title"/>
          </p:nvPr>
        </p:nvSpPr>
        <p:spPr>
          <a:xfrm>
            <a:off x="394330" y="479425"/>
            <a:ext cx="7068277" cy="495299"/>
          </a:xfrm>
        </p:spPr>
        <p:txBody>
          <a:bodyPr/>
          <a:lstStyle/>
          <a:p>
            <a:r>
              <a:rPr lang="es-PE" sz="4000" dirty="0">
                <a:latin typeface="MMC Display"/>
              </a:rPr>
              <a:t>Estructura de un ataque </a:t>
            </a:r>
          </a:p>
        </p:txBody>
      </p:sp>
      <p:pic>
        <p:nvPicPr>
          <p:cNvPr id="3" name="Imagen 2">
            <a:extLst>
              <a:ext uri="{FF2B5EF4-FFF2-40B4-BE49-F238E27FC236}">
                <a16:creationId xmlns:a16="http://schemas.microsoft.com/office/drawing/2014/main" id="{1747FB95-3C3B-49DE-8C4D-45118C09F6C2}"/>
              </a:ext>
            </a:extLst>
          </p:cNvPr>
          <p:cNvPicPr>
            <a:picLocks noChangeAspect="1"/>
          </p:cNvPicPr>
          <p:nvPr/>
        </p:nvPicPr>
        <p:blipFill>
          <a:blip r:embed="rId4"/>
          <a:stretch>
            <a:fillRect/>
          </a:stretch>
        </p:blipFill>
        <p:spPr>
          <a:xfrm>
            <a:off x="3276601" y="1346199"/>
            <a:ext cx="8991600" cy="5305425"/>
          </a:xfrm>
          <a:prstGeom prst="rect">
            <a:avLst/>
          </a:prstGeom>
        </p:spPr>
      </p:pic>
      <p:sp>
        <p:nvSpPr>
          <p:cNvPr id="8" name="Title 1">
            <a:extLst>
              <a:ext uri="{FF2B5EF4-FFF2-40B4-BE49-F238E27FC236}">
                <a16:creationId xmlns:a16="http://schemas.microsoft.com/office/drawing/2014/main" id="{4BC55F6B-1409-4438-9958-EC3299380A33}"/>
              </a:ext>
            </a:extLst>
          </p:cNvPr>
          <p:cNvSpPr txBox="1">
            <a:spLocks/>
          </p:cNvSpPr>
          <p:nvPr/>
        </p:nvSpPr>
        <p:spPr>
          <a:xfrm>
            <a:off x="457201" y="2229374"/>
            <a:ext cx="2806070" cy="951452"/>
          </a:xfrm>
          <a:prstGeom prst="rect">
            <a:avLst/>
          </a:prstGeom>
        </p:spPr>
        <p:txBody>
          <a:bodyPr vert="horz" lIns="0" tIns="0" rIns="0" bIns="0" rtlCol="0" anchor="t">
            <a:noAutofit/>
          </a:bodyPr>
          <a:lstStyle>
            <a:lvl1pPr algn="l" defTabSz="457200" rtl="0" eaLnBrk="1" latinLnBrk="0" hangingPunct="1">
              <a:lnSpc>
                <a:spcPct val="80000"/>
              </a:lnSpc>
              <a:spcBef>
                <a:spcPct val="0"/>
              </a:spcBef>
              <a:buNone/>
              <a:defRPr sz="3000" b="1" kern="1200">
                <a:solidFill>
                  <a:schemeClr val="tx2"/>
                </a:solidFill>
                <a:latin typeface="+mj-lt"/>
                <a:ea typeface="+mj-ea"/>
                <a:cs typeface="+mj-cs"/>
              </a:defRPr>
            </a:lvl1pPr>
          </a:lstStyle>
          <a:p>
            <a:r>
              <a:rPr lang="es-PE" sz="2400" dirty="0">
                <a:latin typeface="MMC Display"/>
              </a:rPr>
              <a:t>Como vuelve ese dinero al sistema a través de diferentes medios: </a:t>
            </a:r>
          </a:p>
          <a:p>
            <a:r>
              <a:rPr lang="es-PE" sz="2400" dirty="0">
                <a:solidFill>
                  <a:srgbClr val="FF0000"/>
                </a:solidFill>
                <a:latin typeface="MMC Display"/>
              </a:rPr>
              <a:t> </a:t>
            </a:r>
          </a:p>
        </p:txBody>
      </p:sp>
    </p:spTree>
    <p:extLst>
      <p:ext uri="{BB962C8B-B14F-4D97-AF65-F5344CB8AC3E}">
        <p14:creationId xmlns:p14="http://schemas.microsoft.com/office/powerpoint/2010/main" val="466320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367" y="2476817"/>
            <a:ext cx="11058557" cy="1923733"/>
          </a:xfrm>
        </p:spPr>
        <p:txBody>
          <a:bodyPr>
            <a:normAutofit fontScale="90000"/>
          </a:bodyPr>
          <a:lstStyle/>
          <a:p>
            <a:r>
              <a:rPr lang="es-CO" sz="4900" dirty="0"/>
              <a:t>Riesgo Cibernético – El riesgo se puede gestionar y mitigar, pero no eliminar…</a:t>
            </a:r>
            <a:br>
              <a:rPr lang="es-CO" sz="3600" dirty="0"/>
            </a:br>
            <a:br>
              <a:rPr lang="es-CO" sz="3600" dirty="0"/>
            </a:br>
            <a:br>
              <a:rPr lang="es-CO" sz="3600" dirty="0"/>
            </a:br>
            <a:endParaRPr lang="es-CO" sz="3600" dirty="0"/>
          </a:p>
        </p:txBody>
      </p:sp>
    </p:spTree>
    <p:extLst>
      <p:ext uri="{BB962C8B-B14F-4D97-AF65-F5344CB8AC3E}">
        <p14:creationId xmlns:p14="http://schemas.microsoft.com/office/powerpoint/2010/main" val="998264117"/>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8043BF0-6279-204E-9684-BF634A94BF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1" name="Object 10" hidden="1">
                        <a:extLst>
                          <a:ext uri="{FF2B5EF4-FFF2-40B4-BE49-F238E27FC236}">
                            <a16:creationId xmlns:a16="http://schemas.microsoft.com/office/drawing/2014/main" id="{88043BF0-6279-204E-9684-BF634A94BFA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23AF1BB5-D948-8244-9944-03FD4BB912B5}"/>
              </a:ext>
            </a:extLst>
          </p:cNvPr>
          <p:cNvSpPr>
            <a:spLocks noGrp="1"/>
          </p:cNvSpPr>
          <p:nvPr>
            <p:ph type="title"/>
          </p:nvPr>
        </p:nvSpPr>
        <p:spPr/>
        <p:txBody>
          <a:bodyPr/>
          <a:lstStyle/>
          <a:p>
            <a:r>
              <a:rPr lang="es-PE" sz="3600" dirty="0">
                <a:latin typeface="MMC Display"/>
              </a:rPr>
              <a:t>13 Controles críticos</a:t>
            </a:r>
          </a:p>
        </p:txBody>
      </p:sp>
      <p:grpSp>
        <p:nvGrpSpPr>
          <p:cNvPr id="4" name="Group 3"/>
          <p:cNvGrpSpPr/>
          <p:nvPr/>
        </p:nvGrpSpPr>
        <p:grpSpPr>
          <a:xfrm>
            <a:off x="398530" y="1336355"/>
            <a:ext cx="11069926" cy="5210457"/>
            <a:chOff x="398530" y="1137950"/>
            <a:chExt cx="8413732" cy="3960224"/>
          </a:xfrm>
        </p:grpSpPr>
        <p:grpSp>
          <p:nvGrpSpPr>
            <p:cNvPr id="23" name="Group 22"/>
            <p:cNvGrpSpPr/>
            <p:nvPr/>
          </p:nvGrpSpPr>
          <p:grpSpPr>
            <a:xfrm>
              <a:off x="398530" y="1275606"/>
              <a:ext cx="3292710" cy="3292710"/>
              <a:chOff x="362174" y="1457243"/>
              <a:chExt cx="3292710" cy="3292710"/>
            </a:xfrm>
          </p:grpSpPr>
          <p:sp>
            <p:nvSpPr>
              <p:cNvPr id="24" name="Oval 23"/>
              <p:cNvSpPr/>
              <p:nvPr/>
            </p:nvSpPr>
            <p:spPr>
              <a:xfrm>
                <a:off x="362174" y="1457243"/>
                <a:ext cx="3292710" cy="3292710"/>
              </a:xfrm>
              <a:prstGeom prst="ellipse">
                <a:avLst/>
              </a:prstGeom>
              <a:solidFill>
                <a:srgbClr val="009DE0"/>
              </a:solidFill>
              <a:ln>
                <a:noFill/>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PE" sz="1800" b="1" i="0" u="none" strike="noStrike" kern="1200" cap="none" spc="0" normalizeH="0" baseline="0" noProof="0" dirty="0">
                    <a:ln>
                      <a:noFill/>
                    </a:ln>
                    <a:solidFill>
                      <a:srgbClr val="FFFFFF"/>
                    </a:solidFill>
                    <a:effectLst/>
                    <a:uLnTx/>
                    <a:uFillTx/>
                    <a:latin typeface="Arial" panose="020B0604020202020204"/>
                    <a:ea typeface="+mn-ea"/>
                    <a:cs typeface="+mn-cs"/>
                  </a:rPr>
                  <a:t>Framework de</a:t>
                </a:r>
                <a:br>
                  <a:rPr kumimoji="0" lang="es-PE" sz="18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s-PE" sz="1800" b="1" i="0" u="none" strike="noStrike" kern="1200" cap="none" spc="0" normalizeH="0" baseline="0" noProof="0" dirty="0">
                    <a:ln>
                      <a:noFill/>
                    </a:ln>
                    <a:solidFill>
                      <a:srgbClr val="FFFFFF"/>
                    </a:solidFill>
                    <a:effectLst/>
                    <a:uLnTx/>
                    <a:uFillTx/>
                    <a:latin typeface="Arial" panose="020B0604020202020204"/>
                    <a:ea typeface="+mn-ea"/>
                    <a:cs typeface="+mn-cs"/>
                  </a:rPr>
                  <a:t>Ciberseguridad</a:t>
                </a:r>
                <a:br>
                  <a:rPr kumimoji="0" lang="es-PE" sz="18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s-PE" sz="1800" b="1" i="0" u="none" strike="noStrike" kern="1200" cap="none" spc="0" normalizeH="0" baseline="0" noProof="0" dirty="0">
                    <a:ln>
                      <a:noFill/>
                    </a:ln>
                    <a:solidFill>
                      <a:srgbClr val="FFFFFF"/>
                    </a:solidFill>
                    <a:effectLst/>
                    <a:uLnTx/>
                    <a:uFillTx/>
                    <a:latin typeface="Arial" panose="020B0604020202020204"/>
                    <a:ea typeface="+mn-ea"/>
                    <a:cs typeface="+mn-cs"/>
                  </a:rPr>
                  <a:t>(</a:t>
                </a:r>
                <a:r>
                  <a:rPr kumimoji="0" lang="es-PE" sz="1800" b="1" i="0" u="none" strike="noStrike" kern="1200" cap="none" spc="0" normalizeH="0" baseline="0" noProof="0" dirty="0" err="1">
                    <a:ln>
                      <a:noFill/>
                    </a:ln>
                    <a:solidFill>
                      <a:srgbClr val="FFFFFF"/>
                    </a:solidFill>
                    <a:effectLst/>
                    <a:uLnTx/>
                    <a:uFillTx/>
                    <a:latin typeface="Arial" panose="020B0604020202020204"/>
                    <a:ea typeface="+mn-ea"/>
                    <a:cs typeface="+mn-cs"/>
                  </a:rPr>
                  <a:t>p.e</a:t>
                </a:r>
                <a:r>
                  <a:rPr kumimoji="0" lang="es-PE" sz="1800" b="1" i="0" u="none" strike="noStrike" kern="1200" cap="none" spc="0" normalizeH="0" baseline="0" noProof="0" dirty="0">
                    <a:ln>
                      <a:noFill/>
                    </a:ln>
                    <a:solidFill>
                      <a:srgbClr val="FFFFFF"/>
                    </a:solidFill>
                    <a:effectLst/>
                    <a:uLnTx/>
                    <a:uFillTx/>
                    <a:latin typeface="Arial" panose="020B0604020202020204"/>
                    <a:ea typeface="+mn-ea"/>
                    <a:cs typeface="+mn-cs"/>
                  </a:rPr>
                  <a:t>. NIST, CIS </a:t>
                </a:r>
                <a:r>
                  <a:rPr kumimoji="0" lang="es-PE" sz="1800" b="1" i="0" u="none" strike="noStrike" kern="1200" cap="none" spc="0" normalizeH="0" baseline="0" noProof="0" dirty="0" err="1">
                    <a:ln>
                      <a:noFill/>
                    </a:ln>
                    <a:solidFill>
                      <a:srgbClr val="FFFFFF"/>
                    </a:solidFill>
                    <a:effectLst/>
                    <a:uLnTx/>
                    <a:uFillTx/>
                    <a:latin typeface="Arial" panose="020B0604020202020204"/>
                    <a:ea typeface="+mn-ea"/>
                    <a:cs typeface="+mn-cs"/>
                  </a:rPr>
                  <a:t>Controls</a:t>
                </a:r>
                <a:r>
                  <a:rPr kumimoji="0" lang="es-PE" sz="1800" b="1" i="0" u="none" strike="noStrike" kern="1200" cap="none" spc="0" normalizeH="0" baseline="0" noProof="0" dirty="0">
                    <a:ln>
                      <a:noFill/>
                    </a:ln>
                    <a:solidFill>
                      <a:srgbClr val="FFFFFF"/>
                    </a:solidFill>
                    <a:effectLst/>
                    <a:uLnTx/>
                    <a:uFillTx/>
                    <a:latin typeface="Arial" panose="020B0604020202020204"/>
                    <a:ea typeface="+mn-ea"/>
                    <a:cs typeface="+mn-cs"/>
                  </a:rPr>
                  <a:t>, etc.)</a:t>
                </a:r>
              </a:p>
            </p:txBody>
          </p:sp>
          <p:sp>
            <p:nvSpPr>
              <p:cNvPr id="25" name="Oval 24"/>
              <p:cNvSpPr/>
              <p:nvPr/>
            </p:nvSpPr>
            <p:spPr>
              <a:xfrm>
                <a:off x="986272" y="2643758"/>
                <a:ext cx="2044514" cy="2044514"/>
              </a:xfrm>
              <a:prstGeom prst="ellipse">
                <a:avLst/>
              </a:prstGeom>
              <a:solidFill>
                <a:srgbClr val="002C77"/>
              </a:solidFill>
              <a:ln>
                <a:noFill/>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PE" sz="1600" b="1" i="0" u="none" strike="noStrike" kern="1200" cap="none" spc="0" normalizeH="0" baseline="0" noProof="0" dirty="0">
                    <a:ln>
                      <a:noFill/>
                    </a:ln>
                    <a:solidFill>
                      <a:srgbClr val="FFFFFF"/>
                    </a:solidFill>
                    <a:effectLst/>
                    <a:uLnTx/>
                    <a:uFillTx/>
                    <a:latin typeface="Arial" panose="020B0604020202020204"/>
                    <a:ea typeface="+mn-ea"/>
                    <a:cs typeface="+mn-cs"/>
                  </a:rPr>
                  <a:t>12 controles</a:t>
                </a:r>
                <a:br>
                  <a:rPr kumimoji="0" lang="es-PE" sz="16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s-PE" sz="1600" b="1" i="0" u="none" strike="noStrike" kern="1200" cap="none" spc="0" normalizeH="0" baseline="0" noProof="0" dirty="0">
                    <a:ln>
                      <a:noFill/>
                    </a:ln>
                    <a:solidFill>
                      <a:srgbClr val="FFFFFF"/>
                    </a:solidFill>
                    <a:effectLst/>
                    <a:uLnTx/>
                    <a:uFillTx/>
                    <a:latin typeface="Arial" panose="020B0604020202020204"/>
                    <a:ea typeface="+mn-ea"/>
                    <a:cs typeface="+mn-cs"/>
                  </a:rPr>
                  <a:t>críticos</a:t>
                </a:r>
                <a:br>
                  <a:rPr kumimoji="0" lang="es-PE" sz="16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s-PE" sz="1600" b="1" i="0" u="none" strike="noStrike" kern="1200" cap="none" spc="0" normalizeH="0" baseline="0" noProof="0" dirty="0">
                    <a:ln>
                      <a:noFill/>
                    </a:ln>
                    <a:solidFill>
                      <a:srgbClr val="FFFFFF"/>
                    </a:solidFill>
                    <a:effectLst/>
                    <a:uLnTx/>
                    <a:uFillTx/>
                    <a:latin typeface="Arial" panose="020B0604020202020204"/>
                    <a:ea typeface="+mn-ea"/>
                    <a:cs typeface="+mn-cs"/>
                  </a:rPr>
                  <a:t>para el seguro</a:t>
                </a:r>
                <a:br>
                  <a:rPr kumimoji="0" lang="es-PE" sz="16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s-PE" sz="1600" b="1" i="0" u="none" strike="noStrike" kern="1200" cap="none" spc="0" normalizeH="0" baseline="0" noProof="0" dirty="0">
                    <a:ln>
                      <a:noFill/>
                    </a:ln>
                    <a:solidFill>
                      <a:srgbClr val="FFFFFF"/>
                    </a:solidFill>
                    <a:effectLst/>
                    <a:uLnTx/>
                    <a:uFillTx/>
                    <a:latin typeface="Arial" panose="020B0604020202020204"/>
                    <a:ea typeface="+mn-ea"/>
                    <a:cs typeface="+mn-cs"/>
                  </a:rPr>
                  <a:t>de riesgo</a:t>
                </a:r>
                <a:br>
                  <a:rPr kumimoji="0" lang="es-PE" sz="16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s-PE" sz="1600" b="1" i="0" u="none" strike="noStrike" kern="1200" cap="none" spc="0" normalizeH="0" baseline="0" noProof="0" dirty="0">
                    <a:ln>
                      <a:noFill/>
                    </a:ln>
                    <a:solidFill>
                      <a:srgbClr val="FFFFFF"/>
                    </a:solidFill>
                    <a:effectLst/>
                    <a:uLnTx/>
                    <a:uFillTx/>
                    <a:latin typeface="Arial" panose="020B0604020202020204"/>
                    <a:ea typeface="+mn-ea"/>
                    <a:cs typeface="+mn-cs"/>
                  </a:rPr>
                  <a:t>cibernético</a:t>
                </a:r>
              </a:p>
            </p:txBody>
          </p:sp>
        </p:grpSp>
        <p:pic>
          <p:nvPicPr>
            <p:cNvPr id="26" name="Picture 25"/>
            <p:cNvPicPr>
              <a:picLocks noChangeAspect="1"/>
            </p:cNvPicPr>
            <p:nvPr/>
          </p:nvPicPr>
          <p:blipFill>
            <a:blip r:embed="rId6"/>
            <a:stretch>
              <a:fillRect/>
            </a:stretch>
          </p:blipFill>
          <p:spPr>
            <a:xfrm>
              <a:off x="4121462" y="1137950"/>
              <a:ext cx="4690800" cy="3960224"/>
            </a:xfrm>
            <a:prstGeom prst="rect">
              <a:avLst/>
            </a:prstGeom>
          </p:spPr>
        </p:pic>
      </p:grpSp>
      <p:pic>
        <p:nvPicPr>
          <p:cNvPr id="10" name="Imagen 9">
            <a:extLst>
              <a:ext uri="{FF2B5EF4-FFF2-40B4-BE49-F238E27FC236}">
                <a16:creationId xmlns:a16="http://schemas.microsoft.com/office/drawing/2014/main" id="{67CE7109-BBAF-4F6A-925D-EF464E74F7B3}"/>
              </a:ext>
            </a:extLst>
          </p:cNvPr>
          <p:cNvPicPr>
            <a:picLocks noChangeAspect="1"/>
          </p:cNvPicPr>
          <p:nvPr/>
        </p:nvPicPr>
        <p:blipFill>
          <a:blip r:embed="rId7"/>
          <a:stretch>
            <a:fillRect/>
          </a:stretch>
        </p:blipFill>
        <p:spPr>
          <a:xfrm>
            <a:off x="394330" y="6460047"/>
            <a:ext cx="1800225" cy="304800"/>
          </a:xfrm>
          <a:prstGeom prst="rect">
            <a:avLst/>
          </a:prstGeom>
        </p:spPr>
      </p:pic>
    </p:spTree>
    <p:extLst>
      <p:ext uri="{BB962C8B-B14F-4D97-AF65-F5344CB8AC3E}">
        <p14:creationId xmlns:p14="http://schemas.microsoft.com/office/powerpoint/2010/main" val="3914890663"/>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3">
            <a:extLst>
              <a:ext uri="{FF2B5EF4-FFF2-40B4-BE49-F238E27FC236}">
                <a16:creationId xmlns:a16="http://schemas.microsoft.com/office/drawing/2014/main" id="{87D94352-56C8-7BEF-290C-CCF07BE3ABBF}"/>
              </a:ext>
            </a:extLst>
          </p:cNvPr>
          <p:cNvSpPr txBox="1">
            <a:spLocks/>
          </p:cNvSpPr>
          <p:nvPr>
            <p:custDataLst>
              <p:custData r:id="rId1"/>
            </p:custDataLst>
          </p:nvPr>
        </p:nvSpPr>
        <p:spPr>
          <a:xfrm>
            <a:off x="11430000" y="6516000"/>
            <a:ext cx="280800" cy="123111"/>
          </a:xfrm>
          <a:prstGeom prst="rect">
            <a:avLst/>
          </a:prstGeom>
          <a:noFill/>
        </p:spPr>
        <p:txBody>
          <a:bodyPr wrap="square" lIns="0" tIns="0" rIns="0" bIns="0" rtlCol="0">
            <a:spAutoFit/>
          </a:bodyPr>
          <a:lstStyle>
            <a:defPPr>
              <a:defRPr lang="en-GB"/>
            </a:defPPr>
            <a:lvl1pPr marL="0" algn="r" defTabSz="457200" rtl="0" eaLnBrk="1" latinLnBrk="0" hangingPunct="1">
              <a:defRPr lang="en-GB" sz="800" kern="1200" smtClean="0">
                <a:solidFill>
                  <a:schemeClr val="tx1"/>
                </a:solidFill>
                <a:effectLst/>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F66040D-6F20-4F4B-8995-856BEECD84BE}" type="slidenum">
              <a:rPr lang="en-IN" smtClean="0"/>
              <a:pPr/>
              <a:t>17</a:t>
            </a:fld>
            <a:endParaRPr lang="en-IN" dirty="0"/>
          </a:p>
        </p:txBody>
      </p:sp>
      <p:pic>
        <p:nvPicPr>
          <p:cNvPr id="6" name="Imagen 5">
            <a:extLst>
              <a:ext uri="{FF2B5EF4-FFF2-40B4-BE49-F238E27FC236}">
                <a16:creationId xmlns:a16="http://schemas.microsoft.com/office/drawing/2014/main" id="{D5A8B308-6906-454B-9052-B5CCF6FD98F1}"/>
              </a:ext>
            </a:extLst>
          </p:cNvPr>
          <p:cNvPicPr>
            <a:picLocks noChangeAspect="1"/>
          </p:cNvPicPr>
          <p:nvPr/>
        </p:nvPicPr>
        <p:blipFill>
          <a:blip r:embed="rId4"/>
          <a:stretch>
            <a:fillRect/>
          </a:stretch>
        </p:blipFill>
        <p:spPr>
          <a:xfrm>
            <a:off x="135635" y="6460047"/>
            <a:ext cx="1800225" cy="304800"/>
          </a:xfrm>
          <a:prstGeom prst="rect">
            <a:avLst/>
          </a:prstGeom>
        </p:spPr>
      </p:pic>
      <p:pic>
        <p:nvPicPr>
          <p:cNvPr id="4" name="Imagen 3">
            <a:extLst>
              <a:ext uri="{FF2B5EF4-FFF2-40B4-BE49-F238E27FC236}">
                <a16:creationId xmlns:a16="http://schemas.microsoft.com/office/drawing/2014/main" id="{FD8F7AD1-1FB5-4C87-A5AA-0221557707BB}"/>
              </a:ext>
            </a:extLst>
          </p:cNvPr>
          <p:cNvPicPr>
            <a:picLocks noChangeAspect="1"/>
          </p:cNvPicPr>
          <p:nvPr/>
        </p:nvPicPr>
        <p:blipFill>
          <a:blip r:embed="rId5"/>
          <a:stretch>
            <a:fillRect/>
          </a:stretch>
        </p:blipFill>
        <p:spPr>
          <a:xfrm>
            <a:off x="135635" y="0"/>
            <a:ext cx="11481090" cy="6645623"/>
          </a:xfrm>
          <a:prstGeom prst="rect">
            <a:avLst/>
          </a:prstGeom>
        </p:spPr>
      </p:pic>
    </p:spTree>
    <p:extLst>
      <p:ext uri="{BB962C8B-B14F-4D97-AF65-F5344CB8AC3E}">
        <p14:creationId xmlns:p14="http://schemas.microsoft.com/office/powerpoint/2010/main" val="1234453574"/>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8499" y="2270340"/>
            <a:ext cx="10607675" cy="1514259"/>
          </a:xfrm>
        </p:spPr>
        <p:txBody>
          <a:bodyPr>
            <a:normAutofit/>
          </a:bodyPr>
          <a:lstStyle/>
          <a:p>
            <a:r>
              <a:rPr lang="es-CO" sz="4400" dirty="0"/>
              <a:t>Oferta de Valor Carpenter Marsh </a:t>
            </a:r>
            <a:r>
              <a:rPr lang="es-CO" sz="4400" dirty="0" err="1"/>
              <a:t>Fac</a:t>
            </a:r>
            <a:r>
              <a:rPr lang="es-CO" sz="4400" dirty="0"/>
              <a:t> </a:t>
            </a:r>
          </a:p>
        </p:txBody>
      </p:sp>
    </p:spTree>
    <p:extLst>
      <p:ext uri="{BB962C8B-B14F-4D97-AF65-F5344CB8AC3E}">
        <p14:creationId xmlns:p14="http://schemas.microsoft.com/office/powerpoint/2010/main" val="35068642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0613" y="2675622"/>
            <a:ext cx="8234484" cy="1107860"/>
          </a:xfrm>
        </p:spPr>
        <p:txBody>
          <a:bodyPr>
            <a:normAutofit fontScale="90000"/>
          </a:bodyPr>
          <a:lstStyle/>
          <a:p>
            <a:r>
              <a:rPr lang="es-CO" sz="4400" dirty="0"/>
              <a:t>Formulario CMF </a:t>
            </a:r>
            <a:r>
              <a:rPr lang="es-CO" sz="4400" dirty="0" err="1"/>
              <a:t>Self</a:t>
            </a:r>
            <a:r>
              <a:rPr lang="es-CO" sz="4400" dirty="0"/>
              <a:t> </a:t>
            </a:r>
            <a:r>
              <a:rPr lang="es-CO" sz="4400" dirty="0" err="1"/>
              <a:t>Assessment</a:t>
            </a:r>
            <a:br>
              <a:rPr lang="es-CO" sz="4400" dirty="0"/>
            </a:br>
            <a:r>
              <a:rPr lang="es-CO" sz="4400" dirty="0"/>
              <a:t>Formulario Online</a:t>
            </a:r>
            <a:br>
              <a:rPr lang="es-CO" sz="4400" dirty="0"/>
            </a:br>
            <a:r>
              <a:rPr lang="es-CO" sz="4400" dirty="0"/>
              <a:t>Resultados de la evaluación</a:t>
            </a:r>
          </a:p>
        </p:txBody>
      </p:sp>
    </p:spTree>
    <p:extLst>
      <p:ext uri="{BB962C8B-B14F-4D97-AF65-F5344CB8AC3E}">
        <p14:creationId xmlns:p14="http://schemas.microsoft.com/office/powerpoint/2010/main" val="11536398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5884" y="2664041"/>
            <a:ext cx="7640516" cy="815760"/>
          </a:xfrm>
        </p:spPr>
        <p:txBody>
          <a:bodyPr>
            <a:normAutofit/>
          </a:bodyPr>
          <a:lstStyle/>
          <a:p>
            <a:r>
              <a:rPr lang="es-CO" sz="4400" dirty="0"/>
              <a:t>Contexto general de </a:t>
            </a:r>
            <a:r>
              <a:rPr lang="es-CO" sz="4400" dirty="0" err="1"/>
              <a:t>Cyber</a:t>
            </a:r>
            <a:endParaRPr lang="es-CO" sz="4400" dirty="0"/>
          </a:p>
        </p:txBody>
      </p:sp>
    </p:spTree>
    <p:extLst>
      <p:ext uri="{BB962C8B-B14F-4D97-AF65-F5344CB8AC3E}">
        <p14:creationId xmlns:p14="http://schemas.microsoft.com/office/powerpoint/2010/main" val="762514664"/>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0A7BC0F-2980-9045-A7EA-E898893BEB54}"/>
              </a:ext>
            </a:extLst>
          </p:cNvPr>
          <p:cNvSpPr>
            <a:spLocks noGrp="1"/>
          </p:cNvSpPr>
          <p:nvPr>
            <p:ph type="title"/>
          </p:nvPr>
        </p:nvSpPr>
        <p:spPr>
          <a:xfrm>
            <a:off x="147294" y="491028"/>
            <a:ext cx="7646078" cy="495299"/>
          </a:xfrm>
        </p:spPr>
        <p:txBody>
          <a:bodyPr/>
          <a:lstStyle/>
          <a:p>
            <a:pPr algn="just"/>
            <a:r>
              <a:rPr lang="es-CL" sz="3600" dirty="0">
                <a:latin typeface="MMC Display"/>
              </a:rPr>
              <a:t>Autoevaluación y Formulario a la vez </a:t>
            </a:r>
          </a:p>
        </p:txBody>
      </p:sp>
      <p:sp>
        <p:nvSpPr>
          <p:cNvPr id="103" name="Oval 49">
            <a:extLst>
              <a:ext uri="{FF2B5EF4-FFF2-40B4-BE49-F238E27FC236}">
                <a16:creationId xmlns:a16="http://schemas.microsoft.com/office/drawing/2014/main" id="{C1729533-4F3A-3D44-871C-D91463622155}"/>
              </a:ext>
            </a:extLst>
          </p:cNvPr>
          <p:cNvSpPr>
            <a:spLocks noChangeArrowheads="1"/>
          </p:cNvSpPr>
          <p:nvPr/>
        </p:nvSpPr>
        <p:spPr bwMode="auto">
          <a:xfrm>
            <a:off x="540308" y="5617854"/>
            <a:ext cx="461077" cy="461077"/>
          </a:xfrm>
          <a:prstGeom prst="ellipse">
            <a:avLst/>
          </a:prstGeom>
          <a:solidFill>
            <a:srgbClr val="0042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r>
              <a:rPr lang="en-GB" b="1" dirty="0">
                <a:solidFill>
                  <a:schemeClr val="bg1"/>
                </a:solidFill>
              </a:rPr>
              <a:t>5</a:t>
            </a:r>
          </a:p>
        </p:txBody>
      </p:sp>
      <p:grpSp>
        <p:nvGrpSpPr>
          <p:cNvPr id="15" name="Group 14">
            <a:extLst>
              <a:ext uri="{FF2B5EF4-FFF2-40B4-BE49-F238E27FC236}">
                <a16:creationId xmlns:a16="http://schemas.microsoft.com/office/drawing/2014/main" id="{13FC7144-55DA-D24D-BE3C-B7B891056523}"/>
              </a:ext>
            </a:extLst>
          </p:cNvPr>
          <p:cNvGrpSpPr/>
          <p:nvPr/>
        </p:nvGrpSpPr>
        <p:grpSpPr>
          <a:xfrm>
            <a:off x="540308" y="5609881"/>
            <a:ext cx="7346389" cy="488261"/>
            <a:chOff x="540308" y="5609881"/>
            <a:chExt cx="7346389" cy="488261"/>
          </a:xfrm>
        </p:grpSpPr>
        <p:sp>
          <p:nvSpPr>
            <p:cNvPr id="93" name="Rectangle 92">
              <a:extLst>
                <a:ext uri="{FF2B5EF4-FFF2-40B4-BE49-F238E27FC236}">
                  <a16:creationId xmlns:a16="http://schemas.microsoft.com/office/drawing/2014/main" id="{CEB1F5AE-B001-0147-883C-41216CBB61F2}"/>
                </a:ext>
              </a:extLst>
            </p:cNvPr>
            <p:cNvSpPr>
              <a:spLocks noChangeArrowheads="1"/>
            </p:cNvSpPr>
            <p:nvPr/>
          </p:nvSpPr>
          <p:spPr bwMode="auto">
            <a:xfrm>
              <a:off x="1409701" y="5609881"/>
              <a:ext cx="6476996" cy="488261"/>
            </a:xfrm>
            <a:prstGeom prst="rect">
              <a:avLst/>
            </a:prstGeom>
            <a:noFill/>
            <a:ln>
              <a:noFill/>
            </a:ln>
          </p:spPr>
          <p:txBody>
            <a:bodyPr rot="0" vert="horz" wrap="square" lIns="0" tIns="0" rIns="0" bIns="0" anchor="ctr" anchorCtr="0" upright="1">
              <a:noAutofit/>
            </a:bodyPr>
            <a:lstStyle/>
            <a:p>
              <a:r>
                <a:rPr lang="es-CL" sz="1400" b="1" dirty="0"/>
                <a:t>Esta información debe ser revisada en conjunto con el informe detallado de madurez en ciberseguridad.</a:t>
              </a:r>
            </a:p>
          </p:txBody>
        </p:sp>
        <p:sp>
          <p:nvSpPr>
            <p:cNvPr id="104" name="Oval 50">
              <a:extLst>
                <a:ext uri="{FF2B5EF4-FFF2-40B4-BE49-F238E27FC236}">
                  <a16:creationId xmlns:a16="http://schemas.microsoft.com/office/drawing/2014/main" id="{3AEA8569-9B8A-9548-81C1-E1110BA5B4A7}"/>
                </a:ext>
              </a:extLst>
            </p:cNvPr>
            <p:cNvSpPr>
              <a:spLocks noChangeArrowheads="1"/>
            </p:cNvSpPr>
            <p:nvPr/>
          </p:nvSpPr>
          <p:spPr bwMode="auto">
            <a:xfrm>
              <a:off x="540308" y="5623473"/>
              <a:ext cx="461077" cy="461077"/>
            </a:xfrm>
            <a:prstGeom prst="ellipse">
              <a:avLst/>
            </a:prstGeom>
            <a:noFill/>
            <a:ln w="90488"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grpSp>
        <p:nvGrpSpPr>
          <p:cNvPr id="17" name="Group 16">
            <a:extLst>
              <a:ext uri="{FF2B5EF4-FFF2-40B4-BE49-F238E27FC236}">
                <a16:creationId xmlns:a16="http://schemas.microsoft.com/office/drawing/2014/main" id="{24EC761F-8ADB-F64D-A8AF-A5E0C9EA9A13}"/>
              </a:ext>
            </a:extLst>
          </p:cNvPr>
          <p:cNvGrpSpPr/>
          <p:nvPr/>
        </p:nvGrpSpPr>
        <p:grpSpPr>
          <a:xfrm>
            <a:off x="540308" y="3658245"/>
            <a:ext cx="7346392" cy="488261"/>
            <a:chOff x="540308" y="3694823"/>
            <a:chExt cx="7346392" cy="488261"/>
          </a:xfrm>
        </p:grpSpPr>
        <p:sp>
          <p:nvSpPr>
            <p:cNvPr id="143" name="Rectangle 142">
              <a:extLst>
                <a:ext uri="{FF2B5EF4-FFF2-40B4-BE49-F238E27FC236}">
                  <a16:creationId xmlns:a16="http://schemas.microsoft.com/office/drawing/2014/main" id="{9B748E18-9DC9-6B49-B6B6-98F70C71B2A0}"/>
                </a:ext>
              </a:extLst>
            </p:cNvPr>
            <p:cNvSpPr>
              <a:spLocks noChangeArrowheads="1"/>
            </p:cNvSpPr>
            <p:nvPr/>
          </p:nvSpPr>
          <p:spPr bwMode="auto">
            <a:xfrm>
              <a:off x="1409700" y="3694823"/>
              <a:ext cx="6477000" cy="488261"/>
            </a:xfrm>
            <a:prstGeom prst="rect">
              <a:avLst/>
            </a:prstGeom>
            <a:noFill/>
            <a:ln>
              <a:noFill/>
            </a:ln>
          </p:spPr>
          <p:txBody>
            <a:bodyPr rot="0" vert="horz" wrap="square" lIns="0" tIns="0" rIns="0" bIns="0" anchor="ctr" anchorCtr="0" upright="1">
              <a:noAutofit/>
            </a:bodyPr>
            <a:lstStyle/>
            <a:p>
              <a:pPr algn="just"/>
              <a:r>
                <a:rPr lang="es-CL" sz="1400" dirty="0"/>
                <a:t>Los resultados se presentan utilizando las cinco funciones del marco NIST CSF: Identificar, Proteger, Detectar, Responder y Recuperar, y pueden ser usados como diagnóstico por la misma empresa para mejorar su nivel de seguridad.</a:t>
              </a:r>
            </a:p>
          </p:txBody>
        </p:sp>
        <p:sp>
          <p:nvSpPr>
            <p:cNvPr id="145" name="Oval 63">
              <a:extLst>
                <a:ext uri="{FF2B5EF4-FFF2-40B4-BE49-F238E27FC236}">
                  <a16:creationId xmlns:a16="http://schemas.microsoft.com/office/drawing/2014/main" id="{9EF8EF27-E8B6-5E45-BE2B-DF48D012BE3D}"/>
                </a:ext>
              </a:extLst>
            </p:cNvPr>
            <p:cNvSpPr>
              <a:spLocks noChangeArrowheads="1"/>
            </p:cNvSpPr>
            <p:nvPr/>
          </p:nvSpPr>
          <p:spPr bwMode="auto">
            <a:xfrm>
              <a:off x="540308" y="3708872"/>
              <a:ext cx="461077" cy="460162"/>
            </a:xfrm>
            <a:prstGeom prst="ellipse">
              <a:avLst/>
            </a:prstGeom>
            <a:solidFill>
              <a:srgbClr val="0042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r>
                <a:rPr lang="en-GB" b="1" dirty="0">
                  <a:solidFill>
                    <a:schemeClr val="bg1"/>
                  </a:solidFill>
                </a:rPr>
                <a:t>3</a:t>
              </a:r>
            </a:p>
          </p:txBody>
        </p:sp>
      </p:grpSp>
      <p:sp>
        <p:nvSpPr>
          <p:cNvPr id="146" name="Oval 64">
            <a:extLst>
              <a:ext uri="{FF2B5EF4-FFF2-40B4-BE49-F238E27FC236}">
                <a16:creationId xmlns:a16="http://schemas.microsoft.com/office/drawing/2014/main" id="{348BE0D1-8350-6746-9710-3909307D2CAA}"/>
              </a:ext>
            </a:extLst>
          </p:cNvPr>
          <p:cNvSpPr>
            <a:spLocks noChangeArrowheads="1"/>
          </p:cNvSpPr>
          <p:nvPr/>
        </p:nvSpPr>
        <p:spPr bwMode="auto">
          <a:xfrm>
            <a:off x="540308" y="3672294"/>
            <a:ext cx="461077" cy="460162"/>
          </a:xfrm>
          <a:prstGeom prst="ellipse">
            <a:avLst/>
          </a:prstGeom>
          <a:noFill/>
          <a:ln w="90488"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nvGrpSpPr>
          <p:cNvPr id="18" name="Group 17">
            <a:extLst>
              <a:ext uri="{FF2B5EF4-FFF2-40B4-BE49-F238E27FC236}">
                <a16:creationId xmlns:a16="http://schemas.microsoft.com/office/drawing/2014/main" id="{989232EE-5D08-C641-97A1-083551FE74D3}"/>
              </a:ext>
            </a:extLst>
          </p:cNvPr>
          <p:cNvGrpSpPr/>
          <p:nvPr/>
        </p:nvGrpSpPr>
        <p:grpSpPr>
          <a:xfrm>
            <a:off x="540308" y="2648636"/>
            <a:ext cx="7346391" cy="488261"/>
            <a:chOff x="540308" y="2652519"/>
            <a:chExt cx="7346391" cy="488261"/>
          </a:xfrm>
        </p:grpSpPr>
        <p:sp>
          <p:nvSpPr>
            <p:cNvPr id="150" name="Rectangle 149">
              <a:extLst>
                <a:ext uri="{FF2B5EF4-FFF2-40B4-BE49-F238E27FC236}">
                  <a16:creationId xmlns:a16="http://schemas.microsoft.com/office/drawing/2014/main" id="{78B0B413-BAF1-AE4B-B5C7-30CF56E7D89A}"/>
                </a:ext>
              </a:extLst>
            </p:cNvPr>
            <p:cNvSpPr>
              <a:spLocks noChangeArrowheads="1"/>
            </p:cNvSpPr>
            <p:nvPr/>
          </p:nvSpPr>
          <p:spPr bwMode="auto">
            <a:xfrm>
              <a:off x="1409700" y="2652519"/>
              <a:ext cx="6476999" cy="488261"/>
            </a:xfrm>
            <a:prstGeom prst="rect">
              <a:avLst/>
            </a:prstGeom>
            <a:noFill/>
            <a:ln>
              <a:noFill/>
            </a:ln>
          </p:spPr>
          <p:txBody>
            <a:bodyPr rot="0" vert="horz" wrap="square" lIns="0" tIns="0" rIns="0" bIns="0" anchor="ctr" anchorCtr="0" upright="1">
              <a:noAutofit/>
            </a:bodyPr>
            <a:lstStyle/>
            <a:p>
              <a:pPr algn="just"/>
              <a:r>
                <a:rPr lang="es-CL" sz="1400" dirty="0"/>
                <a:t>Fue construida utilizando los elementos clave de los principales estándares y marcos internacionales de ciberseguridad, tales como NIST CSF, CIS CSC-20, e ISO 27001.</a:t>
              </a:r>
            </a:p>
          </p:txBody>
        </p:sp>
        <p:sp>
          <p:nvSpPr>
            <p:cNvPr id="152" name="Oval 63">
              <a:extLst>
                <a:ext uri="{FF2B5EF4-FFF2-40B4-BE49-F238E27FC236}">
                  <a16:creationId xmlns:a16="http://schemas.microsoft.com/office/drawing/2014/main" id="{3B36E889-ECCF-6A46-9E7A-78F9330AC2BF}"/>
                </a:ext>
              </a:extLst>
            </p:cNvPr>
            <p:cNvSpPr>
              <a:spLocks noChangeArrowheads="1"/>
            </p:cNvSpPr>
            <p:nvPr/>
          </p:nvSpPr>
          <p:spPr bwMode="auto">
            <a:xfrm>
              <a:off x="540308" y="2661396"/>
              <a:ext cx="461077" cy="460162"/>
            </a:xfrm>
            <a:prstGeom prst="ellipse">
              <a:avLst/>
            </a:prstGeom>
            <a:solidFill>
              <a:srgbClr val="0042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r>
                <a:rPr lang="en-GB" b="1" dirty="0">
                  <a:solidFill>
                    <a:schemeClr val="bg1"/>
                  </a:solidFill>
                </a:rPr>
                <a:t>2</a:t>
              </a:r>
            </a:p>
          </p:txBody>
        </p:sp>
      </p:grpSp>
      <p:sp>
        <p:nvSpPr>
          <p:cNvPr id="153" name="Oval 64">
            <a:extLst>
              <a:ext uri="{FF2B5EF4-FFF2-40B4-BE49-F238E27FC236}">
                <a16:creationId xmlns:a16="http://schemas.microsoft.com/office/drawing/2014/main" id="{B921D1CC-836F-F94B-8C44-C53F9DE97AA8}"/>
              </a:ext>
            </a:extLst>
          </p:cNvPr>
          <p:cNvSpPr>
            <a:spLocks noChangeArrowheads="1"/>
          </p:cNvSpPr>
          <p:nvPr/>
        </p:nvSpPr>
        <p:spPr bwMode="auto">
          <a:xfrm>
            <a:off x="540308" y="2666568"/>
            <a:ext cx="461077" cy="460162"/>
          </a:xfrm>
          <a:prstGeom prst="ellipse">
            <a:avLst/>
          </a:prstGeom>
          <a:noFill/>
          <a:ln w="90488"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nvGrpSpPr>
          <p:cNvPr id="19" name="Group 18">
            <a:extLst>
              <a:ext uri="{FF2B5EF4-FFF2-40B4-BE49-F238E27FC236}">
                <a16:creationId xmlns:a16="http://schemas.microsoft.com/office/drawing/2014/main" id="{9627A83A-4E14-7644-8314-AA98E9A919A6}"/>
              </a:ext>
            </a:extLst>
          </p:cNvPr>
          <p:cNvGrpSpPr/>
          <p:nvPr/>
        </p:nvGrpSpPr>
        <p:grpSpPr>
          <a:xfrm>
            <a:off x="540308" y="1661555"/>
            <a:ext cx="7346391" cy="488261"/>
            <a:chOff x="540308" y="1661555"/>
            <a:chExt cx="7346391" cy="488261"/>
          </a:xfrm>
        </p:grpSpPr>
        <p:sp>
          <p:nvSpPr>
            <p:cNvPr id="158" name="Rectangle 157">
              <a:extLst>
                <a:ext uri="{FF2B5EF4-FFF2-40B4-BE49-F238E27FC236}">
                  <a16:creationId xmlns:a16="http://schemas.microsoft.com/office/drawing/2014/main" id="{9E5E8BD6-C30F-3845-A681-243E996B3CCC}"/>
                </a:ext>
              </a:extLst>
            </p:cNvPr>
            <p:cNvSpPr>
              <a:spLocks noChangeArrowheads="1"/>
            </p:cNvSpPr>
            <p:nvPr/>
          </p:nvSpPr>
          <p:spPr bwMode="auto">
            <a:xfrm>
              <a:off x="1409700" y="1661555"/>
              <a:ext cx="6476999" cy="488261"/>
            </a:xfrm>
            <a:prstGeom prst="rect">
              <a:avLst/>
            </a:prstGeom>
            <a:noFill/>
            <a:ln>
              <a:noFill/>
            </a:ln>
          </p:spPr>
          <p:txBody>
            <a:bodyPr rot="0" vert="horz" wrap="square" lIns="0" tIns="0" rIns="0" bIns="0" anchor="ctr" anchorCtr="0" upright="1">
              <a:noAutofit/>
            </a:bodyPr>
            <a:lstStyle/>
            <a:p>
              <a:r>
                <a:rPr lang="es-CL" sz="1400" dirty="0"/>
                <a:t>La herramienta de autoevaluación de CMF proporciona un análisis de madurez del programa de ciberseguridad de su organización, basado en las respuestas de sus propios integrantes.</a:t>
              </a:r>
            </a:p>
          </p:txBody>
        </p:sp>
        <p:sp>
          <p:nvSpPr>
            <p:cNvPr id="164" name="Oval 63">
              <a:extLst>
                <a:ext uri="{FF2B5EF4-FFF2-40B4-BE49-F238E27FC236}">
                  <a16:creationId xmlns:a16="http://schemas.microsoft.com/office/drawing/2014/main" id="{DD4751A0-86C5-C548-BB0C-55D65E0007E5}"/>
                </a:ext>
              </a:extLst>
            </p:cNvPr>
            <p:cNvSpPr>
              <a:spLocks noChangeArrowheads="1"/>
            </p:cNvSpPr>
            <p:nvPr/>
          </p:nvSpPr>
          <p:spPr bwMode="auto">
            <a:xfrm>
              <a:off x="540308" y="1675604"/>
              <a:ext cx="461077" cy="460162"/>
            </a:xfrm>
            <a:prstGeom prst="ellipse">
              <a:avLst/>
            </a:prstGeom>
            <a:solidFill>
              <a:srgbClr val="0042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r>
                <a:rPr lang="en-GB" b="1" dirty="0">
                  <a:solidFill>
                    <a:schemeClr val="bg1"/>
                  </a:solidFill>
                </a:rPr>
                <a:t>1</a:t>
              </a:r>
            </a:p>
          </p:txBody>
        </p:sp>
      </p:grpSp>
      <p:sp>
        <p:nvSpPr>
          <p:cNvPr id="165" name="Oval 64">
            <a:extLst>
              <a:ext uri="{FF2B5EF4-FFF2-40B4-BE49-F238E27FC236}">
                <a16:creationId xmlns:a16="http://schemas.microsoft.com/office/drawing/2014/main" id="{4B67C0B0-7178-6046-91B9-406E331E91C4}"/>
              </a:ext>
            </a:extLst>
          </p:cNvPr>
          <p:cNvSpPr>
            <a:spLocks noChangeArrowheads="1"/>
          </p:cNvSpPr>
          <p:nvPr/>
        </p:nvSpPr>
        <p:spPr bwMode="auto">
          <a:xfrm>
            <a:off x="540308" y="1675605"/>
            <a:ext cx="461077" cy="460162"/>
          </a:xfrm>
          <a:prstGeom prst="ellipse">
            <a:avLst/>
          </a:prstGeom>
          <a:noFill/>
          <a:ln w="90488"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nvGrpSpPr>
          <p:cNvPr id="16" name="Group 15">
            <a:extLst>
              <a:ext uri="{FF2B5EF4-FFF2-40B4-BE49-F238E27FC236}">
                <a16:creationId xmlns:a16="http://schemas.microsoft.com/office/drawing/2014/main" id="{824A3808-C9B6-A942-B4CE-37F911DB4523}"/>
              </a:ext>
            </a:extLst>
          </p:cNvPr>
          <p:cNvGrpSpPr/>
          <p:nvPr/>
        </p:nvGrpSpPr>
        <p:grpSpPr>
          <a:xfrm>
            <a:off x="540308" y="4622798"/>
            <a:ext cx="7346389" cy="488261"/>
            <a:chOff x="540308" y="4624333"/>
            <a:chExt cx="7346389" cy="488261"/>
          </a:xfrm>
        </p:grpSpPr>
        <p:sp>
          <p:nvSpPr>
            <p:cNvPr id="92" name="Rectangle 91">
              <a:extLst>
                <a:ext uri="{FF2B5EF4-FFF2-40B4-BE49-F238E27FC236}">
                  <a16:creationId xmlns:a16="http://schemas.microsoft.com/office/drawing/2014/main" id="{DA86B690-7F1C-484B-BA54-2D6F91AB85DE}"/>
                </a:ext>
              </a:extLst>
            </p:cNvPr>
            <p:cNvSpPr>
              <a:spLocks noChangeArrowheads="1"/>
            </p:cNvSpPr>
            <p:nvPr/>
          </p:nvSpPr>
          <p:spPr bwMode="auto">
            <a:xfrm>
              <a:off x="1409700" y="4624333"/>
              <a:ext cx="6476997" cy="488261"/>
            </a:xfrm>
            <a:prstGeom prst="rect">
              <a:avLst/>
            </a:prstGeom>
            <a:noFill/>
            <a:ln>
              <a:noFill/>
            </a:ln>
          </p:spPr>
          <p:txBody>
            <a:bodyPr rot="0" vert="horz" wrap="square" lIns="0" tIns="0" rIns="0" bIns="0" anchor="ctr" anchorCtr="0" upright="1">
              <a:noAutofit/>
            </a:bodyPr>
            <a:lstStyle/>
            <a:p>
              <a:r>
                <a:rPr lang="es-CL" sz="1400" dirty="0"/>
                <a:t>La autoevaluación de ciberseguridad de CMF es el principal diagnóstico de corretaje aceptado hoy por los mercados de (re)seguros para la cotización.</a:t>
              </a:r>
            </a:p>
          </p:txBody>
        </p:sp>
        <p:sp>
          <p:nvSpPr>
            <p:cNvPr id="167" name="Oval 63">
              <a:extLst>
                <a:ext uri="{FF2B5EF4-FFF2-40B4-BE49-F238E27FC236}">
                  <a16:creationId xmlns:a16="http://schemas.microsoft.com/office/drawing/2014/main" id="{E9E009F6-BA6E-BB40-9479-8B3C0B58D9EF}"/>
                </a:ext>
              </a:extLst>
            </p:cNvPr>
            <p:cNvSpPr>
              <a:spLocks noChangeArrowheads="1"/>
            </p:cNvSpPr>
            <p:nvPr/>
          </p:nvSpPr>
          <p:spPr bwMode="auto">
            <a:xfrm>
              <a:off x="540308" y="4638382"/>
              <a:ext cx="461077" cy="460162"/>
            </a:xfrm>
            <a:prstGeom prst="ellipse">
              <a:avLst/>
            </a:prstGeom>
            <a:solidFill>
              <a:srgbClr val="0042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r>
                <a:rPr lang="en-GB" b="1" dirty="0">
                  <a:solidFill>
                    <a:schemeClr val="bg1"/>
                  </a:solidFill>
                </a:rPr>
                <a:t>4</a:t>
              </a:r>
            </a:p>
          </p:txBody>
        </p:sp>
      </p:grpSp>
      <p:sp>
        <p:nvSpPr>
          <p:cNvPr id="168" name="Oval 64">
            <a:extLst>
              <a:ext uri="{FF2B5EF4-FFF2-40B4-BE49-F238E27FC236}">
                <a16:creationId xmlns:a16="http://schemas.microsoft.com/office/drawing/2014/main" id="{CEAABD55-23CE-E943-9054-9534B76939AF}"/>
              </a:ext>
            </a:extLst>
          </p:cNvPr>
          <p:cNvSpPr>
            <a:spLocks noChangeArrowheads="1"/>
          </p:cNvSpPr>
          <p:nvPr/>
        </p:nvSpPr>
        <p:spPr bwMode="auto">
          <a:xfrm>
            <a:off x="540308" y="4652663"/>
            <a:ext cx="461077" cy="460162"/>
          </a:xfrm>
          <a:prstGeom prst="ellipse">
            <a:avLst/>
          </a:prstGeom>
          <a:noFill/>
          <a:ln w="90488"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2" name="Imagen 1"/>
          <p:cNvPicPr>
            <a:picLocks noChangeAspect="1"/>
          </p:cNvPicPr>
          <p:nvPr/>
        </p:nvPicPr>
        <p:blipFill>
          <a:blip r:embed="rId2"/>
          <a:stretch>
            <a:fillRect/>
          </a:stretch>
        </p:blipFill>
        <p:spPr>
          <a:xfrm>
            <a:off x="8695300" y="1527405"/>
            <a:ext cx="3080863" cy="3718800"/>
          </a:xfrm>
          <a:prstGeom prst="rect">
            <a:avLst/>
          </a:prstGeom>
        </p:spPr>
      </p:pic>
      <p:pic>
        <p:nvPicPr>
          <p:cNvPr id="24" name="Imagen 23">
            <a:extLst>
              <a:ext uri="{FF2B5EF4-FFF2-40B4-BE49-F238E27FC236}">
                <a16:creationId xmlns:a16="http://schemas.microsoft.com/office/drawing/2014/main" id="{6BBDD1DC-2030-4DAD-BA1D-6A5FB8E7BB34}"/>
              </a:ext>
            </a:extLst>
          </p:cNvPr>
          <p:cNvPicPr>
            <a:picLocks noChangeAspect="1"/>
          </p:cNvPicPr>
          <p:nvPr/>
        </p:nvPicPr>
        <p:blipFill>
          <a:blip r:embed="rId3"/>
          <a:stretch>
            <a:fillRect/>
          </a:stretch>
        </p:blipFill>
        <p:spPr>
          <a:xfrm>
            <a:off x="394330" y="6460047"/>
            <a:ext cx="1800225" cy="304800"/>
          </a:xfrm>
          <a:prstGeom prst="rect">
            <a:avLst/>
          </a:prstGeom>
        </p:spPr>
      </p:pic>
    </p:spTree>
    <p:extLst>
      <p:ext uri="{BB962C8B-B14F-4D97-AF65-F5344CB8AC3E}">
        <p14:creationId xmlns:p14="http://schemas.microsoft.com/office/powerpoint/2010/main" val="33163000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6190153" y="1370149"/>
            <a:ext cx="5843837" cy="4099922"/>
          </a:xfrm>
          <a:prstGeom prst="rect">
            <a:avLst/>
          </a:prstGeom>
        </p:spPr>
      </p:pic>
      <p:sp>
        <p:nvSpPr>
          <p:cNvPr id="6" name="Título 3"/>
          <p:cNvSpPr>
            <a:spLocks noGrp="1"/>
          </p:cNvSpPr>
          <p:nvPr>
            <p:ph type="title"/>
          </p:nvPr>
        </p:nvSpPr>
        <p:spPr>
          <a:xfrm>
            <a:off x="457200" y="338530"/>
            <a:ext cx="11252199" cy="495299"/>
          </a:xfrm>
        </p:spPr>
        <p:txBody>
          <a:bodyPr/>
          <a:lstStyle/>
          <a:p>
            <a:r>
              <a:rPr lang="es-CO" sz="3600" u="sng" dirty="0">
                <a:solidFill>
                  <a:schemeClr val="accent1">
                    <a:lumMod val="75000"/>
                  </a:schemeClr>
                </a:solidFill>
                <a:latin typeface="MMC Display"/>
              </a:rPr>
              <a:t>Formulario en línea </a:t>
            </a:r>
            <a:r>
              <a:rPr lang="es-CO" sz="3600" u="sng" dirty="0" err="1">
                <a:solidFill>
                  <a:schemeClr val="accent1">
                    <a:lumMod val="75000"/>
                  </a:schemeClr>
                </a:solidFill>
                <a:latin typeface="MMC Display"/>
              </a:rPr>
              <a:t>Self</a:t>
            </a:r>
            <a:r>
              <a:rPr lang="es-CO" sz="3600" u="sng" dirty="0">
                <a:solidFill>
                  <a:schemeClr val="accent1">
                    <a:lumMod val="75000"/>
                  </a:schemeClr>
                </a:solidFill>
                <a:latin typeface="MMC Display"/>
              </a:rPr>
              <a:t> </a:t>
            </a:r>
            <a:r>
              <a:rPr lang="es-CO" sz="3600" u="sng" dirty="0" err="1">
                <a:solidFill>
                  <a:schemeClr val="accent1">
                    <a:lumMod val="75000"/>
                  </a:schemeClr>
                </a:solidFill>
                <a:latin typeface="MMC Display"/>
              </a:rPr>
              <a:t>Assessment</a:t>
            </a:r>
            <a:r>
              <a:rPr lang="es-CO" sz="3600" u="sng" dirty="0">
                <a:solidFill>
                  <a:schemeClr val="accent1">
                    <a:lumMod val="75000"/>
                  </a:schemeClr>
                </a:solidFill>
                <a:latin typeface="MMC Display"/>
              </a:rPr>
              <a:t> online</a:t>
            </a:r>
          </a:p>
        </p:txBody>
      </p:sp>
      <p:sp>
        <p:nvSpPr>
          <p:cNvPr id="3" name="CuadroTexto 2"/>
          <p:cNvSpPr txBox="1"/>
          <p:nvPr/>
        </p:nvSpPr>
        <p:spPr>
          <a:xfrm>
            <a:off x="457200" y="969446"/>
            <a:ext cx="5682342" cy="5724644"/>
          </a:xfrm>
          <a:prstGeom prst="rect">
            <a:avLst/>
          </a:prstGeom>
          <a:noFill/>
        </p:spPr>
        <p:txBody>
          <a:bodyPr wrap="square" lIns="0" tIns="0" rIns="0" bIns="0" rtlCol="0">
            <a:spAutoFit/>
          </a:bodyPr>
          <a:lstStyle/>
          <a:p>
            <a:pPr marL="285750" indent="-285750" algn="l">
              <a:buSzPct val="118000"/>
              <a:buFont typeface="Wingdings" panose="05000000000000000000" pitchFamily="2" charset="2"/>
              <a:buChar char="Ø"/>
            </a:pPr>
            <a:r>
              <a:rPr lang="es-AR" sz="1600" b="1" dirty="0"/>
              <a:t>Es un formulario en línea, fácil de completar con la mayoría de las respuestas </a:t>
            </a:r>
            <a:r>
              <a:rPr lang="es-AR" sz="1600" b="1" dirty="0" err="1"/>
              <a:t>pre-determinadas</a:t>
            </a:r>
            <a:r>
              <a:rPr lang="es-AR" sz="1600" b="1" dirty="0"/>
              <a:t>.</a:t>
            </a:r>
          </a:p>
          <a:p>
            <a:pPr marL="285750" indent="-285750" algn="l">
              <a:buFont typeface="Wingdings" panose="05000000000000000000" pitchFamily="2" charset="2"/>
              <a:buChar char="Ø"/>
            </a:pPr>
            <a:endParaRPr lang="es-AR" sz="1600" b="1" dirty="0"/>
          </a:p>
          <a:p>
            <a:pPr marL="285750" indent="-285750" algn="l">
              <a:buFont typeface="Wingdings" panose="05000000000000000000" pitchFamily="2" charset="2"/>
              <a:buChar char="Ø"/>
            </a:pPr>
            <a:r>
              <a:rPr lang="es-AR" sz="1600" b="1" dirty="0"/>
              <a:t>Se actualiza trimestralmente para contemplar las ultimas vulnerabilidades y necesidad de información del mercado.</a:t>
            </a:r>
          </a:p>
          <a:p>
            <a:pPr algn="l"/>
            <a:endParaRPr lang="es-AR" sz="1600" b="1" dirty="0"/>
          </a:p>
          <a:p>
            <a:pPr marL="285750" indent="-285750" algn="l">
              <a:buFont typeface="Wingdings" panose="05000000000000000000" pitchFamily="2" charset="2"/>
              <a:buChar char="Ø"/>
            </a:pPr>
            <a:r>
              <a:rPr lang="es-AR" sz="1600" b="1" dirty="0"/>
              <a:t>Se genera acceso a cuantos usuarios sean necesarios por compañía, se recomienda siempre que alguien de IT este involucrado.</a:t>
            </a:r>
          </a:p>
          <a:p>
            <a:pPr marL="285750" indent="-285750" algn="l">
              <a:buFont typeface="Arial" panose="020B0604020202020204" pitchFamily="34" charset="0"/>
              <a:buChar char="•"/>
            </a:pPr>
            <a:endParaRPr lang="es-AR" sz="1600" b="1" dirty="0"/>
          </a:p>
          <a:p>
            <a:pPr algn="l"/>
            <a:r>
              <a:rPr lang="es-AR" sz="1600" b="1" u="sng" dirty="0"/>
              <a:t>¿Que se necesita para generar acceso?</a:t>
            </a:r>
          </a:p>
          <a:p>
            <a:pPr marL="285750" indent="-285750" algn="l">
              <a:buFont typeface="Arial" panose="020B0604020202020204" pitchFamily="34" charset="0"/>
              <a:buChar char="•"/>
            </a:pPr>
            <a:endParaRPr lang="es-AR" sz="1600" b="1" dirty="0"/>
          </a:p>
          <a:p>
            <a:pPr marL="285750" indent="-285750" algn="l">
              <a:buFont typeface="Arial" panose="020B0604020202020204" pitchFamily="34" charset="0"/>
              <a:buChar char="•"/>
            </a:pPr>
            <a:r>
              <a:rPr lang="es-AR" sz="1600" b="1" dirty="0"/>
              <a:t>Tener número de Cliente CMF, el cual podemos generar con la siguiente información:	</a:t>
            </a:r>
          </a:p>
          <a:p>
            <a:pPr marL="285750" lvl="7" indent="-285750">
              <a:buFont typeface="Wingdings" panose="05000000000000000000" pitchFamily="2" charset="2"/>
              <a:buChar char="ü"/>
            </a:pPr>
            <a:endParaRPr lang="es-AR" sz="1600" b="1" dirty="0"/>
          </a:p>
          <a:p>
            <a:pPr marL="285750" lvl="7" indent="-285750">
              <a:buFont typeface="Wingdings" panose="05000000000000000000" pitchFamily="2" charset="2"/>
              <a:buChar char="ü"/>
            </a:pPr>
            <a:r>
              <a:rPr lang="es-AR" sz="1600" dirty="0"/>
              <a:t>Nombre de la empresa</a:t>
            </a:r>
          </a:p>
          <a:p>
            <a:pPr marL="285750" lvl="3" indent="-285750">
              <a:buFont typeface="Wingdings" panose="05000000000000000000" pitchFamily="2" charset="2"/>
              <a:buChar char="ü"/>
            </a:pPr>
            <a:r>
              <a:rPr lang="es-AR" sz="1600" dirty="0"/>
              <a:t>Numero de identificación fiscal</a:t>
            </a:r>
          </a:p>
          <a:p>
            <a:pPr marL="285750" lvl="3" indent="-285750">
              <a:buFont typeface="Wingdings" panose="05000000000000000000" pitchFamily="2" charset="2"/>
              <a:buChar char="ü"/>
            </a:pPr>
            <a:r>
              <a:rPr lang="es-AR" sz="1600" dirty="0"/>
              <a:t>Domicilio</a:t>
            </a:r>
          </a:p>
          <a:p>
            <a:pPr marL="285750" lvl="3" indent="-285750">
              <a:buFont typeface="Wingdings" panose="05000000000000000000" pitchFamily="2" charset="2"/>
              <a:buChar char="ü"/>
            </a:pPr>
            <a:r>
              <a:rPr lang="es-AR" sz="1600" dirty="0"/>
              <a:t>Persona de contacto</a:t>
            </a:r>
          </a:p>
          <a:p>
            <a:pPr marL="285750" lvl="3" indent="-285750">
              <a:buFont typeface="Wingdings" panose="05000000000000000000" pitchFamily="2" charset="2"/>
              <a:buChar char="ü"/>
            </a:pPr>
            <a:r>
              <a:rPr lang="es-AR" sz="1600" dirty="0"/>
              <a:t>Teléfono</a:t>
            </a:r>
          </a:p>
          <a:p>
            <a:pPr marL="285750" indent="-285750" algn="l">
              <a:buFont typeface="Arial" panose="020B0604020202020204" pitchFamily="34" charset="0"/>
              <a:buChar char="•"/>
            </a:pPr>
            <a:endParaRPr lang="es-AR" dirty="0"/>
          </a:p>
          <a:p>
            <a:pPr algn="l"/>
            <a:endParaRPr lang="en-AU" dirty="0" err="1"/>
          </a:p>
        </p:txBody>
      </p:sp>
      <p:pic>
        <p:nvPicPr>
          <p:cNvPr id="23" name="Imagen 22">
            <a:extLst>
              <a:ext uri="{FF2B5EF4-FFF2-40B4-BE49-F238E27FC236}">
                <a16:creationId xmlns:a16="http://schemas.microsoft.com/office/drawing/2014/main" id="{8D93CC0D-1FC2-4699-8172-BBD8043643AF}"/>
              </a:ext>
            </a:extLst>
          </p:cNvPr>
          <p:cNvPicPr>
            <a:picLocks noChangeAspect="1"/>
          </p:cNvPicPr>
          <p:nvPr/>
        </p:nvPicPr>
        <p:blipFill>
          <a:blip r:embed="rId4"/>
          <a:stretch>
            <a:fillRect/>
          </a:stretch>
        </p:blipFill>
        <p:spPr>
          <a:xfrm>
            <a:off x="394330" y="6460047"/>
            <a:ext cx="1800225" cy="304800"/>
          </a:xfrm>
          <a:prstGeom prst="rect">
            <a:avLst/>
          </a:prstGeom>
        </p:spPr>
      </p:pic>
    </p:spTree>
    <p:extLst>
      <p:ext uri="{BB962C8B-B14F-4D97-AF65-F5344CB8AC3E}">
        <p14:creationId xmlns:p14="http://schemas.microsoft.com/office/powerpoint/2010/main" val="42701244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0A7BC0F-2980-9045-A7EA-E898893BEB54}"/>
              </a:ext>
            </a:extLst>
          </p:cNvPr>
          <p:cNvSpPr>
            <a:spLocks noGrp="1"/>
          </p:cNvSpPr>
          <p:nvPr>
            <p:ph type="title"/>
          </p:nvPr>
        </p:nvSpPr>
        <p:spPr/>
        <p:txBody>
          <a:bodyPr/>
          <a:lstStyle/>
          <a:p>
            <a:pPr algn="just"/>
            <a:r>
              <a:rPr lang="es-CL" sz="3600" dirty="0">
                <a:latin typeface="MMC Display"/>
              </a:rPr>
              <a:t>Devolución simple y en esquema de semáforo </a:t>
            </a:r>
          </a:p>
        </p:txBody>
      </p:sp>
      <p:sp>
        <p:nvSpPr>
          <p:cNvPr id="103" name="Oval 49">
            <a:extLst>
              <a:ext uri="{FF2B5EF4-FFF2-40B4-BE49-F238E27FC236}">
                <a16:creationId xmlns:a16="http://schemas.microsoft.com/office/drawing/2014/main" id="{C1729533-4F3A-3D44-871C-D91463622155}"/>
              </a:ext>
            </a:extLst>
          </p:cNvPr>
          <p:cNvSpPr>
            <a:spLocks noChangeArrowheads="1"/>
          </p:cNvSpPr>
          <p:nvPr/>
        </p:nvSpPr>
        <p:spPr bwMode="auto">
          <a:xfrm>
            <a:off x="540308" y="5617854"/>
            <a:ext cx="461077" cy="461077"/>
          </a:xfrm>
          <a:prstGeom prst="ellipse">
            <a:avLst/>
          </a:prstGeom>
          <a:solidFill>
            <a:srgbClr val="0042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r>
              <a:rPr lang="en-GB" b="1" dirty="0">
                <a:solidFill>
                  <a:schemeClr val="bg1"/>
                </a:solidFill>
              </a:rPr>
              <a:t>1</a:t>
            </a:r>
          </a:p>
        </p:txBody>
      </p:sp>
      <p:sp>
        <p:nvSpPr>
          <p:cNvPr id="104" name="Oval 50">
            <a:extLst>
              <a:ext uri="{FF2B5EF4-FFF2-40B4-BE49-F238E27FC236}">
                <a16:creationId xmlns:a16="http://schemas.microsoft.com/office/drawing/2014/main" id="{3AEA8569-9B8A-9548-81C1-E1110BA5B4A7}"/>
              </a:ext>
            </a:extLst>
          </p:cNvPr>
          <p:cNvSpPr>
            <a:spLocks noChangeArrowheads="1"/>
          </p:cNvSpPr>
          <p:nvPr/>
        </p:nvSpPr>
        <p:spPr bwMode="auto">
          <a:xfrm>
            <a:off x="540308" y="5623473"/>
            <a:ext cx="461077" cy="461077"/>
          </a:xfrm>
          <a:prstGeom prst="ellipse">
            <a:avLst/>
          </a:prstGeom>
          <a:noFill/>
          <a:ln w="90488"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45" name="Oval 63">
            <a:extLst>
              <a:ext uri="{FF2B5EF4-FFF2-40B4-BE49-F238E27FC236}">
                <a16:creationId xmlns:a16="http://schemas.microsoft.com/office/drawing/2014/main" id="{9EF8EF27-E8B6-5E45-BE2B-DF48D012BE3D}"/>
              </a:ext>
            </a:extLst>
          </p:cNvPr>
          <p:cNvSpPr>
            <a:spLocks noChangeArrowheads="1"/>
          </p:cNvSpPr>
          <p:nvPr/>
        </p:nvSpPr>
        <p:spPr bwMode="auto">
          <a:xfrm>
            <a:off x="2017505" y="5652835"/>
            <a:ext cx="461077" cy="450638"/>
          </a:xfrm>
          <a:prstGeom prst="ellipse">
            <a:avLst/>
          </a:prstGeom>
          <a:solidFill>
            <a:srgbClr val="0042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r>
              <a:rPr lang="en-GB" b="1" dirty="0">
                <a:solidFill>
                  <a:schemeClr val="bg1"/>
                </a:solidFill>
              </a:rPr>
              <a:t>3</a:t>
            </a:r>
          </a:p>
        </p:txBody>
      </p:sp>
      <p:sp>
        <p:nvSpPr>
          <p:cNvPr id="146" name="Oval 64">
            <a:extLst>
              <a:ext uri="{FF2B5EF4-FFF2-40B4-BE49-F238E27FC236}">
                <a16:creationId xmlns:a16="http://schemas.microsoft.com/office/drawing/2014/main" id="{348BE0D1-8350-6746-9710-3909307D2CAA}"/>
              </a:ext>
            </a:extLst>
          </p:cNvPr>
          <p:cNvSpPr>
            <a:spLocks noChangeArrowheads="1"/>
          </p:cNvSpPr>
          <p:nvPr/>
        </p:nvSpPr>
        <p:spPr bwMode="auto">
          <a:xfrm>
            <a:off x="2020263" y="5656653"/>
            <a:ext cx="461077" cy="460162"/>
          </a:xfrm>
          <a:prstGeom prst="ellipse">
            <a:avLst/>
          </a:prstGeom>
          <a:noFill/>
          <a:ln w="90488"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52" name="Oval 63">
            <a:extLst>
              <a:ext uri="{FF2B5EF4-FFF2-40B4-BE49-F238E27FC236}">
                <a16:creationId xmlns:a16="http://schemas.microsoft.com/office/drawing/2014/main" id="{3B36E889-ECCF-6A46-9E7A-78F9330AC2BF}"/>
              </a:ext>
            </a:extLst>
          </p:cNvPr>
          <p:cNvSpPr>
            <a:spLocks noChangeArrowheads="1"/>
          </p:cNvSpPr>
          <p:nvPr/>
        </p:nvSpPr>
        <p:spPr bwMode="auto">
          <a:xfrm>
            <a:off x="1297199" y="5617854"/>
            <a:ext cx="461077" cy="502874"/>
          </a:xfrm>
          <a:prstGeom prst="ellipse">
            <a:avLst/>
          </a:prstGeom>
          <a:solidFill>
            <a:srgbClr val="0042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r>
              <a:rPr lang="en-GB" b="1" dirty="0">
                <a:solidFill>
                  <a:schemeClr val="bg1"/>
                </a:solidFill>
              </a:rPr>
              <a:t>2</a:t>
            </a:r>
          </a:p>
        </p:txBody>
      </p:sp>
      <p:sp>
        <p:nvSpPr>
          <p:cNvPr id="153" name="Oval 64">
            <a:extLst>
              <a:ext uri="{FF2B5EF4-FFF2-40B4-BE49-F238E27FC236}">
                <a16:creationId xmlns:a16="http://schemas.microsoft.com/office/drawing/2014/main" id="{B921D1CC-836F-F94B-8C44-C53F9DE97AA8}"/>
              </a:ext>
            </a:extLst>
          </p:cNvPr>
          <p:cNvSpPr>
            <a:spLocks noChangeArrowheads="1"/>
          </p:cNvSpPr>
          <p:nvPr/>
        </p:nvSpPr>
        <p:spPr bwMode="auto">
          <a:xfrm>
            <a:off x="1294441" y="5652835"/>
            <a:ext cx="461077" cy="423546"/>
          </a:xfrm>
          <a:prstGeom prst="ellipse">
            <a:avLst/>
          </a:prstGeom>
          <a:noFill/>
          <a:ln w="90488"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67" name="Oval 63">
            <a:extLst>
              <a:ext uri="{FF2B5EF4-FFF2-40B4-BE49-F238E27FC236}">
                <a16:creationId xmlns:a16="http://schemas.microsoft.com/office/drawing/2014/main" id="{E9E009F6-BA6E-BB40-9479-8B3C0B58D9EF}"/>
              </a:ext>
            </a:extLst>
          </p:cNvPr>
          <p:cNvSpPr>
            <a:spLocks noChangeArrowheads="1"/>
          </p:cNvSpPr>
          <p:nvPr/>
        </p:nvSpPr>
        <p:spPr bwMode="auto">
          <a:xfrm>
            <a:off x="2757113" y="5657850"/>
            <a:ext cx="461077" cy="482235"/>
          </a:xfrm>
          <a:prstGeom prst="ellipse">
            <a:avLst/>
          </a:prstGeom>
          <a:solidFill>
            <a:srgbClr val="0042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r>
              <a:rPr lang="en-GB" b="1" dirty="0">
                <a:solidFill>
                  <a:schemeClr val="bg1"/>
                </a:solidFill>
              </a:rPr>
              <a:t>4</a:t>
            </a:r>
          </a:p>
        </p:txBody>
      </p:sp>
      <p:sp>
        <p:nvSpPr>
          <p:cNvPr id="168" name="Oval 64">
            <a:extLst>
              <a:ext uri="{FF2B5EF4-FFF2-40B4-BE49-F238E27FC236}">
                <a16:creationId xmlns:a16="http://schemas.microsoft.com/office/drawing/2014/main" id="{CEAABD55-23CE-E943-9054-9534B76939AF}"/>
              </a:ext>
            </a:extLst>
          </p:cNvPr>
          <p:cNvSpPr>
            <a:spLocks noChangeArrowheads="1"/>
          </p:cNvSpPr>
          <p:nvPr/>
        </p:nvSpPr>
        <p:spPr bwMode="auto">
          <a:xfrm>
            <a:off x="2754355" y="5652835"/>
            <a:ext cx="461077" cy="460162"/>
          </a:xfrm>
          <a:prstGeom prst="ellipse">
            <a:avLst/>
          </a:prstGeom>
          <a:noFill/>
          <a:ln w="90488"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24" name="Imagen 23">
            <a:extLst>
              <a:ext uri="{FF2B5EF4-FFF2-40B4-BE49-F238E27FC236}">
                <a16:creationId xmlns:a16="http://schemas.microsoft.com/office/drawing/2014/main" id="{6BBDD1DC-2030-4DAD-BA1D-6A5FB8E7BB34}"/>
              </a:ext>
            </a:extLst>
          </p:cNvPr>
          <p:cNvPicPr>
            <a:picLocks noChangeAspect="1"/>
          </p:cNvPicPr>
          <p:nvPr/>
        </p:nvPicPr>
        <p:blipFill>
          <a:blip r:embed="rId3"/>
          <a:stretch>
            <a:fillRect/>
          </a:stretch>
        </p:blipFill>
        <p:spPr>
          <a:xfrm>
            <a:off x="394330" y="6460047"/>
            <a:ext cx="1800225" cy="304800"/>
          </a:xfrm>
          <a:prstGeom prst="rect">
            <a:avLst/>
          </a:prstGeom>
        </p:spPr>
      </p:pic>
      <p:pic>
        <p:nvPicPr>
          <p:cNvPr id="4" name="Picture 3"/>
          <p:cNvPicPr>
            <a:picLocks noChangeAspect="1"/>
          </p:cNvPicPr>
          <p:nvPr/>
        </p:nvPicPr>
        <p:blipFill>
          <a:blip r:embed="rId4"/>
          <a:stretch>
            <a:fillRect/>
          </a:stretch>
        </p:blipFill>
        <p:spPr>
          <a:xfrm>
            <a:off x="394330" y="1271164"/>
            <a:ext cx="10545813" cy="4300127"/>
          </a:xfrm>
          <a:prstGeom prst="rect">
            <a:avLst/>
          </a:prstGeom>
        </p:spPr>
      </p:pic>
      <p:sp>
        <p:nvSpPr>
          <p:cNvPr id="26" name="Título 3"/>
          <p:cNvSpPr txBox="1">
            <a:spLocks/>
          </p:cNvSpPr>
          <p:nvPr/>
        </p:nvSpPr>
        <p:spPr>
          <a:xfrm>
            <a:off x="4482192" y="5767335"/>
            <a:ext cx="11252199" cy="495299"/>
          </a:xfrm>
          <a:prstGeom prst="rect">
            <a:avLst/>
          </a:prstGeom>
        </p:spPr>
        <p:txBody>
          <a:bodyPr vert="horz" lIns="0" tIns="0" rIns="0" bIns="0" rtlCol="0" anchor="t">
            <a:noAutofit/>
          </a:bodyPr>
          <a:lstStyle>
            <a:lvl1pPr algn="l" defTabSz="457200" rtl="0" eaLnBrk="1" latinLnBrk="0" hangingPunct="1">
              <a:lnSpc>
                <a:spcPct val="80000"/>
              </a:lnSpc>
              <a:spcBef>
                <a:spcPct val="0"/>
              </a:spcBef>
              <a:buNone/>
              <a:defRPr sz="3000" b="1" kern="1200">
                <a:solidFill>
                  <a:schemeClr val="tx2"/>
                </a:solidFill>
                <a:latin typeface="+mj-lt"/>
                <a:ea typeface="+mj-ea"/>
                <a:cs typeface="+mj-cs"/>
              </a:defRPr>
            </a:lvl1pPr>
          </a:lstStyle>
          <a:p>
            <a:r>
              <a:rPr lang="es-CO" sz="2800" u="sng" dirty="0">
                <a:solidFill>
                  <a:srgbClr val="FF0000"/>
                </a:solidFill>
                <a:latin typeface="MMC Display"/>
              </a:rPr>
              <a:t>Controles clave </a:t>
            </a:r>
          </a:p>
        </p:txBody>
      </p:sp>
      <p:sp>
        <p:nvSpPr>
          <p:cNvPr id="5" name="Right Arrow 4"/>
          <p:cNvSpPr/>
          <p:nvPr/>
        </p:nvSpPr>
        <p:spPr>
          <a:xfrm>
            <a:off x="3633107" y="5725843"/>
            <a:ext cx="693964" cy="414242"/>
          </a:xfrm>
          <a:prstGeom prst="rightArrow">
            <a:avLst/>
          </a:prstGeom>
          <a:solidFill>
            <a:srgbClr val="FF000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s-CL" dirty="0"/>
          </a:p>
        </p:txBody>
      </p:sp>
    </p:spTree>
    <p:extLst>
      <p:ext uri="{BB962C8B-B14F-4D97-AF65-F5344CB8AC3E}">
        <p14:creationId xmlns:p14="http://schemas.microsoft.com/office/powerpoint/2010/main" val="6961588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000" y="2575141"/>
            <a:ext cx="8234484" cy="1107860"/>
          </a:xfrm>
        </p:spPr>
        <p:txBody>
          <a:bodyPr>
            <a:normAutofit fontScale="90000"/>
          </a:bodyPr>
          <a:lstStyle/>
          <a:p>
            <a:r>
              <a:rPr lang="es-CO" sz="4400" dirty="0"/>
              <a:t>Herramientas de escaneo de vulnerabilidades </a:t>
            </a:r>
          </a:p>
        </p:txBody>
      </p:sp>
    </p:spTree>
    <p:extLst>
      <p:ext uri="{BB962C8B-B14F-4D97-AF65-F5344CB8AC3E}">
        <p14:creationId xmlns:p14="http://schemas.microsoft.com/office/powerpoint/2010/main" val="42244762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5" name="Shape 1385"/>
          <p:cNvSpPr/>
          <p:nvPr/>
        </p:nvSpPr>
        <p:spPr>
          <a:xfrm>
            <a:off x="9167962" y="6316195"/>
            <a:ext cx="2844801" cy="368301"/>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nchor="ctr">
            <a:spAutoFit/>
          </a:bodyPr>
          <a:lstStyle/>
          <a:p>
            <a:pPr algn="r">
              <a:defRPr sz="1200">
                <a:solidFill>
                  <a:srgbClr val="939596"/>
                </a:solidFill>
              </a:defRPr>
            </a:pPr>
            <a:fld id="{86CB4B4D-7CA3-9044-876B-883B54F8677D}" type="slidenum">
              <a:t>24</a:t>
            </a:fld>
            <a:r>
              <a:rPr lang="es-ES" dirty="0"/>
              <a:t>￼</a:t>
            </a:r>
          </a:p>
        </p:txBody>
      </p:sp>
      <p:sp>
        <p:nvSpPr>
          <p:cNvPr id="30" name="Shape 1091"/>
          <p:cNvSpPr/>
          <p:nvPr/>
        </p:nvSpPr>
        <p:spPr>
          <a:xfrm>
            <a:off x="106337" y="280868"/>
            <a:ext cx="12825891" cy="49859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nSpc>
                <a:spcPct val="80000"/>
              </a:lnSpc>
              <a:spcBef>
                <a:spcPts val="1200"/>
              </a:spcBef>
              <a:defRPr sz="2200" b="1">
                <a:solidFill>
                  <a:srgbClr val="FFFFFF"/>
                </a:solidFill>
                <a:latin typeface="MMC Display"/>
                <a:ea typeface="MMC Display"/>
                <a:cs typeface="MMC Display"/>
                <a:sym typeface="MMC Display"/>
              </a:defRPr>
            </a:lvl1pPr>
          </a:lstStyle>
          <a:p>
            <a:pPr>
              <a:lnSpc>
                <a:spcPct val="90000"/>
              </a:lnSpc>
            </a:pPr>
            <a:r>
              <a:rPr lang="es-ES" sz="3600" dirty="0">
                <a:solidFill>
                  <a:schemeClr val="accent1"/>
                </a:solidFill>
              </a:rPr>
              <a:t>Herramientas de escaneo de vulnerabilidades</a:t>
            </a:r>
          </a:p>
        </p:txBody>
      </p:sp>
      <p:sp>
        <p:nvSpPr>
          <p:cNvPr id="36" name="Shape 1090"/>
          <p:cNvSpPr/>
          <p:nvPr/>
        </p:nvSpPr>
        <p:spPr>
          <a:xfrm>
            <a:off x="1319304" y="192421"/>
            <a:ext cx="3406451" cy="169277"/>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defRPr sz="1100" b="1">
                <a:solidFill>
                  <a:srgbClr val="009DE0"/>
                </a:solidFill>
                <a:latin typeface="MMC Display"/>
                <a:ea typeface="MMC Display"/>
                <a:cs typeface="MMC Display"/>
                <a:sym typeface="MMC Display"/>
              </a:defRPr>
            </a:lvl1pPr>
          </a:lstStyle>
          <a:p>
            <a:r>
              <a:rPr lang="es-ES" dirty="0"/>
              <a:t> </a:t>
            </a:r>
          </a:p>
        </p:txBody>
      </p:sp>
      <p:pic>
        <p:nvPicPr>
          <p:cNvPr id="16" name="Picture 2" descr="SecurityScorecard Security Ratings - GCA Cybersecurity Toolkit | Tools and  Resources to Improve Your Cyber Defenses"/>
          <p:cNvPicPr>
            <a:picLocks noChangeAspect="1" noChangeArrowheads="1"/>
          </p:cNvPicPr>
          <p:nvPr/>
        </p:nvPicPr>
        <p:blipFill rotWithShape="1">
          <a:blip r:embed="rId3">
            <a:extLst>
              <a:ext uri="{28A0092B-C50C-407E-A947-70E740481C1C}">
                <a14:useLocalDpi xmlns:a14="http://schemas.microsoft.com/office/drawing/2010/main" val="0"/>
              </a:ext>
            </a:extLst>
          </a:blip>
          <a:srcRect l="9269" t="36059" r="8832" b="35070"/>
          <a:stretch/>
        </p:blipFill>
        <p:spPr bwMode="auto">
          <a:xfrm>
            <a:off x="106337" y="3218536"/>
            <a:ext cx="4595198" cy="978050"/>
          </a:xfrm>
          <a:prstGeom prst="rect">
            <a:avLst/>
          </a:prstGeom>
          <a:noFill/>
          <a:extLst>
            <a:ext uri="{909E8E84-426E-40DD-AFC4-6F175D3DCCD1}">
              <a14:hiddenFill xmlns:a14="http://schemas.microsoft.com/office/drawing/2010/main">
                <a:solidFill>
                  <a:srgbClr val="FFFFFF"/>
                </a:solidFill>
              </a14:hiddenFill>
            </a:ext>
          </a:extLst>
        </p:spPr>
      </p:pic>
      <p:sp>
        <p:nvSpPr>
          <p:cNvPr id="17" name="5 CuadroTexto"/>
          <p:cNvSpPr txBox="1"/>
          <p:nvPr/>
        </p:nvSpPr>
        <p:spPr>
          <a:xfrm>
            <a:off x="4978200" y="3436848"/>
            <a:ext cx="7034563" cy="954107"/>
          </a:xfrm>
          <a:prstGeom prst="rect">
            <a:avLst/>
          </a:prstGeom>
          <a:noFill/>
          <a:ln>
            <a:solidFill>
              <a:srgbClr val="FCFFFF"/>
            </a:solidFill>
          </a:ln>
        </p:spPr>
        <p:txBody>
          <a:bodyPr wrap="square" rtlCol="0">
            <a:spAutoFit/>
          </a:bodyPr>
          <a:lstStyle/>
          <a:p>
            <a:pPr algn="just"/>
            <a:r>
              <a:rPr lang="es-CO" sz="1400" dirty="0" err="1">
                <a:latin typeface="Calibri Light" panose="020F0302020204030204" pitchFamily="34" charset="0"/>
              </a:rPr>
              <a:t>SecurityScorecard</a:t>
            </a:r>
            <a:r>
              <a:rPr lang="es-CO" sz="1400" dirty="0">
                <a:latin typeface="Calibri Light" panose="020F0302020204030204" pitchFamily="34" charset="0"/>
              </a:rPr>
              <a:t> califica con una puntuación cuantificable la salud general de la ciberseguridad de una organización mediante la identificación de vulnerabilidades expuestas en activos digitales corporativos, de las cuales presenta hallazgos específicos y recomendaciones de mitigación de cada una de ellas. </a:t>
            </a:r>
            <a:endParaRPr lang="es-MX" sz="1600" dirty="0">
              <a:latin typeface="Calibri Light" panose="020F0302020204030204" pitchFamily="34" charset="0"/>
            </a:endParaRPr>
          </a:p>
        </p:txBody>
      </p:sp>
      <p:pic>
        <p:nvPicPr>
          <p:cNvPr id="18" name="Imagen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3302" y="4895302"/>
            <a:ext cx="2947481" cy="828482"/>
          </a:xfrm>
          <a:prstGeom prst="rect">
            <a:avLst/>
          </a:prstGeom>
        </p:spPr>
      </p:pic>
      <p:sp>
        <p:nvSpPr>
          <p:cNvPr id="19" name="5 CuadroTexto"/>
          <p:cNvSpPr txBox="1"/>
          <p:nvPr/>
        </p:nvSpPr>
        <p:spPr>
          <a:xfrm>
            <a:off x="4921048" y="4904143"/>
            <a:ext cx="7034563" cy="1415772"/>
          </a:xfrm>
          <a:prstGeom prst="rect">
            <a:avLst/>
          </a:prstGeom>
          <a:noFill/>
          <a:ln>
            <a:solidFill>
              <a:srgbClr val="FCFFFF"/>
            </a:solidFill>
          </a:ln>
        </p:spPr>
        <p:txBody>
          <a:bodyPr wrap="square" rtlCol="0">
            <a:spAutoFit/>
          </a:bodyPr>
          <a:lstStyle/>
          <a:p>
            <a:pPr algn="just"/>
            <a:r>
              <a:rPr lang="es-CO" sz="1400" dirty="0" err="1">
                <a:latin typeface="Calibri Light" panose="020F0302020204030204" pitchFamily="34" charset="0"/>
              </a:rPr>
              <a:t>Bitsight</a:t>
            </a:r>
            <a:r>
              <a:rPr lang="es-CO" sz="1400" dirty="0">
                <a:latin typeface="Calibri Light" panose="020F0302020204030204" pitchFamily="34" charset="0"/>
              </a:rPr>
              <a:t> Security Ratings es la herramienta de calificación de riesgo cibernético más usada globalmente, convirtiéndose en un estándar en el análisis del riesgo cibernético y preparación en ciberseguridad de las organizaciones. Basado en datos y métricas objetivas y comprobables, entrega un reporte confiable del nivel de la organización.</a:t>
            </a:r>
          </a:p>
          <a:p>
            <a:pPr algn="just"/>
            <a:endParaRPr lang="es-CO" sz="1400" dirty="0">
              <a:latin typeface="Calibri Light" panose="020F0302020204030204" pitchFamily="34" charset="0"/>
            </a:endParaRPr>
          </a:p>
          <a:p>
            <a:pPr algn="just"/>
            <a:endParaRPr lang="es-CO" sz="1600" dirty="0">
              <a:latin typeface="Calibri Light" panose="020F0302020204030204" pitchFamily="34" charset="0"/>
            </a:endParaRPr>
          </a:p>
        </p:txBody>
      </p:sp>
      <p:sp>
        <p:nvSpPr>
          <p:cNvPr id="2" name="Rectangle 1"/>
          <p:cNvSpPr/>
          <p:nvPr/>
        </p:nvSpPr>
        <p:spPr>
          <a:xfrm>
            <a:off x="277787" y="983338"/>
            <a:ext cx="11343762" cy="2031325"/>
          </a:xfrm>
          <a:prstGeom prst="rect">
            <a:avLst/>
          </a:prstGeom>
        </p:spPr>
        <p:txBody>
          <a:bodyPr wrap="square">
            <a:spAutoFit/>
          </a:bodyPr>
          <a:lstStyle/>
          <a:p>
            <a:r>
              <a:rPr lang="es-CL" b="1" dirty="0">
                <a:solidFill>
                  <a:srgbClr val="1F497D"/>
                </a:solidFill>
                <a:latin typeface="Calibri" panose="020F0502020204030204" pitchFamily="34" charset="0"/>
                <a:ea typeface="Calibri" panose="020F0502020204030204" pitchFamily="34" charset="0"/>
              </a:rPr>
              <a:t>CMF gestiona para sus clientes modelos registrados para el escaneo de vulnerabilidades no invasivos a través de las herramientas </a:t>
            </a:r>
            <a:r>
              <a:rPr lang="es-CL" b="1" dirty="0" err="1">
                <a:solidFill>
                  <a:srgbClr val="1F497D"/>
                </a:solidFill>
                <a:latin typeface="Calibri" panose="020F0502020204030204" pitchFamily="34" charset="0"/>
                <a:ea typeface="Calibri" panose="020F0502020204030204" pitchFamily="34" charset="0"/>
              </a:rPr>
              <a:t>Scorecard</a:t>
            </a:r>
            <a:r>
              <a:rPr lang="es-CL" b="1" dirty="0">
                <a:solidFill>
                  <a:srgbClr val="1F497D"/>
                </a:solidFill>
                <a:latin typeface="Calibri" panose="020F0502020204030204" pitchFamily="34" charset="0"/>
                <a:ea typeface="Calibri" panose="020F0502020204030204" pitchFamily="34" charset="0"/>
              </a:rPr>
              <a:t> y </a:t>
            </a:r>
            <a:r>
              <a:rPr lang="es-CL" b="1" dirty="0" err="1">
                <a:solidFill>
                  <a:srgbClr val="1F497D"/>
                </a:solidFill>
                <a:latin typeface="Calibri" panose="020F0502020204030204" pitchFamily="34" charset="0"/>
                <a:ea typeface="Calibri" panose="020F0502020204030204" pitchFamily="34" charset="0"/>
              </a:rPr>
              <a:t>Bitsight</a:t>
            </a:r>
            <a:r>
              <a:rPr lang="es-CL" b="1" dirty="0">
                <a:solidFill>
                  <a:srgbClr val="1F497D"/>
                </a:solidFill>
                <a:latin typeface="Calibri" panose="020F0502020204030204" pitchFamily="34" charset="0"/>
                <a:ea typeface="Calibri" panose="020F0502020204030204" pitchFamily="34" charset="0"/>
              </a:rPr>
              <a:t> para ayudar a detectar puntos débiles de los sistemas tecnológicos de los asegurados de forma rápida y confidencial. </a:t>
            </a:r>
          </a:p>
          <a:p>
            <a:endParaRPr lang="es-CL" dirty="0">
              <a:latin typeface="Calibri" panose="020F0502020204030204" pitchFamily="34" charset="0"/>
              <a:ea typeface="Calibri" panose="020F0502020204030204" pitchFamily="34" charset="0"/>
            </a:endParaRPr>
          </a:p>
          <a:p>
            <a:r>
              <a:rPr lang="es-CL" dirty="0">
                <a:solidFill>
                  <a:srgbClr val="1F497D"/>
                </a:solidFill>
                <a:latin typeface="Calibri" panose="020F0502020204030204" pitchFamily="34" charset="0"/>
                <a:ea typeface="Calibri" panose="020F0502020204030204" pitchFamily="34" charset="0"/>
              </a:rPr>
              <a:t>Estas herramientas son usualmente utilizadas por los Reaseguradores dentro de su proceso de suscripción, por lo cual CMF puede adelantar el análisis para hacer una revisión anterior a la presentación del riesgo ante el mercado, lo que permite mayor eficiencia en el proceso de colocación</a:t>
            </a:r>
            <a:r>
              <a:rPr lang="es-CL" b="1" dirty="0">
                <a:solidFill>
                  <a:srgbClr val="1F497D"/>
                </a:solidFill>
                <a:latin typeface="Calibri" panose="020F0502020204030204" pitchFamily="34" charset="0"/>
                <a:ea typeface="Calibri" panose="020F0502020204030204" pitchFamily="34" charset="0"/>
              </a:rPr>
              <a:t>. </a:t>
            </a:r>
            <a:endParaRPr lang="es-CL"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607008627"/>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000" y="2575141"/>
            <a:ext cx="8234484" cy="1107860"/>
          </a:xfrm>
        </p:spPr>
        <p:txBody>
          <a:bodyPr>
            <a:normAutofit/>
          </a:bodyPr>
          <a:lstStyle/>
          <a:p>
            <a:r>
              <a:rPr lang="es-CO" sz="4400" dirty="0"/>
              <a:t>Cuantificación y Analítica  </a:t>
            </a:r>
          </a:p>
        </p:txBody>
      </p:sp>
    </p:spTree>
    <p:extLst>
      <p:ext uri="{BB962C8B-B14F-4D97-AF65-F5344CB8AC3E}">
        <p14:creationId xmlns:p14="http://schemas.microsoft.com/office/powerpoint/2010/main" val="14101139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n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83705" y="0"/>
            <a:ext cx="6208295" cy="6858000"/>
          </a:xfrm>
          <a:prstGeom prst="rect">
            <a:avLst/>
          </a:prstGeom>
        </p:spPr>
      </p:pic>
      <p:sp>
        <p:nvSpPr>
          <p:cNvPr id="1385" name="Shape 1385"/>
          <p:cNvSpPr/>
          <p:nvPr/>
        </p:nvSpPr>
        <p:spPr>
          <a:xfrm>
            <a:off x="9167962" y="6316195"/>
            <a:ext cx="2844801" cy="368301"/>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nchor="ctr">
            <a:spAutoFit/>
          </a:bodyPr>
          <a:lstStyle/>
          <a:p>
            <a:pPr algn="r">
              <a:defRPr sz="1200">
                <a:solidFill>
                  <a:srgbClr val="939596"/>
                </a:solidFill>
              </a:defRPr>
            </a:pPr>
            <a:fld id="{86CB4B4D-7CA3-9044-876B-883B54F8677D}" type="slidenum">
              <a:t>26</a:t>
            </a:fld>
            <a:r>
              <a:rPr lang="es-ES" dirty="0"/>
              <a:t>￼</a:t>
            </a:r>
          </a:p>
        </p:txBody>
      </p:sp>
      <p:sp>
        <p:nvSpPr>
          <p:cNvPr id="30" name="Shape 1091"/>
          <p:cNvSpPr/>
          <p:nvPr/>
        </p:nvSpPr>
        <p:spPr>
          <a:xfrm>
            <a:off x="294115" y="550174"/>
            <a:ext cx="14205656" cy="115108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nSpc>
                <a:spcPct val="80000"/>
              </a:lnSpc>
              <a:spcBef>
                <a:spcPts val="1200"/>
              </a:spcBef>
              <a:defRPr sz="2200" b="1">
                <a:solidFill>
                  <a:srgbClr val="FFFFFF"/>
                </a:solidFill>
                <a:latin typeface="MMC Display"/>
                <a:ea typeface="MMC Display"/>
                <a:cs typeface="MMC Display"/>
                <a:sym typeface="MMC Display"/>
              </a:defRPr>
            </a:lvl1pPr>
          </a:lstStyle>
          <a:p>
            <a:pPr>
              <a:lnSpc>
                <a:spcPct val="90000"/>
              </a:lnSpc>
            </a:pPr>
            <a:r>
              <a:rPr lang="es-ES" sz="3600" dirty="0">
                <a:solidFill>
                  <a:schemeClr val="accent1"/>
                </a:solidFill>
              </a:rPr>
              <a:t>Analítica y modelos actuariales</a:t>
            </a:r>
          </a:p>
          <a:p>
            <a:pPr>
              <a:lnSpc>
                <a:spcPct val="90000"/>
              </a:lnSpc>
            </a:pPr>
            <a:r>
              <a:rPr lang="es-ES" sz="3600" dirty="0">
                <a:solidFill>
                  <a:schemeClr val="accent1"/>
                </a:solidFill>
              </a:rPr>
              <a:t>Dirigido a riesgos complejos  </a:t>
            </a:r>
          </a:p>
        </p:txBody>
      </p:sp>
      <p:sp>
        <p:nvSpPr>
          <p:cNvPr id="36" name="Shape 1090"/>
          <p:cNvSpPr/>
          <p:nvPr/>
        </p:nvSpPr>
        <p:spPr>
          <a:xfrm>
            <a:off x="1319304" y="192421"/>
            <a:ext cx="3406451" cy="169277"/>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defRPr sz="1100" b="1">
                <a:solidFill>
                  <a:srgbClr val="009DE0"/>
                </a:solidFill>
                <a:latin typeface="MMC Display"/>
                <a:ea typeface="MMC Display"/>
                <a:cs typeface="MMC Display"/>
                <a:sym typeface="MMC Display"/>
              </a:defRPr>
            </a:lvl1pPr>
          </a:lstStyle>
          <a:p>
            <a:r>
              <a:rPr lang="es-ES" dirty="0"/>
              <a:t> </a:t>
            </a:r>
          </a:p>
        </p:txBody>
      </p:sp>
      <p:sp>
        <p:nvSpPr>
          <p:cNvPr id="17" name="5 CuadroTexto"/>
          <p:cNvSpPr txBox="1"/>
          <p:nvPr/>
        </p:nvSpPr>
        <p:spPr>
          <a:xfrm>
            <a:off x="398035" y="2251432"/>
            <a:ext cx="6843687" cy="1169551"/>
          </a:xfrm>
          <a:prstGeom prst="rect">
            <a:avLst/>
          </a:prstGeom>
          <a:noFill/>
          <a:ln>
            <a:solidFill>
              <a:srgbClr val="FCFFFF"/>
            </a:solidFill>
          </a:ln>
        </p:spPr>
        <p:txBody>
          <a:bodyPr wrap="square" rtlCol="0">
            <a:spAutoFit/>
          </a:bodyPr>
          <a:lstStyle/>
          <a:p>
            <a:r>
              <a:rPr lang="es-CL" b="1" u="sng" dirty="0" err="1"/>
              <a:t>Cyber</a:t>
            </a:r>
            <a:r>
              <a:rPr lang="es-CL" b="1" u="sng" dirty="0"/>
              <a:t> Ideal - Data </a:t>
            </a:r>
            <a:r>
              <a:rPr lang="es-CL" b="1" u="sng" dirty="0" err="1"/>
              <a:t>Breach</a:t>
            </a:r>
            <a:r>
              <a:rPr lang="es-CL" u="sng" dirty="0"/>
              <a:t>: </a:t>
            </a:r>
            <a:r>
              <a:rPr lang="es-CL" dirty="0"/>
              <a:t>Estimación de impacto/costos asociados a </a:t>
            </a:r>
            <a:r>
              <a:rPr lang="es-CL" dirty="0" err="1"/>
              <a:t>cyber</a:t>
            </a:r>
            <a:r>
              <a:rPr lang="es-CL" dirty="0"/>
              <a:t>-riesgos que se materializan en la organización a raíz de una brecha de datos</a:t>
            </a:r>
          </a:p>
          <a:p>
            <a:pPr algn="just"/>
            <a:endParaRPr lang="es-MX" sz="1600" dirty="0">
              <a:latin typeface="Calibri Light" panose="020F0302020204030204" pitchFamily="34" charset="0"/>
            </a:endParaRPr>
          </a:p>
        </p:txBody>
      </p:sp>
      <p:sp>
        <p:nvSpPr>
          <p:cNvPr id="19" name="5 CuadroTexto"/>
          <p:cNvSpPr txBox="1"/>
          <p:nvPr/>
        </p:nvSpPr>
        <p:spPr>
          <a:xfrm>
            <a:off x="362380" y="3678095"/>
            <a:ext cx="7034563" cy="1169551"/>
          </a:xfrm>
          <a:prstGeom prst="rect">
            <a:avLst/>
          </a:prstGeom>
          <a:noFill/>
          <a:ln>
            <a:solidFill>
              <a:srgbClr val="FCFFFF"/>
            </a:solidFill>
          </a:ln>
        </p:spPr>
        <p:txBody>
          <a:bodyPr wrap="square" rtlCol="0">
            <a:spAutoFit/>
          </a:bodyPr>
          <a:lstStyle/>
          <a:p>
            <a:r>
              <a:rPr lang="es-CL" b="1" u="sng" dirty="0" err="1"/>
              <a:t>Cyber</a:t>
            </a:r>
            <a:r>
              <a:rPr lang="es-CL" b="1" u="sng" dirty="0"/>
              <a:t> Ideal - Business </a:t>
            </a:r>
            <a:r>
              <a:rPr lang="es-CL" b="1" u="sng" dirty="0" err="1"/>
              <a:t>Interruption</a:t>
            </a:r>
            <a:r>
              <a:rPr lang="es-CL" b="1" u="sng" dirty="0"/>
              <a:t>:</a:t>
            </a:r>
            <a:r>
              <a:rPr lang="es-CL" u="sng" dirty="0"/>
              <a:t> </a:t>
            </a:r>
            <a:r>
              <a:rPr lang="es-CL" dirty="0"/>
              <a:t>Estimación de la pérdida de ingresos probable asociados a </a:t>
            </a:r>
            <a:r>
              <a:rPr lang="es-CL" dirty="0" err="1"/>
              <a:t>cyber</a:t>
            </a:r>
            <a:r>
              <a:rPr lang="es-CL" dirty="0"/>
              <a:t>-riesgos que se materializan en la organización generando una interrupción de la operación. </a:t>
            </a:r>
          </a:p>
          <a:p>
            <a:pPr algn="just"/>
            <a:endParaRPr lang="es-CO" sz="1600" dirty="0">
              <a:latin typeface="Calibri Light" panose="020F0302020204030204" pitchFamily="34" charset="0"/>
            </a:endParaRPr>
          </a:p>
        </p:txBody>
      </p:sp>
    </p:spTree>
    <p:extLst>
      <p:ext uri="{BB962C8B-B14F-4D97-AF65-F5344CB8AC3E}">
        <p14:creationId xmlns:p14="http://schemas.microsoft.com/office/powerpoint/2010/main" val="1999642136"/>
      </p:ext>
    </p:extLst>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000" y="2575141"/>
            <a:ext cx="8234484" cy="1107860"/>
          </a:xfrm>
        </p:spPr>
        <p:txBody>
          <a:bodyPr>
            <a:normAutofit/>
          </a:bodyPr>
          <a:lstStyle/>
          <a:p>
            <a:r>
              <a:rPr lang="es-CO" sz="4400" dirty="0"/>
              <a:t>¿Preguntas?</a:t>
            </a:r>
          </a:p>
        </p:txBody>
      </p:sp>
    </p:spTree>
    <p:extLst>
      <p:ext uri="{BB962C8B-B14F-4D97-AF65-F5344CB8AC3E}">
        <p14:creationId xmlns:p14="http://schemas.microsoft.com/office/powerpoint/2010/main" val="31287514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7" name="Shape 1427"/>
          <p:cNvSpPr/>
          <p:nvPr/>
        </p:nvSpPr>
        <p:spPr>
          <a:xfrm>
            <a:off x="0" y="0"/>
            <a:ext cx="12192000" cy="6858000"/>
          </a:xfrm>
          <a:prstGeom prst="rect">
            <a:avLst/>
          </a:prstGeom>
          <a:solidFill>
            <a:srgbClr val="002979"/>
          </a:solidFill>
          <a:ln w="12700">
            <a:miter lim="400000"/>
          </a:ln>
        </p:spPr>
        <p:txBody>
          <a:bodyPr lIns="0" tIns="0" rIns="0" bIns="0" anchor="ctr"/>
          <a:lstStyle/>
          <a:p>
            <a:endParaRPr dirty="0"/>
          </a:p>
        </p:txBody>
      </p:sp>
      <p:pic>
        <p:nvPicPr>
          <p:cNvPr id="1428" name="logo-small.png"/>
          <p:cNvPicPr>
            <a:picLocks noChangeAspect="1"/>
          </p:cNvPicPr>
          <p:nvPr/>
        </p:nvPicPr>
        <p:blipFill>
          <a:blip r:embed="rId2"/>
          <a:stretch>
            <a:fillRect/>
          </a:stretch>
        </p:blipFill>
        <p:spPr>
          <a:xfrm>
            <a:off x="891544" y="3150024"/>
            <a:ext cx="5377328" cy="557952"/>
          </a:xfrm>
          <a:prstGeom prst="rect">
            <a:avLst/>
          </a:prstGeom>
          <a:ln w="12700">
            <a:miter lim="400000"/>
          </a:ln>
        </p:spPr>
      </p:pic>
      <p:sp>
        <p:nvSpPr>
          <p:cNvPr id="4" name="TextBox 3"/>
          <p:cNvSpPr txBox="1"/>
          <p:nvPr/>
        </p:nvSpPr>
        <p:spPr>
          <a:xfrm>
            <a:off x="553673" y="5047653"/>
            <a:ext cx="11224470" cy="102592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r>
              <a:rPr lang="es-ES" sz="1200" dirty="0">
                <a:solidFill>
                  <a:srgbClr val="FCFFFF"/>
                </a:solidFill>
              </a:rPr>
              <a:t>Este documento y cualquier de sus recomendaciones, análisis o asesorías brindadas por Carpenter Marsh Fac (CMF) , tienen por destino únicamente la entidad identificada como destinatario de la misma (en Adelante Usted). Esta documento contiene información privada, confidencial de Carpenter Marsh Fac como corredor de reaseguros y  su contenido no debe compartirse con terceros, incluidos corredores de seguros y reaseguros, salvo autorización expresa de CMF. Cualquier comentario relacionado a temas  actuariales, contables, tributarios o legales, se basan únicamente  en nuestra experiencia como corredores de reaseguros,  por lo que usted deberá consultar a sus propios asesores en estas áreas.  Carpenter Marsh Fac es una subsidiaria de Marsh </a:t>
            </a:r>
            <a:r>
              <a:rPr lang="es-ES" sz="1200" dirty="0" err="1">
                <a:solidFill>
                  <a:srgbClr val="FCFFFF"/>
                </a:solidFill>
              </a:rPr>
              <a:t>McLennan</a:t>
            </a:r>
            <a:r>
              <a:rPr lang="es-ES" sz="1200" dirty="0">
                <a:solidFill>
                  <a:srgbClr val="FCFFFF"/>
                </a:solidFill>
              </a:rPr>
              <a:t> Companies.</a:t>
            </a:r>
            <a:endParaRPr lang="en-US" sz="1200" dirty="0">
              <a:solidFill>
                <a:srgbClr val="FCFFFF"/>
              </a:solidFill>
            </a:endParaRPr>
          </a:p>
        </p:txBody>
      </p:sp>
    </p:spTree>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5884" y="2270340"/>
            <a:ext cx="8356600" cy="5855705"/>
          </a:xfrm>
        </p:spPr>
        <p:txBody>
          <a:bodyPr>
            <a:normAutofit/>
          </a:bodyPr>
          <a:lstStyle/>
          <a:p>
            <a:r>
              <a:rPr lang="es-CO" sz="4000" dirty="0"/>
              <a:t>Anexo I : 12 Controles Críticos </a:t>
            </a:r>
          </a:p>
        </p:txBody>
      </p:sp>
    </p:spTree>
    <p:extLst>
      <p:ext uri="{BB962C8B-B14F-4D97-AF65-F5344CB8AC3E}">
        <p14:creationId xmlns:p14="http://schemas.microsoft.com/office/powerpoint/2010/main" val="4251380649"/>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5" name="Shape 1385"/>
          <p:cNvSpPr/>
          <p:nvPr/>
        </p:nvSpPr>
        <p:spPr>
          <a:xfrm>
            <a:off x="9167962" y="6316195"/>
            <a:ext cx="2844801" cy="368301"/>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nchor="ctr">
            <a:spAutoFit/>
          </a:bodyPr>
          <a:lstStyle/>
          <a:p>
            <a:pPr algn="r">
              <a:defRPr sz="1200">
                <a:solidFill>
                  <a:srgbClr val="939596"/>
                </a:solidFill>
              </a:defRPr>
            </a:pPr>
            <a:fld id="{86CB4B4D-7CA3-9044-876B-883B54F8677D}" type="slidenum">
              <a:rPr/>
              <a:t>3</a:t>
            </a:fld>
            <a:r>
              <a:rPr lang="es-ES" dirty="0"/>
              <a:t>￼</a:t>
            </a:r>
          </a:p>
        </p:txBody>
      </p:sp>
      <p:sp>
        <p:nvSpPr>
          <p:cNvPr id="30" name="Shape 1091"/>
          <p:cNvSpPr/>
          <p:nvPr/>
        </p:nvSpPr>
        <p:spPr>
          <a:xfrm>
            <a:off x="327891" y="319877"/>
            <a:ext cx="9902570" cy="49859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nSpc>
                <a:spcPct val="80000"/>
              </a:lnSpc>
              <a:spcBef>
                <a:spcPts val="1200"/>
              </a:spcBef>
              <a:defRPr sz="2200" b="1">
                <a:solidFill>
                  <a:srgbClr val="FFFFFF"/>
                </a:solidFill>
                <a:latin typeface="MMC Display"/>
                <a:ea typeface="MMC Display"/>
                <a:cs typeface="MMC Display"/>
                <a:sym typeface="MMC Display"/>
              </a:defRPr>
            </a:lvl1pPr>
          </a:lstStyle>
          <a:p>
            <a:pPr>
              <a:lnSpc>
                <a:spcPct val="90000"/>
              </a:lnSpc>
            </a:pPr>
            <a:r>
              <a:rPr lang="es-ES" sz="3600" dirty="0">
                <a:solidFill>
                  <a:schemeClr val="accent1"/>
                </a:solidFill>
                <a:highlight>
                  <a:srgbClr val="FCFFFF"/>
                </a:highlight>
              </a:rPr>
              <a:t>Percepción del riesgo Cibernético 2022 </a:t>
            </a:r>
          </a:p>
        </p:txBody>
      </p:sp>
      <p:sp>
        <p:nvSpPr>
          <p:cNvPr id="36" name="Shape 1090"/>
          <p:cNvSpPr/>
          <p:nvPr/>
        </p:nvSpPr>
        <p:spPr>
          <a:xfrm>
            <a:off x="1319304" y="192421"/>
            <a:ext cx="3406451" cy="169277"/>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defRPr sz="1100" b="1">
                <a:solidFill>
                  <a:srgbClr val="009DE0"/>
                </a:solidFill>
                <a:latin typeface="MMC Display"/>
                <a:ea typeface="MMC Display"/>
                <a:cs typeface="MMC Display"/>
                <a:sym typeface="MMC Display"/>
              </a:defRPr>
            </a:lvl1pPr>
          </a:lstStyle>
          <a:p>
            <a:r>
              <a:rPr lang="es-ES" dirty="0"/>
              <a:t> </a:t>
            </a:r>
          </a:p>
        </p:txBody>
      </p:sp>
      <p:sp>
        <p:nvSpPr>
          <p:cNvPr id="18" name="Shape 981"/>
          <p:cNvSpPr/>
          <p:nvPr/>
        </p:nvSpPr>
        <p:spPr>
          <a:xfrm>
            <a:off x="419973" y="2055880"/>
            <a:ext cx="4020142" cy="310238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nSpc>
                <a:spcPct val="80000"/>
              </a:lnSpc>
              <a:defRPr sz="6600" b="1">
                <a:solidFill>
                  <a:srgbClr val="FFFFFF"/>
                </a:solidFill>
                <a:latin typeface="MMC Display"/>
                <a:ea typeface="MMC Display"/>
                <a:cs typeface="MMC Display"/>
                <a:sym typeface="MMC Display"/>
              </a:defRPr>
            </a:lvl1pPr>
          </a:lstStyle>
          <a:p>
            <a:pPr lvl="0">
              <a:lnSpc>
                <a:spcPct val="90000"/>
              </a:lnSpc>
            </a:pPr>
            <a:r>
              <a:rPr lang="es-ES" sz="1400" u="sng" dirty="0">
                <a:solidFill>
                  <a:schemeClr val="bg1"/>
                </a:solidFill>
              </a:rPr>
              <a:t>Portafolio </a:t>
            </a:r>
            <a:r>
              <a:rPr lang="es-ES" sz="1400" u="sng" dirty="0" err="1">
                <a:solidFill>
                  <a:schemeClr val="bg1"/>
                </a:solidFill>
              </a:rPr>
              <a:t>Ax</a:t>
            </a:r>
            <a:endParaRPr lang="es-ES" sz="1400" u="sng" dirty="0">
              <a:solidFill>
                <a:schemeClr val="bg1"/>
              </a:solidFill>
            </a:endParaRPr>
          </a:p>
          <a:p>
            <a:pPr lvl="0">
              <a:lnSpc>
                <a:spcPct val="90000"/>
              </a:lnSpc>
            </a:pPr>
            <a:endParaRPr lang="es-ES" sz="1400" dirty="0">
              <a:solidFill>
                <a:schemeClr val="bg1"/>
              </a:solidFill>
            </a:endParaRPr>
          </a:p>
          <a:p>
            <a:pPr marL="285750" lvl="0" indent="-285750">
              <a:lnSpc>
                <a:spcPct val="90000"/>
              </a:lnSpc>
              <a:buFont typeface="Arial" panose="020B0604020202020204" pitchFamily="34" charset="0"/>
              <a:buChar char="•"/>
            </a:pPr>
            <a:r>
              <a:rPr lang="es-ES" sz="1400" dirty="0">
                <a:solidFill>
                  <a:schemeClr val="bg1"/>
                </a:solidFill>
              </a:rPr>
              <a:t>25 cuentas vigentes</a:t>
            </a:r>
          </a:p>
          <a:p>
            <a:pPr marL="285750" lvl="0" indent="-285750">
              <a:lnSpc>
                <a:spcPct val="90000"/>
              </a:lnSpc>
              <a:buFont typeface="Arial" panose="020B0604020202020204" pitchFamily="34" charset="0"/>
              <a:buChar char="•"/>
            </a:pPr>
            <a:endParaRPr lang="es-ES" sz="1400" dirty="0">
              <a:solidFill>
                <a:schemeClr val="bg1"/>
              </a:solidFill>
            </a:endParaRPr>
          </a:p>
          <a:p>
            <a:pPr marL="285750" lvl="0" indent="-285750">
              <a:lnSpc>
                <a:spcPct val="90000"/>
              </a:lnSpc>
              <a:buFont typeface="Arial" panose="020B0604020202020204" pitchFamily="34" charset="0"/>
              <a:buChar char="•"/>
            </a:pPr>
            <a:r>
              <a:rPr lang="es-ES" sz="1400" dirty="0">
                <a:solidFill>
                  <a:schemeClr val="bg1"/>
                </a:solidFill>
              </a:rPr>
              <a:t>En general son limites sobre deducibles</a:t>
            </a:r>
          </a:p>
          <a:p>
            <a:pPr marL="285750" lvl="0" indent="-285750">
              <a:lnSpc>
                <a:spcPct val="90000"/>
              </a:lnSpc>
              <a:buFont typeface="Arial" panose="020B0604020202020204" pitchFamily="34" charset="0"/>
              <a:buChar char="•"/>
            </a:pPr>
            <a:endParaRPr lang="es-ES" sz="1400" dirty="0">
              <a:solidFill>
                <a:schemeClr val="bg1"/>
              </a:solidFill>
            </a:endParaRPr>
          </a:p>
          <a:p>
            <a:pPr marL="285750" lvl="0" indent="-285750">
              <a:lnSpc>
                <a:spcPct val="90000"/>
              </a:lnSpc>
              <a:buFont typeface="Arial" panose="020B0604020202020204" pitchFamily="34" charset="0"/>
              <a:buChar char="•"/>
            </a:pPr>
            <a:r>
              <a:rPr lang="es-ES" sz="1400" dirty="0">
                <a:solidFill>
                  <a:schemeClr val="bg1"/>
                </a:solidFill>
              </a:rPr>
              <a:t>Prima Total: USD 1,1Mio </a:t>
            </a:r>
          </a:p>
          <a:p>
            <a:pPr marL="285750" lvl="0" indent="-285750">
              <a:lnSpc>
                <a:spcPct val="90000"/>
              </a:lnSpc>
              <a:buFont typeface="Arial" panose="020B0604020202020204" pitchFamily="34" charset="0"/>
              <a:buChar char="•"/>
            </a:pPr>
            <a:endParaRPr lang="es-ES" sz="1400" dirty="0">
              <a:solidFill>
                <a:schemeClr val="bg1"/>
              </a:solidFill>
            </a:endParaRPr>
          </a:p>
          <a:p>
            <a:pPr lvl="0">
              <a:lnSpc>
                <a:spcPct val="90000"/>
              </a:lnSpc>
            </a:pPr>
            <a:r>
              <a:rPr lang="es-ES" sz="1400" dirty="0">
                <a:solidFill>
                  <a:schemeClr val="bg1"/>
                </a:solidFill>
              </a:rPr>
              <a:t>Industria predominante: FI y Manufactura </a:t>
            </a:r>
          </a:p>
          <a:p>
            <a:pPr marL="285750" lvl="0" indent="-285750">
              <a:lnSpc>
                <a:spcPct val="90000"/>
              </a:lnSpc>
              <a:buFont typeface="Arial" panose="020B0604020202020204" pitchFamily="34" charset="0"/>
              <a:buChar char="•"/>
            </a:pPr>
            <a:endParaRPr lang="es-ES" sz="1400" dirty="0">
              <a:solidFill>
                <a:schemeClr val="bg1"/>
              </a:solidFill>
            </a:endParaRPr>
          </a:p>
          <a:p>
            <a:pPr marL="285750" lvl="0" indent="-285750">
              <a:lnSpc>
                <a:spcPct val="90000"/>
              </a:lnSpc>
              <a:buFont typeface="Arial" panose="020B0604020202020204" pitchFamily="34" charset="0"/>
              <a:buChar char="•"/>
            </a:pPr>
            <a:r>
              <a:rPr lang="es-ES" sz="1400" dirty="0">
                <a:solidFill>
                  <a:schemeClr val="bg1"/>
                </a:solidFill>
              </a:rPr>
              <a:t>Sin siniestralidad a 2021</a:t>
            </a:r>
          </a:p>
          <a:p>
            <a:pPr lvl="0">
              <a:lnSpc>
                <a:spcPct val="90000"/>
              </a:lnSpc>
            </a:pPr>
            <a:r>
              <a:rPr lang="es-ES" sz="1400" dirty="0">
                <a:solidFill>
                  <a:schemeClr val="bg1"/>
                </a:solidFill>
              </a:rPr>
              <a:t> </a:t>
            </a:r>
          </a:p>
          <a:p>
            <a:pPr lvl="0">
              <a:lnSpc>
                <a:spcPct val="90000"/>
              </a:lnSpc>
            </a:pPr>
            <a:endParaRPr lang="es-ES" sz="1400" dirty="0">
              <a:solidFill>
                <a:schemeClr val="bg1"/>
              </a:solidFill>
            </a:endParaRPr>
          </a:p>
          <a:p>
            <a:pPr lvl="0">
              <a:lnSpc>
                <a:spcPct val="90000"/>
              </a:lnSpc>
            </a:pPr>
            <a:endParaRPr lang="es-ES" sz="1400" dirty="0">
              <a:solidFill>
                <a:schemeClr val="bg1"/>
              </a:solidFill>
            </a:endParaRPr>
          </a:p>
          <a:p>
            <a:pPr lvl="0">
              <a:lnSpc>
                <a:spcPct val="90000"/>
              </a:lnSpc>
            </a:pPr>
            <a:endParaRPr lang="es-ES" sz="1400" dirty="0">
              <a:solidFill>
                <a:schemeClr val="bg1"/>
              </a:solidFill>
            </a:endParaRPr>
          </a:p>
          <a:p>
            <a:pPr lvl="0">
              <a:lnSpc>
                <a:spcPct val="90000"/>
              </a:lnSpc>
            </a:pPr>
            <a:endParaRPr lang="es-ES" sz="1400" dirty="0">
              <a:solidFill>
                <a:schemeClr val="bg1"/>
              </a:solidFill>
            </a:endParaRPr>
          </a:p>
        </p:txBody>
      </p:sp>
      <p:sp>
        <p:nvSpPr>
          <p:cNvPr id="38" name="CuadroTexto 37">
            <a:extLst>
              <a:ext uri="{FF2B5EF4-FFF2-40B4-BE49-F238E27FC236}">
                <a16:creationId xmlns:a16="http://schemas.microsoft.com/office/drawing/2014/main" id="{98FA5471-1799-4822-8B1D-B9580ADE40E1}"/>
              </a:ext>
            </a:extLst>
          </p:cNvPr>
          <p:cNvSpPr txBox="1"/>
          <p:nvPr/>
        </p:nvSpPr>
        <p:spPr>
          <a:xfrm>
            <a:off x="273457" y="970305"/>
            <a:ext cx="3846480"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419" sz="1400" b="1" dirty="0">
                <a:solidFill>
                  <a:schemeClr val="accent2"/>
                </a:solidFill>
                <a:latin typeface="+mj-lt"/>
              </a:rPr>
              <a:t>WEF - Riesgos que serán una amenaza crítica global </a:t>
            </a:r>
            <a:r>
              <a:rPr kumimoji="0" lang="es-419" sz="1400" b="1" i="0" u="none" strike="noStrike" kern="0" cap="none" spc="0" normalizeH="0" dirty="0">
                <a:ln>
                  <a:noFill/>
                </a:ln>
                <a:solidFill>
                  <a:schemeClr val="accent2"/>
                </a:solidFill>
                <a:effectLst/>
                <a:uLnTx/>
                <a:uFillTx/>
                <a:latin typeface="+mj-lt"/>
                <a:ea typeface="+mn-ea"/>
                <a:cs typeface="+mn-cs"/>
              </a:rPr>
              <a:t>en 2 años</a:t>
            </a:r>
            <a:endParaRPr kumimoji="0" lang="es-419" sz="1400" b="1" i="0" u="none" strike="noStrike" kern="0" cap="none" spc="0" normalizeH="0" baseline="0" dirty="0">
              <a:ln>
                <a:noFill/>
              </a:ln>
              <a:solidFill>
                <a:schemeClr val="accent2"/>
              </a:solidFill>
              <a:effectLst/>
              <a:uLnTx/>
              <a:uFillTx/>
              <a:latin typeface="+mj-lt"/>
              <a:ea typeface="+mn-ea"/>
              <a:cs typeface="+mn-cs"/>
            </a:endParaRPr>
          </a:p>
        </p:txBody>
      </p:sp>
      <p:graphicFrame>
        <p:nvGraphicFramePr>
          <p:cNvPr id="44" name="Table 122">
            <a:extLst>
              <a:ext uri="{FF2B5EF4-FFF2-40B4-BE49-F238E27FC236}">
                <a16:creationId xmlns:a16="http://schemas.microsoft.com/office/drawing/2014/main" id="{3D4F3B8E-DA95-4703-8E4C-8553FA0815FD}"/>
              </a:ext>
            </a:extLst>
          </p:cNvPr>
          <p:cNvGraphicFramePr>
            <a:graphicFrameLocks noGrp="1"/>
          </p:cNvGraphicFramePr>
          <p:nvPr>
            <p:extLst>
              <p:ext uri="{D42A27DB-BD31-4B8C-83A1-F6EECF244321}">
                <p14:modId xmlns:p14="http://schemas.microsoft.com/office/powerpoint/2010/main" val="428616466"/>
              </p:ext>
            </p:extLst>
          </p:nvPr>
        </p:nvGraphicFramePr>
        <p:xfrm>
          <a:off x="329702" y="1494692"/>
          <a:ext cx="3664712" cy="4168550"/>
        </p:xfrm>
        <a:graphic>
          <a:graphicData uri="http://schemas.openxmlformats.org/drawingml/2006/table">
            <a:tbl>
              <a:tblPr firstRow="1" bandRow="1"/>
              <a:tblGrid>
                <a:gridCol w="1028431">
                  <a:extLst>
                    <a:ext uri="{9D8B030D-6E8A-4147-A177-3AD203B41FA5}">
                      <a16:colId xmlns:a16="http://schemas.microsoft.com/office/drawing/2014/main" val="1139176209"/>
                    </a:ext>
                  </a:extLst>
                </a:gridCol>
                <a:gridCol w="2636281">
                  <a:extLst>
                    <a:ext uri="{9D8B030D-6E8A-4147-A177-3AD203B41FA5}">
                      <a16:colId xmlns:a16="http://schemas.microsoft.com/office/drawing/2014/main" val="611680544"/>
                    </a:ext>
                  </a:extLst>
                </a:gridCol>
              </a:tblGrid>
              <a:tr h="35128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s-419" sz="1050" b="1" noProof="0" dirty="0">
                          <a:solidFill>
                            <a:schemeClr val="tx1"/>
                          </a:solidFill>
                          <a:latin typeface="+mj-lt"/>
                        </a:rPr>
                        <a:t>Clasificación</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buFont typeface="Arial" panose="020B0604020202020204" pitchFamily="34" charset="0"/>
                        <a:buNone/>
                      </a:pPr>
                      <a:r>
                        <a:rPr lang="es-419" sz="1050" b="1" noProof="0" dirty="0">
                          <a:solidFill>
                            <a:schemeClr val="tx1"/>
                          </a:solidFill>
                          <a:latin typeface="+mj-lt"/>
                        </a:rPr>
                        <a:t>Riesgo</a:t>
                      </a:r>
                    </a:p>
                  </a:txBody>
                  <a:tcPr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9420723"/>
                  </a:ext>
                </a:extLst>
              </a:tr>
              <a:tr h="37527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s-419" sz="1100" b="1" noProof="0" dirty="0">
                          <a:solidFill>
                            <a:schemeClr val="bg1"/>
                          </a:solidFill>
                          <a:latin typeface="+mj-lt"/>
                        </a:rPr>
                        <a:t>1</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4853D"/>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buFont typeface="Arial" panose="020B0604020202020204" pitchFamily="34" charset="0"/>
                        <a:buNone/>
                      </a:pPr>
                      <a:r>
                        <a:rPr lang="es-419" sz="1100" b="0" noProof="0" dirty="0">
                          <a:solidFill>
                            <a:srgbClr val="14853D"/>
                          </a:solidFill>
                          <a:latin typeface="+mj-lt"/>
                        </a:rPr>
                        <a:t>Clima extremo</a:t>
                      </a:r>
                    </a:p>
                  </a:txBody>
                  <a:tcPr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1018801"/>
                  </a:ext>
                </a:extLst>
              </a:tr>
              <a:tr h="43130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s-419" sz="1100" b="1" noProof="0" dirty="0">
                          <a:solidFill>
                            <a:schemeClr val="bg1"/>
                          </a:solidFill>
                          <a:latin typeface="+mj-lt"/>
                        </a:rPr>
                        <a:t>2</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s-419" sz="1100" b="0" i="0" u="none" strike="noStrike" kern="0" cap="none" spc="0" normalizeH="0" baseline="0" noProof="0" dirty="0">
                          <a:ln>
                            <a:noFill/>
                          </a:ln>
                          <a:solidFill>
                            <a:srgbClr val="FF0000"/>
                          </a:solidFill>
                          <a:effectLst/>
                          <a:uLnTx/>
                          <a:uFillTx/>
                          <a:latin typeface="+mj-lt"/>
                          <a:ea typeface="+mn-ea"/>
                          <a:cs typeface="+mn-cs"/>
                        </a:rPr>
                        <a:t>Crisis de subsistencia</a:t>
                      </a:r>
                    </a:p>
                  </a:txBody>
                  <a:tcPr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2664928"/>
                  </a:ext>
                </a:extLst>
              </a:tr>
              <a:tr h="37527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s-419" sz="1100" b="1" noProof="0" dirty="0">
                          <a:solidFill>
                            <a:schemeClr val="bg1"/>
                          </a:solidFill>
                          <a:latin typeface="+mj-lt"/>
                        </a:rPr>
                        <a:t>3</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4853D"/>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s-419" sz="1100" b="0" i="0" u="none" strike="noStrike" kern="0" cap="none" spc="0" normalizeH="0" baseline="0" noProof="0" dirty="0">
                          <a:ln>
                            <a:noFill/>
                          </a:ln>
                          <a:solidFill>
                            <a:srgbClr val="14853D"/>
                          </a:solidFill>
                          <a:effectLst/>
                          <a:uLnTx/>
                          <a:uFillTx/>
                          <a:latin typeface="+mj-lt"/>
                          <a:ea typeface="+mn-ea"/>
                          <a:cs typeface="+mn-cs"/>
                        </a:rPr>
                        <a:t>Fracaso de la acción climática</a:t>
                      </a:r>
                    </a:p>
                  </a:txBody>
                  <a:tcPr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6301519"/>
                  </a:ext>
                </a:extLst>
              </a:tr>
              <a:tr h="37527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s-419" sz="1100" b="1" noProof="0" dirty="0">
                          <a:solidFill>
                            <a:schemeClr val="bg1"/>
                          </a:solidFill>
                          <a:latin typeface="+mj-lt"/>
                        </a:rPr>
                        <a:t>4</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s-419" sz="1100" b="0" i="0" u="none" strike="noStrike" kern="0" cap="none" spc="0" normalizeH="0" baseline="0" noProof="0" dirty="0">
                          <a:ln>
                            <a:noFill/>
                          </a:ln>
                          <a:solidFill>
                            <a:srgbClr val="FF0000"/>
                          </a:solidFill>
                          <a:effectLst/>
                          <a:uLnTx/>
                          <a:uFillTx/>
                          <a:latin typeface="+mj-lt"/>
                          <a:ea typeface="+mn-ea"/>
                          <a:cs typeface="+mn-cs"/>
                        </a:rPr>
                        <a:t>Erosión de la cohesión social</a:t>
                      </a:r>
                    </a:p>
                  </a:txBody>
                  <a:tcPr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52088284"/>
                  </a:ext>
                </a:extLst>
              </a:tr>
              <a:tr h="37527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s-419" sz="1100" b="1" noProof="0" dirty="0">
                          <a:solidFill>
                            <a:schemeClr val="bg1"/>
                          </a:solidFill>
                          <a:latin typeface="+mj-lt"/>
                        </a:rPr>
                        <a:t>5</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s-419" sz="1100" b="0" i="0" u="none" strike="noStrike" kern="0" cap="none" spc="0" normalizeH="0" baseline="0" noProof="0" dirty="0">
                          <a:ln>
                            <a:noFill/>
                          </a:ln>
                          <a:solidFill>
                            <a:srgbClr val="FF0000"/>
                          </a:solidFill>
                          <a:effectLst/>
                          <a:uLnTx/>
                          <a:uFillTx/>
                          <a:latin typeface="+mj-lt"/>
                          <a:ea typeface="+mn-ea"/>
                          <a:cs typeface="+mn-cs"/>
                        </a:rPr>
                        <a:t>Enfermedades infecciosas</a:t>
                      </a:r>
                    </a:p>
                  </a:txBody>
                  <a:tcPr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4703897"/>
                  </a:ext>
                </a:extLst>
              </a:tr>
              <a:tr h="38379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s-419" sz="1100" b="1" noProof="0" dirty="0">
                          <a:solidFill>
                            <a:schemeClr val="bg1"/>
                          </a:solidFill>
                          <a:latin typeface="+mj-lt"/>
                        </a:rPr>
                        <a:t>6</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s-419" sz="1100" b="0" i="0" u="none" strike="noStrike" kern="0" cap="none" spc="0" normalizeH="0" baseline="0" noProof="0" dirty="0">
                          <a:ln>
                            <a:noFill/>
                          </a:ln>
                          <a:solidFill>
                            <a:srgbClr val="FF0000"/>
                          </a:solidFill>
                          <a:effectLst/>
                          <a:uLnTx/>
                          <a:uFillTx/>
                          <a:latin typeface="+mj-lt"/>
                          <a:ea typeface="+mn-ea"/>
                          <a:cs typeface="+mn-cs"/>
                        </a:rPr>
                        <a:t>Deterioro de la salud mental</a:t>
                      </a:r>
                    </a:p>
                  </a:txBody>
                  <a:tcPr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670345"/>
                  </a:ext>
                </a:extLst>
              </a:tr>
              <a:tr h="37527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s-419" sz="1100" b="1" noProof="0" dirty="0">
                          <a:solidFill>
                            <a:schemeClr val="bg1"/>
                          </a:solidFill>
                          <a:latin typeface="+mj-lt"/>
                        </a:rPr>
                        <a:t>7</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s-419" sz="1100" b="1" i="0" u="none" strike="noStrike" kern="0" cap="none" spc="0" normalizeH="0" baseline="0" noProof="0" dirty="0">
                          <a:ln>
                            <a:noFill/>
                          </a:ln>
                          <a:solidFill>
                            <a:srgbClr val="7030A0"/>
                          </a:solidFill>
                          <a:effectLst/>
                          <a:uLnTx/>
                          <a:uFillTx/>
                          <a:latin typeface="+mj-lt"/>
                          <a:ea typeface="+mn-ea"/>
                          <a:cs typeface="+mn-cs"/>
                        </a:rPr>
                        <a:t>Falla de Ciberseguridad</a:t>
                      </a:r>
                    </a:p>
                  </a:txBody>
                  <a:tcPr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4834873"/>
                  </a:ext>
                </a:extLst>
              </a:tr>
              <a:tr h="37527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s-419" sz="1100" b="1" noProof="0" dirty="0">
                          <a:solidFill>
                            <a:schemeClr val="bg1"/>
                          </a:solidFill>
                          <a:latin typeface="+mj-lt"/>
                        </a:rPr>
                        <a:t>8</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8AB3"/>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s-419" sz="1100" b="0" i="0" u="none" strike="noStrike" kern="0" cap="none" spc="0" normalizeH="0" baseline="0" noProof="0" dirty="0">
                          <a:ln>
                            <a:noFill/>
                          </a:ln>
                          <a:solidFill>
                            <a:srgbClr val="008AB3"/>
                          </a:solidFill>
                          <a:effectLst/>
                          <a:uLnTx/>
                          <a:uFillTx/>
                          <a:latin typeface="+mj-lt"/>
                          <a:ea typeface="+mn-ea"/>
                          <a:cs typeface="+mn-cs"/>
                        </a:rPr>
                        <a:t>Crisis de deuda</a:t>
                      </a:r>
                    </a:p>
                  </a:txBody>
                  <a:tcPr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1028052"/>
                  </a:ext>
                </a:extLst>
              </a:tr>
              <a:tr h="37527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s-419" sz="1100" b="1" noProof="0" dirty="0">
                          <a:solidFill>
                            <a:schemeClr val="bg1"/>
                          </a:solidFill>
                          <a:latin typeface="+mj-lt"/>
                        </a:rPr>
                        <a:t>9</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s-419" sz="1100" b="1" i="0" u="none" strike="noStrike" kern="0" cap="none" spc="0" normalizeH="0" baseline="0" noProof="0" dirty="0">
                          <a:ln>
                            <a:noFill/>
                          </a:ln>
                          <a:solidFill>
                            <a:srgbClr val="7030A0"/>
                          </a:solidFill>
                          <a:effectLst/>
                          <a:uLnTx/>
                          <a:uFillTx/>
                          <a:latin typeface="+mj-lt"/>
                          <a:ea typeface="+mn-ea"/>
                          <a:cs typeface="+mn-cs"/>
                        </a:rPr>
                        <a:t>Desigualdad digital</a:t>
                      </a:r>
                    </a:p>
                  </a:txBody>
                  <a:tcPr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034093"/>
                  </a:ext>
                </a:extLst>
              </a:tr>
              <a:tr h="37527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s-419" sz="1100" b="1" noProof="0" dirty="0">
                          <a:solidFill>
                            <a:schemeClr val="bg1"/>
                          </a:solidFill>
                          <a:latin typeface="+mj-lt"/>
                        </a:rPr>
                        <a:t>1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8AB3"/>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s-419" sz="1100" b="0" i="0" u="none" strike="noStrike" kern="0" cap="none" spc="0" normalizeH="0" baseline="0" noProof="0" dirty="0">
                          <a:ln>
                            <a:noFill/>
                          </a:ln>
                          <a:solidFill>
                            <a:srgbClr val="008AB3"/>
                          </a:solidFill>
                          <a:effectLst/>
                          <a:uLnTx/>
                          <a:uFillTx/>
                          <a:latin typeface="+mj-lt"/>
                          <a:ea typeface="+mn-ea"/>
                          <a:cs typeface="+mn-cs"/>
                        </a:rPr>
                        <a:t>Impacto en la burbuja de activos</a:t>
                      </a:r>
                    </a:p>
                  </a:txBody>
                  <a:tcPr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8363381"/>
                  </a:ext>
                </a:extLst>
              </a:tr>
            </a:tbl>
          </a:graphicData>
        </a:graphic>
      </p:graphicFrame>
      <p:grpSp>
        <p:nvGrpSpPr>
          <p:cNvPr id="45" name="Group 123">
            <a:extLst>
              <a:ext uri="{FF2B5EF4-FFF2-40B4-BE49-F238E27FC236}">
                <a16:creationId xmlns:a16="http://schemas.microsoft.com/office/drawing/2014/main" id="{2023C05C-937D-473E-9C6C-4371F918F581}"/>
              </a:ext>
            </a:extLst>
          </p:cNvPr>
          <p:cNvGrpSpPr/>
          <p:nvPr/>
        </p:nvGrpSpPr>
        <p:grpSpPr>
          <a:xfrm>
            <a:off x="372097" y="5871885"/>
            <a:ext cx="4275852" cy="123111"/>
            <a:chOff x="457200" y="6122308"/>
            <a:chExt cx="4275852" cy="123111"/>
          </a:xfrm>
        </p:grpSpPr>
        <p:sp>
          <p:nvSpPr>
            <p:cNvPr id="46" name="TextBox 124">
              <a:extLst>
                <a:ext uri="{FF2B5EF4-FFF2-40B4-BE49-F238E27FC236}">
                  <a16:creationId xmlns:a16="http://schemas.microsoft.com/office/drawing/2014/main" id="{70BBF6C1-B7A6-4575-B3BC-2BA2AA683202}"/>
                </a:ext>
              </a:extLst>
            </p:cNvPr>
            <p:cNvSpPr txBox="1"/>
            <p:nvPr/>
          </p:nvSpPr>
          <p:spPr>
            <a:xfrm>
              <a:off x="618430" y="6122308"/>
              <a:ext cx="799908" cy="123111"/>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419" sz="800" b="0" i="0" u="none" strike="noStrike" kern="0" cap="none" spc="0" normalizeH="0" baseline="0" dirty="0">
                  <a:ln>
                    <a:noFill/>
                  </a:ln>
                  <a:solidFill>
                    <a:srgbClr val="008AB3"/>
                  </a:solidFill>
                  <a:effectLst/>
                  <a:uLnTx/>
                  <a:uFillTx/>
                  <a:latin typeface="+mj-lt"/>
                </a:rPr>
                <a:t>Económico</a:t>
              </a:r>
            </a:p>
          </p:txBody>
        </p:sp>
        <p:sp>
          <p:nvSpPr>
            <p:cNvPr id="47" name="Rectangle 125">
              <a:extLst>
                <a:ext uri="{FF2B5EF4-FFF2-40B4-BE49-F238E27FC236}">
                  <a16:creationId xmlns:a16="http://schemas.microsoft.com/office/drawing/2014/main" id="{73D48528-2956-411C-9F54-BFE72CD8A255}"/>
                </a:ext>
              </a:extLst>
            </p:cNvPr>
            <p:cNvSpPr/>
            <p:nvPr/>
          </p:nvSpPr>
          <p:spPr>
            <a:xfrm>
              <a:off x="457200" y="6129863"/>
              <a:ext cx="108000" cy="108000"/>
            </a:xfrm>
            <a:prstGeom prst="rect">
              <a:avLst/>
            </a:prstGeom>
            <a:solidFill>
              <a:srgbClr val="008AB3"/>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419" sz="800" b="0" i="0" u="none" strike="noStrike" kern="0" cap="none" spc="0" normalizeH="0" baseline="0" dirty="0">
                <a:ln>
                  <a:noFill/>
                </a:ln>
                <a:solidFill>
                  <a:srgbClr val="000000"/>
                </a:solidFill>
                <a:effectLst/>
                <a:uLnTx/>
                <a:uFillTx/>
                <a:latin typeface="+mj-lt"/>
                <a:ea typeface="+mn-ea"/>
                <a:cs typeface="+mn-cs"/>
              </a:endParaRPr>
            </a:p>
          </p:txBody>
        </p:sp>
        <p:sp>
          <p:nvSpPr>
            <p:cNvPr id="48" name="TextBox 126">
              <a:extLst>
                <a:ext uri="{FF2B5EF4-FFF2-40B4-BE49-F238E27FC236}">
                  <a16:creationId xmlns:a16="http://schemas.microsoft.com/office/drawing/2014/main" id="{CC131A1E-215F-45C7-A2BA-5F71C7DAD73B}"/>
                </a:ext>
              </a:extLst>
            </p:cNvPr>
            <p:cNvSpPr txBox="1"/>
            <p:nvPr/>
          </p:nvSpPr>
          <p:spPr>
            <a:xfrm>
              <a:off x="1371866" y="6122308"/>
              <a:ext cx="1061685" cy="123111"/>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419" sz="800" b="0" i="0" u="none" strike="noStrike" kern="0" cap="none" spc="0" normalizeH="0" baseline="0" dirty="0">
                  <a:ln>
                    <a:noFill/>
                  </a:ln>
                  <a:solidFill>
                    <a:srgbClr val="41A441"/>
                  </a:solidFill>
                  <a:effectLst/>
                  <a:uLnTx/>
                  <a:uFillTx/>
                  <a:latin typeface="+mj-lt"/>
                </a:rPr>
                <a:t>Medioambiental</a:t>
              </a:r>
            </a:p>
          </p:txBody>
        </p:sp>
        <p:sp>
          <p:nvSpPr>
            <p:cNvPr id="58" name="Rectangle 127">
              <a:extLst>
                <a:ext uri="{FF2B5EF4-FFF2-40B4-BE49-F238E27FC236}">
                  <a16:creationId xmlns:a16="http://schemas.microsoft.com/office/drawing/2014/main" id="{768B1B2B-3916-4EE6-AB44-56D797FEADF3}"/>
                </a:ext>
              </a:extLst>
            </p:cNvPr>
            <p:cNvSpPr/>
            <p:nvPr/>
          </p:nvSpPr>
          <p:spPr>
            <a:xfrm>
              <a:off x="1205478" y="6129863"/>
              <a:ext cx="108000" cy="108000"/>
            </a:xfrm>
            <a:prstGeom prst="rect">
              <a:avLst/>
            </a:prstGeom>
            <a:solidFill>
              <a:srgbClr val="41A441"/>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419" sz="800" b="0" i="0" u="none" strike="noStrike" kern="0" cap="none" spc="0" normalizeH="0" baseline="0" dirty="0">
                <a:ln>
                  <a:noFill/>
                </a:ln>
                <a:solidFill>
                  <a:srgbClr val="000000"/>
                </a:solidFill>
                <a:effectLst/>
                <a:uLnTx/>
                <a:uFillTx/>
                <a:latin typeface="+mj-lt"/>
                <a:ea typeface="+mn-ea"/>
                <a:cs typeface="+mn-cs"/>
              </a:endParaRPr>
            </a:p>
          </p:txBody>
        </p:sp>
        <p:sp>
          <p:nvSpPr>
            <p:cNvPr id="60" name="TextBox 128">
              <a:extLst>
                <a:ext uri="{FF2B5EF4-FFF2-40B4-BE49-F238E27FC236}">
                  <a16:creationId xmlns:a16="http://schemas.microsoft.com/office/drawing/2014/main" id="{9DFB1803-4DE6-461E-8F38-CC6AA2F89439}"/>
                </a:ext>
              </a:extLst>
            </p:cNvPr>
            <p:cNvSpPr txBox="1"/>
            <p:nvPr/>
          </p:nvSpPr>
          <p:spPr>
            <a:xfrm>
              <a:off x="2388875" y="6122308"/>
              <a:ext cx="912605" cy="123111"/>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419" sz="800" b="0" i="0" u="none" strike="noStrike" kern="0" cap="none" spc="0" normalizeH="0" baseline="0" dirty="0">
                  <a:ln>
                    <a:noFill/>
                  </a:ln>
                  <a:solidFill>
                    <a:srgbClr val="E29815"/>
                  </a:solidFill>
                  <a:effectLst/>
                  <a:uLnTx/>
                  <a:uFillTx/>
                  <a:latin typeface="+mj-lt"/>
                </a:rPr>
                <a:t>Geopolítico</a:t>
              </a:r>
            </a:p>
          </p:txBody>
        </p:sp>
        <p:sp>
          <p:nvSpPr>
            <p:cNvPr id="61" name="Rectangle 129">
              <a:extLst>
                <a:ext uri="{FF2B5EF4-FFF2-40B4-BE49-F238E27FC236}">
                  <a16:creationId xmlns:a16="http://schemas.microsoft.com/office/drawing/2014/main" id="{0C11DA40-B398-4BAE-B8A0-EDE83E56B4A7}"/>
                </a:ext>
              </a:extLst>
            </p:cNvPr>
            <p:cNvSpPr/>
            <p:nvPr/>
          </p:nvSpPr>
          <p:spPr>
            <a:xfrm>
              <a:off x="2239387" y="6129863"/>
              <a:ext cx="108000" cy="108000"/>
            </a:xfrm>
            <a:prstGeom prst="rect">
              <a:avLst/>
            </a:prstGeom>
            <a:solidFill>
              <a:srgbClr val="E29815"/>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419" sz="800" b="0" i="0" u="none" strike="noStrike" kern="0" cap="none" spc="0" normalizeH="0" baseline="0" dirty="0">
                <a:ln>
                  <a:noFill/>
                </a:ln>
                <a:solidFill>
                  <a:srgbClr val="000000"/>
                </a:solidFill>
                <a:effectLst/>
                <a:uLnTx/>
                <a:uFillTx/>
                <a:latin typeface="+mj-lt"/>
                <a:ea typeface="+mn-ea"/>
                <a:cs typeface="+mn-cs"/>
              </a:endParaRPr>
            </a:p>
          </p:txBody>
        </p:sp>
        <p:sp>
          <p:nvSpPr>
            <p:cNvPr id="62" name="TextBox 130">
              <a:extLst>
                <a:ext uri="{FF2B5EF4-FFF2-40B4-BE49-F238E27FC236}">
                  <a16:creationId xmlns:a16="http://schemas.microsoft.com/office/drawing/2014/main" id="{BF1EB9F7-1C2B-4797-AE08-46838576F359}"/>
                </a:ext>
              </a:extLst>
            </p:cNvPr>
            <p:cNvSpPr txBox="1"/>
            <p:nvPr/>
          </p:nvSpPr>
          <p:spPr>
            <a:xfrm>
              <a:off x="3208870" y="6122308"/>
              <a:ext cx="684872" cy="123111"/>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419" sz="800" b="0" i="0" u="none" strike="noStrike" kern="0" cap="none" spc="0" normalizeH="0" baseline="0" dirty="0">
                  <a:ln>
                    <a:noFill/>
                  </a:ln>
                  <a:solidFill>
                    <a:srgbClr val="FF0000"/>
                  </a:solidFill>
                  <a:effectLst/>
                  <a:uLnTx/>
                  <a:uFillTx/>
                  <a:latin typeface="+mj-lt"/>
                </a:rPr>
                <a:t>Social</a:t>
              </a:r>
            </a:p>
          </p:txBody>
        </p:sp>
        <p:sp>
          <p:nvSpPr>
            <p:cNvPr id="63" name="Rectangle 131">
              <a:extLst>
                <a:ext uri="{FF2B5EF4-FFF2-40B4-BE49-F238E27FC236}">
                  <a16:creationId xmlns:a16="http://schemas.microsoft.com/office/drawing/2014/main" id="{6162DEF1-3D24-46D3-8AAE-4B0D2371A6F7}"/>
                </a:ext>
              </a:extLst>
            </p:cNvPr>
            <p:cNvSpPr/>
            <p:nvPr/>
          </p:nvSpPr>
          <p:spPr>
            <a:xfrm>
              <a:off x="3048598" y="6129863"/>
              <a:ext cx="108000" cy="108000"/>
            </a:xfrm>
            <a:prstGeom prst="rect">
              <a:avLst/>
            </a:prstGeom>
            <a:solidFill>
              <a:srgbClr val="FF0000"/>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419" sz="800" b="0" i="0" u="none" strike="noStrike" kern="0" cap="none" spc="0" normalizeH="0" baseline="0" dirty="0">
                <a:ln>
                  <a:noFill/>
                </a:ln>
                <a:solidFill>
                  <a:srgbClr val="000000"/>
                </a:solidFill>
                <a:effectLst/>
                <a:uLnTx/>
                <a:uFillTx/>
                <a:latin typeface="+mj-lt"/>
                <a:ea typeface="+mn-ea"/>
                <a:cs typeface="+mn-cs"/>
              </a:endParaRPr>
            </a:p>
          </p:txBody>
        </p:sp>
        <p:sp>
          <p:nvSpPr>
            <p:cNvPr id="64" name="TextBox 132">
              <a:extLst>
                <a:ext uri="{FF2B5EF4-FFF2-40B4-BE49-F238E27FC236}">
                  <a16:creationId xmlns:a16="http://schemas.microsoft.com/office/drawing/2014/main" id="{D3573FAE-41EA-4ED5-9CF8-6C4F6C0C40F2}"/>
                </a:ext>
              </a:extLst>
            </p:cNvPr>
            <p:cNvSpPr txBox="1"/>
            <p:nvPr/>
          </p:nvSpPr>
          <p:spPr>
            <a:xfrm>
              <a:off x="3762895" y="6122308"/>
              <a:ext cx="970157" cy="123111"/>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419" sz="800" b="0" i="0" u="none" strike="noStrike" kern="0" cap="none" spc="0" normalizeH="0" baseline="0" dirty="0">
                  <a:ln>
                    <a:noFill/>
                  </a:ln>
                  <a:solidFill>
                    <a:srgbClr val="7030A0"/>
                  </a:solidFill>
                  <a:effectLst/>
                  <a:uLnTx/>
                  <a:uFillTx/>
                  <a:latin typeface="+mj-lt"/>
                </a:rPr>
                <a:t>Tecnológico</a:t>
              </a:r>
            </a:p>
          </p:txBody>
        </p:sp>
        <p:sp>
          <p:nvSpPr>
            <p:cNvPr id="65" name="Rectangle 133">
              <a:extLst>
                <a:ext uri="{FF2B5EF4-FFF2-40B4-BE49-F238E27FC236}">
                  <a16:creationId xmlns:a16="http://schemas.microsoft.com/office/drawing/2014/main" id="{C85797D5-9770-4248-926A-407D07E656F1}"/>
                </a:ext>
              </a:extLst>
            </p:cNvPr>
            <p:cNvSpPr/>
            <p:nvPr/>
          </p:nvSpPr>
          <p:spPr>
            <a:xfrm>
              <a:off x="3602903" y="6129863"/>
              <a:ext cx="108000" cy="108000"/>
            </a:xfrm>
            <a:prstGeom prst="rect">
              <a:avLst/>
            </a:prstGeom>
            <a:solidFill>
              <a:srgbClr val="7030A0"/>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419" sz="800" b="0" i="0" u="none" strike="noStrike" kern="0" cap="none" spc="0" normalizeH="0" baseline="0" dirty="0">
                <a:ln>
                  <a:noFill/>
                </a:ln>
                <a:solidFill>
                  <a:srgbClr val="000000"/>
                </a:solidFill>
                <a:effectLst/>
                <a:uLnTx/>
                <a:uFillTx/>
                <a:latin typeface="+mj-lt"/>
                <a:ea typeface="+mn-ea"/>
                <a:cs typeface="+mn-cs"/>
              </a:endParaRPr>
            </a:p>
          </p:txBody>
        </p:sp>
      </p:grpSp>
      <p:sp>
        <p:nvSpPr>
          <p:cNvPr id="66" name="Footnote">
            <a:extLst>
              <a:ext uri="{FF2B5EF4-FFF2-40B4-BE49-F238E27FC236}">
                <a16:creationId xmlns:a16="http://schemas.microsoft.com/office/drawing/2014/main" id="{A574363C-C8AC-41F5-835B-B41B4EB4C148}"/>
              </a:ext>
            </a:extLst>
          </p:cNvPr>
          <p:cNvSpPr/>
          <p:nvPr/>
        </p:nvSpPr>
        <p:spPr bwMode="auto">
          <a:xfrm>
            <a:off x="326424" y="6126297"/>
            <a:ext cx="203804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eaLnBrk="1" fontAlgn="auto" hangingPunct="1">
              <a:spcBef>
                <a:spcPts val="0"/>
              </a:spcBef>
              <a:spcAft>
                <a:spcPts val="0"/>
              </a:spcAft>
            </a:pPr>
            <a:r>
              <a:rPr lang="es-419" sz="800" dirty="0">
                <a:solidFill>
                  <a:prstClr val="black"/>
                </a:solidFill>
                <a:latin typeface="+mj-lt"/>
                <a:sym typeface="Arial"/>
              </a:rPr>
              <a:t>Fuente: </a:t>
            </a:r>
            <a:r>
              <a:rPr lang="es-419" sz="800" i="1" dirty="0">
                <a:solidFill>
                  <a:prstClr val="black"/>
                </a:solidFill>
                <a:latin typeface="+mj-lt"/>
                <a:sym typeface="Arial"/>
              </a:rPr>
              <a:t>WEF Global </a:t>
            </a:r>
            <a:r>
              <a:rPr lang="es-419" sz="800" i="1" dirty="0" err="1">
                <a:solidFill>
                  <a:prstClr val="black"/>
                </a:solidFill>
                <a:latin typeface="+mj-lt"/>
                <a:sym typeface="Arial"/>
              </a:rPr>
              <a:t>Risk</a:t>
            </a:r>
            <a:r>
              <a:rPr lang="es-419" sz="800" i="1" dirty="0">
                <a:solidFill>
                  <a:prstClr val="black"/>
                </a:solidFill>
                <a:latin typeface="+mj-lt"/>
                <a:sym typeface="Arial"/>
              </a:rPr>
              <a:t> </a:t>
            </a:r>
            <a:r>
              <a:rPr lang="es-419" sz="800" i="1" dirty="0" err="1">
                <a:solidFill>
                  <a:prstClr val="black"/>
                </a:solidFill>
                <a:latin typeface="+mj-lt"/>
                <a:sym typeface="Arial"/>
              </a:rPr>
              <a:t>Report</a:t>
            </a:r>
            <a:r>
              <a:rPr lang="es-419" sz="800" i="1" dirty="0">
                <a:solidFill>
                  <a:prstClr val="black"/>
                </a:solidFill>
                <a:latin typeface="+mj-lt"/>
                <a:sym typeface="Arial"/>
              </a:rPr>
              <a:t> 2022</a:t>
            </a:r>
          </a:p>
        </p:txBody>
      </p:sp>
      <p:grpSp>
        <p:nvGrpSpPr>
          <p:cNvPr id="67" name="Group 135">
            <a:extLst>
              <a:ext uri="{FF2B5EF4-FFF2-40B4-BE49-F238E27FC236}">
                <a16:creationId xmlns:a16="http://schemas.microsoft.com/office/drawing/2014/main" id="{607F3BDE-5D1B-4A74-A86F-DCCADDBFEEA2}"/>
              </a:ext>
            </a:extLst>
          </p:cNvPr>
          <p:cNvGrpSpPr/>
          <p:nvPr/>
        </p:nvGrpSpPr>
        <p:grpSpPr>
          <a:xfrm>
            <a:off x="8152909" y="1730233"/>
            <a:ext cx="3052256" cy="360000"/>
            <a:chOff x="7756517" y="1649162"/>
            <a:chExt cx="3052256" cy="360000"/>
          </a:xfrm>
        </p:grpSpPr>
        <p:sp>
          <p:nvSpPr>
            <p:cNvPr id="68" name="Rectangle 136">
              <a:extLst>
                <a:ext uri="{FF2B5EF4-FFF2-40B4-BE49-F238E27FC236}">
                  <a16:creationId xmlns:a16="http://schemas.microsoft.com/office/drawing/2014/main" id="{3BC6E1E2-2168-4090-8396-9AE2123DEAC4}"/>
                </a:ext>
              </a:extLst>
            </p:cNvPr>
            <p:cNvSpPr/>
            <p:nvPr/>
          </p:nvSpPr>
          <p:spPr>
            <a:xfrm>
              <a:off x="7756517" y="1649162"/>
              <a:ext cx="1440000" cy="360000"/>
            </a:xfrm>
            <a:prstGeom prst="rect">
              <a:avLst/>
            </a:prstGeom>
            <a:solidFill>
              <a:srgbClr val="EE398C"/>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s-CO" dirty="0"/>
            </a:p>
          </p:txBody>
        </p:sp>
        <p:sp>
          <p:nvSpPr>
            <p:cNvPr id="69" name="Rectangle 137">
              <a:extLst>
                <a:ext uri="{FF2B5EF4-FFF2-40B4-BE49-F238E27FC236}">
                  <a16:creationId xmlns:a16="http://schemas.microsoft.com/office/drawing/2014/main" id="{D1492E91-EDED-4841-84DD-810631A2156D}"/>
                </a:ext>
              </a:extLst>
            </p:cNvPr>
            <p:cNvSpPr/>
            <p:nvPr/>
          </p:nvSpPr>
          <p:spPr>
            <a:xfrm>
              <a:off x="9368773" y="1649162"/>
              <a:ext cx="1440000" cy="360000"/>
            </a:xfrm>
            <a:prstGeom prst="rect">
              <a:avLst/>
            </a:prstGeom>
            <a:solidFill>
              <a:srgbClr val="EE398C"/>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s-CO" dirty="0"/>
            </a:p>
          </p:txBody>
        </p:sp>
        <p:sp>
          <p:nvSpPr>
            <p:cNvPr id="70" name="TextBox 138">
              <a:extLst>
                <a:ext uri="{FF2B5EF4-FFF2-40B4-BE49-F238E27FC236}">
                  <a16:creationId xmlns:a16="http://schemas.microsoft.com/office/drawing/2014/main" id="{F3173EBB-D35D-487C-8466-6C1332CC328A}"/>
                </a:ext>
              </a:extLst>
            </p:cNvPr>
            <p:cNvSpPr txBox="1"/>
            <p:nvPr/>
          </p:nvSpPr>
          <p:spPr>
            <a:xfrm>
              <a:off x="8028477" y="1699140"/>
              <a:ext cx="896079" cy="246221"/>
            </a:xfrm>
            <a:prstGeom prst="rect">
              <a:avLst/>
            </a:prstGeom>
            <a:noFill/>
          </p:spPr>
          <p:txBody>
            <a:bodyPr wrap="none" lIns="0" tIns="0" rIns="0" bIns="0" rtlCol="0">
              <a:spAutoFit/>
            </a:bodyPr>
            <a:lstStyle/>
            <a:p>
              <a:pPr algn="ctr"/>
              <a:r>
                <a:rPr lang="es-CO" sz="800" dirty="0">
                  <a:solidFill>
                    <a:schemeClr val="bg1"/>
                  </a:solidFill>
                </a:rPr>
                <a:t>Ciberseguridad y </a:t>
              </a:r>
            </a:p>
            <a:p>
              <a:pPr algn="ctr"/>
              <a:r>
                <a:rPr lang="es-CO" sz="800" dirty="0">
                  <a:solidFill>
                    <a:schemeClr val="bg1"/>
                  </a:solidFill>
                </a:rPr>
                <a:t>privacidad de datos</a:t>
              </a:r>
            </a:p>
          </p:txBody>
        </p:sp>
        <p:sp>
          <p:nvSpPr>
            <p:cNvPr id="71" name="TextBox 139">
              <a:extLst>
                <a:ext uri="{FF2B5EF4-FFF2-40B4-BE49-F238E27FC236}">
                  <a16:creationId xmlns:a16="http://schemas.microsoft.com/office/drawing/2014/main" id="{0CEC0354-15B7-4D58-9E61-403F29BD356E}"/>
                </a:ext>
              </a:extLst>
            </p:cNvPr>
            <p:cNvSpPr txBox="1"/>
            <p:nvPr/>
          </p:nvSpPr>
          <p:spPr>
            <a:xfrm>
              <a:off x="9640733" y="1699140"/>
              <a:ext cx="896079" cy="246221"/>
            </a:xfrm>
            <a:prstGeom prst="rect">
              <a:avLst/>
            </a:prstGeom>
            <a:noFill/>
          </p:spPr>
          <p:txBody>
            <a:bodyPr wrap="none" lIns="0" tIns="0" rIns="0" bIns="0" rtlCol="0">
              <a:spAutoFit/>
            </a:bodyPr>
            <a:lstStyle/>
            <a:p>
              <a:pPr algn="ctr"/>
              <a:r>
                <a:rPr lang="es-CO" sz="800" dirty="0">
                  <a:solidFill>
                    <a:schemeClr val="bg1"/>
                  </a:solidFill>
                </a:rPr>
                <a:t>Ciberseguridad y </a:t>
              </a:r>
            </a:p>
            <a:p>
              <a:pPr algn="ctr"/>
              <a:r>
                <a:rPr lang="es-CO" sz="800" dirty="0">
                  <a:solidFill>
                    <a:schemeClr val="bg1"/>
                  </a:solidFill>
                </a:rPr>
                <a:t>privacidad de datos</a:t>
              </a:r>
            </a:p>
          </p:txBody>
        </p:sp>
      </p:grpSp>
      <p:grpSp>
        <p:nvGrpSpPr>
          <p:cNvPr id="72" name="Group 140">
            <a:extLst>
              <a:ext uri="{FF2B5EF4-FFF2-40B4-BE49-F238E27FC236}">
                <a16:creationId xmlns:a16="http://schemas.microsoft.com/office/drawing/2014/main" id="{64C4D300-69F3-4E39-A183-0581061832FD}"/>
              </a:ext>
            </a:extLst>
          </p:cNvPr>
          <p:cNvGrpSpPr/>
          <p:nvPr/>
        </p:nvGrpSpPr>
        <p:grpSpPr>
          <a:xfrm>
            <a:off x="8152909" y="2161965"/>
            <a:ext cx="3052256" cy="360000"/>
            <a:chOff x="7756517" y="2151552"/>
            <a:chExt cx="3052256" cy="360000"/>
          </a:xfrm>
        </p:grpSpPr>
        <p:sp>
          <p:nvSpPr>
            <p:cNvPr id="73" name="Rectangle 141">
              <a:extLst>
                <a:ext uri="{FF2B5EF4-FFF2-40B4-BE49-F238E27FC236}">
                  <a16:creationId xmlns:a16="http://schemas.microsoft.com/office/drawing/2014/main" id="{3AA4B1C5-DC30-425A-BAE3-33BADB4B38AD}"/>
                </a:ext>
              </a:extLst>
            </p:cNvPr>
            <p:cNvSpPr/>
            <p:nvPr/>
          </p:nvSpPr>
          <p:spPr>
            <a:xfrm>
              <a:off x="9368773" y="2151552"/>
              <a:ext cx="1440000" cy="360000"/>
            </a:xfrm>
            <a:prstGeom prst="rect">
              <a:avLst/>
            </a:prstGeom>
            <a:solidFill>
              <a:srgbClr val="1C9BD7"/>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s-CO" dirty="0"/>
            </a:p>
          </p:txBody>
        </p:sp>
        <p:sp>
          <p:nvSpPr>
            <p:cNvPr id="74" name="Rectangle 142">
              <a:extLst>
                <a:ext uri="{FF2B5EF4-FFF2-40B4-BE49-F238E27FC236}">
                  <a16:creationId xmlns:a16="http://schemas.microsoft.com/office/drawing/2014/main" id="{8A31AE6D-BBCE-471C-B016-BCC5FF69412E}"/>
                </a:ext>
              </a:extLst>
            </p:cNvPr>
            <p:cNvSpPr/>
            <p:nvPr/>
          </p:nvSpPr>
          <p:spPr>
            <a:xfrm>
              <a:off x="7756517" y="2151552"/>
              <a:ext cx="1440000" cy="360000"/>
            </a:xfrm>
            <a:prstGeom prst="rect">
              <a:avLst/>
            </a:prstGeom>
            <a:solidFill>
              <a:srgbClr val="1C9BD7"/>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s-CO" dirty="0"/>
            </a:p>
          </p:txBody>
        </p:sp>
        <p:sp>
          <p:nvSpPr>
            <p:cNvPr id="75" name="TextBox 143">
              <a:extLst>
                <a:ext uri="{FF2B5EF4-FFF2-40B4-BE49-F238E27FC236}">
                  <a16:creationId xmlns:a16="http://schemas.microsoft.com/office/drawing/2014/main" id="{448E61B9-8728-4069-B766-E0CAFC5E311F}"/>
                </a:ext>
              </a:extLst>
            </p:cNvPr>
            <p:cNvSpPr txBox="1"/>
            <p:nvPr/>
          </p:nvSpPr>
          <p:spPr>
            <a:xfrm>
              <a:off x="7878599" y="2269996"/>
              <a:ext cx="1195841" cy="123111"/>
            </a:xfrm>
            <a:prstGeom prst="rect">
              <a:avLst/>
            </a:prstGeom>
            <a:noFill/>
          </p:spPr>
          <p:txBody>
            <a:bodyPr wrap="none" lIns="0" tIns="0" rIns="0" bIns="0" rtlCol="0">
              <a:spAutoFit/>
            </a:bodyPr>
            <a:lstStyle/>
            <a:p>
              <a:pPr algn="ctr"/>
              <a:r>
                <a:rPr lang="es-CO" sz="800" dirty="0">
                  <a:solidFill>
                    <a:schemeClr val="bg1"/>
                  </a:solidFill>
                </a:rPr>
                <a:t>Administración y fiduciario</a:t>
              </a:r>
            </a:p>
          </p:txBody>
        </p:sp>
        <p:sp>
          <p:nvSpPr>
            <p:cNvPr id="76" name="TextBox 144">
              <a:extLst>
                <a:ext uri="{FF2B5EF4-FFF2-40B4-BE49-F238E27FC236}">
                  <a16:creationId xmlns:a16="http://schemas.microsoft.com/office/drawing/2014/main" id="{7794FB67-3826-4573-83C6-9D309E004DF9}"/>
                </a:ext>
              </a:extLst>
            </p:cNvPr>
            <p:cNvSpPr txBox="1"/>
            <p:nvPr/>
          </p:nvSpPr>
          <p:spPr>
            <a:xfrm>
              <a:off x="9490851" y="2273599"/>
              <a:ext cx="1195841" cy="123111"/>
            </a:xfrm>
            <a:prstGeom prst="rect">
              <a:avLst/>
            </a:prstGeom>
            <a:noFill/>
          </p:spPr>
          <p:txBody>
            <a:bodyPr wrap="none" lIns="0" tIns="0" rIns="0" bIns="0" rtlCol="0">
              <a:spAutoFit/>
            </a:bodyPr>
            <a:lstStyle/>
            <a:p>
              <a:pPr algn="ctr"/>
              <a:r>
                <a:rPr lang="es-CO" sz="800" dirty="0">
                  <a:solidFill>
                    <a:schemeClr val="bg1"/>
                  </a:solidFill>
                </a:rPr>
                <a:t>Administración y fiduciario</a:t>
              </a:r>
            </a:p>
          </p:txBody>
        </p:sp>
      </p:grpSp>
      <p:grpSp>
        <p:nvGrpSpPr>
          <p:cNvPr id="77" name="Group 145">
            <a:extLst>
              <a:ext uri="{FF2B5EF4-FFF2-40B4-BE49-F238E27FC236}">
                <a16:creationId xmlns:a16="http://schemas.microsoft.com/office/drawing/2014/main" id="{FC0BC732-D2FE-4B0C-AF95-393F34440487}"/>
              </a:ext>
            </a:extLst>
          </p:cNvPr>
          <p:cNvGrpSpPr/>
          <p:nvPr/>
        </p:nvGrpSpPr>
        <p:grpSpPr>
          <a:xfrm>
            <a:off x="8152909" y="2590342"/>
            <a:ext cx="3052256" cy="360000"/>
            <a:chOff x="7756517" y="2653942"/>
            <a:chExt cx="3052256" cy="360000"/>
          </a:xfrm>
        </p:grpSpPr>
        <p:sp>
          <p:nvSpPr>
            <p:cNvPr id="78" name="Rectangle 146">
              <a:extLst>
                <a:ext uri="{FF2B5EF4-FFF2-40B4-BE49-F238E27FC236}">
                  <a16:creationId xmlns:a16="http://schemas.microsoft.com/office/drawing/2014/main" id="{CB35FD7D-6FC2-4025-80E8-EDC236D1D477}"/>
                </a:ext>
              </a:extLst>
            </p:cNvPr>
            <p:cNvSpPr/>
            <p:nvPr/>
          </p:nvSpPr>
          <p:spPr>
            <a:xfrm>
              <a:off x="9368773" y="2653942"/>
              <a:ext cx="1440000" cy="360000"/>
            </a:xfrm>
            <a:prstGeom prst="rect">
              <a:avLst/>
            </a:prstGeom>
            <a:solidFill>
              <a:srgbClr val="13AC4A"/>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s-CO" dirty="0"/>
            </a:p>
          </p:txBody>
        </p:sp>
        <p:sp>
          <p:nvSpPr>
            <p:cNvPr id="79" name="Rectangle 147">
              <a:extLst>
                <a:ext uri="{FF2B5EF4-FFF2-40B4-BE49-F238E27FC236}">
                  <a16:creationId xmlns:a16="http://schemas.microsoft.com/office/drawing/2014/main" id="{7A1134C0-8723-4B9C-AC9C-AE69911938D1}"/>
                </a:ext>
              </a:extLst>
            </p:cNvPr>
            <p:cNvSpPr/>
            <p:nvPr/>
          </p:nvSpPr>
          <p:spPr>
            <a:xfrm>
              <a:off x="7756517" y="2653942"/>
              <a:ext cx="1440000" cy="360000"/>
            </a:xfrm>
            <a:prstGeom prst="rect">
              <a:avLst/>
            </a:prstGeom>
            <a:solidFill>
              <a:srgbClr val="13AC4A"/>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s-CO" dirty="0"/>
            </a:p>
          </p:txBody>
        </p:sp>
        <p:sp>
          <p:nvSpPr>
            <p:cNvPr id="80" name="TextBox 148">
              <a:extLst>
                <a:ext uri="{FF2B5EF4-FFF2-40B4-BE49-F238E27FC236}">
                  <a16:creationId xmlns:a16="http://schemas.microsoft.com/office/drawing/2014/main" id="{827D7E73-ECBA-4530-8792-81CE483A78A4}"/>
                </a:ext>
              </a:extLst>
            </p:cNvPr>
            <p:cNvSpPr txBox="1"/>
            <p:nvPr/>
          </p:nvSpPr>
          <p:spPr>
            <a:xfrm>
              <a:off x="7899435" y="2710831"/>
              <a:ext cx="1154162" cy="246221"/>
            </a:xfrm>
            <a:prstGeom prst="rect">
              <a:avLst/>
            </a:prstGeom>
            <a:noFill/>
          </p:spPr>
          <p:txBody>
            <a:bodyPr wrap="none" lIns="0" tIns="0" rIns="0" bIns="0" rtlCol="0">
              <a:spAutoFit/>
            </a:bodyPr>
            <a:lstStyle/>
            <a:p>
              <a:pPr algn="ctr"/>
              <a:r>
                <a:rPr lang="es-CO" sz="800" dirty="0">
                  <a:solidFill>
                    <a:schemeClr val="bg1"/>
                  </a:solidFill>
                </a:rPr>
                <a:t>Eventos catastróficos de </a:t>
              </a:r>
            </a:p>
            <a:p>
              <a:pPr algn="ctr"/>
              <a:r>
                <a:rPr lang="es-CO" sz="800" dirty="0">
                  <a:solidFill>
                    <a:schemeClr val="bg1"/>
                  </a:solidFill>
                </a:rPr>
                <a:t>la vida personal</a:t>
              </a:r>
            </a:p>
          </p:txBody>
        </p:sp>
        <p:sp>
          <p:nvSpPr>
            <p:cNvPr id="81" name="TextBox 149">
              <a:extLst>
                <a:ext uri="{FF2B5EF4-FFF2-40B4-BE49-F238E27FC236}">
                  <a16:creationId xmlns:a16="http://schemas.microsoft.com/office/drawing/2014/main" id="{815F8F19-CE5D-4282-9E39-80D2C17A07C0}"/>
                </a:ext>
              </a:extLst>
            </p:cNvPr>
            <p:cNvSpPr txBox="1"/>
            <p:nvPr/>
          </p:nvSpPr>
          <p:spPr>
            <a:xfrm>
              <a:off x="9700844" y="2774494"/>
              <a:ext cx="734175" cy="123111"/>
            </a:xfrm>
            <a:prstGeom prst="rect">
              <a:avLst/>
            </a:prstGeom>
            <a:noFill/>
          </p:spPr>
          <p:txBody>
            <a:bodyPr wrap="none" lIns="0" tIns="0" rIns="0" bIns="0" rtlCol="0">
              <a:spAutoFit/>
            </a:bodyPr>
            <a:lstStyle/>
            <a:p>
              <a:pPr algn="ctr"/>
              <a:r>
                <a:rPr lang="es-CO" sz="800" dirty="0">
                  <a:solidFill>
                    <a:schemeClr val="bg1"/>
                  </a:solidFill>
                </a:rPr>
                <a:t>Medio ambiente</a:t>
              </a:r>
            </a:p>
          </p:txBody>
        </p:sp>
      </p:grpSp>
      <p:grpSp>
        <p:nvGrpSpPr>
          <p:cNvPr id="82" name="Group 150">
            <a:extLst>
              <a:ext uri="{FF2B5EF4-FFF2-40B4-BE49-F238E27FC236}">
                <a16:creationId xmlns:a16="http://schemas.microsoft.com/office/drawing/2014/main" id="{0C17D064-0F8A-49F6-8426-7640C73C6121}"/>
              </a:ext>
            </a:extLst>
          </p:cNvPr>
          <p:cNvGrpSpPr/>
          <p:nvPr/>
        </p:nvGrpSpPr>
        <p:grpSpPr>
          <a:xfrm>
            <a:off x="8152909" y="3014135"/>
            <a:ext cx="3052256" cy="360000"/>
            <a:chOff x="7756517" y="3156332"/>
            <a:chExt cx="3052256" cy="360000"/>
          </a:xfrm>
        </p:grpSpPr>
        <p:sp>
          <p:nvSpPr>
            <p:cNvPr id="83" name="Rectangle 151">
              <a:extLst>
                <a:ext uri="{FF2B5EF4-FFF2-40B4-BE49-F238E27FC236}">
                  <a16:creationId xmlns:a16="http://schemas.microsoft.com/office/drawing/2014/main" id="{D8AB340F-0FC8-47FC-A722-8014591DE11A}"/>
                </a:ext>
              </a:extLst>
            </p:cNvPr>
            <p:cNvSpPr/>
            <p:nvPr/>
          </p:nvSpPr>
          <p:spPr>
            <a:xfrm>
              <a:off x="9368773" y="3156332"/>
              <a:ext cx="1440000" cy="360000"/>
            </a:xfrm>
            <a:prstGeom prst="rect">
              <a:avLst/>
            </a:prstGeom>
            <a:solidFill>
              <a:srgbClr val="043273"/>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s-CO" dirty="0"/>
            </a:p>
          </p:txBody>
        </p:sp>
        <p:sp>
          <p:nvSpPr>
            <p:cNvPr id="84" name="Rectangle 152">
              <a:extLst>
                <a:ext uri="{FF2B5EF4-FFF2-40B4-BE49-F238E27FC236}">
                  <a16:creationId xmlns:a16="http://schemas.microsoft.com/office/drawing/2014/main" id="{9173922B-A3E9-4E90-9368-D4DE237DE408}"/>
                </a:ext>
              </a:extLst>
            </p:cNvPr>
            <p:cNvSpPr/>
            <p:nvPr/>
          </p:nvSpPr>
          <p:spPr>
            <a:xfrm>
              <a:off x="7756517" y="3156332"/>
              <a:ext cx="1440000" cy="360000"/>
            </a:xfrm>
            <a:prstGeom prst="rect">
              <a:avLst/>
            </a:prstGeom>
            <a:solidFill>
              <a:srgbClr val="043273"/>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s-CO" dirty="0"/>
            </a:p>
          </p:txBody>
        </p:sp>
        <p:sp>
          <p:nvSpPr>
            <p:cNvPr id="85" name="TextBox 153">
              <a:extLst>
                <a:ext uri="{FF2B5EF4-FFF2-40B4-BE49-F238E27FC236}">
                  <a16:creationId xmlns:a16="http://schemas.microsoft.com/office/drawing/2014/main" id="{E6F728CC-F3AB-4CCE-9F75-43021C846B9B}"/>
                </a:ext>
              </a:extLst>
            </p:cNvPr>
            <p:cNvSpPr txBox="1"/>
            <p:nvPr/>
          </p:nvSpPr>
          <p:spPr>
            <a:xfrm>
              <a:off x="7773605" y="3213221"/>
              <a:ext cx="1405833" cy="246221"/>
            </a:xfrm>
            <a:prstGeom prst="rect">
              <a:avLst/>
            </a:prstGeom>
            <a:noFill/>
          </p:spPr>
          <p:txBody>
            <a:bodyPr wrap="none" lIns="0" tIns="0" rIns="0" bIns="0" rtlCol="0">
              <a:spAutoFit/>
            </a:bodyPr>
            <a:lstStyle/>
            <a:p>
              <a:pPr algn="ctr"/>
              <a:r>
                <a:rPr lang="es-CO" sz="800" dirty="0">
                  <a:solidFill>
                    <a:schemeClr val="bg1"/>
                  </a:solidFill>
                </a:rPr>
                <a:t>Pandemia y otras condiciones </a:t>
              </a:r>
            </a:p>
            <a:p>
              <a:pPr algn="ctr"/>
              <a:r>
                <a:rPr lang="es-CO" sz="800" dirty="0">
                  <a:solidFill>
                    <a:schemeClr val="bg1"/>
                  </a:solidFill>
                </a:rPr>
                <a:t>de salud transmisibles</a:t>
              </a:r>
            </a:p>
          </p:txBody>
        </p:sp>
        <p:sp>
          <p:nvSpPr>
            <p:cNvPr id="86" name="TextBox 154">
              <a:extLst>
                <a:ext uri="{FF2B5EF4-FFF2-40B4-BE49-F238E27FC236}">
                  <a16:creationId xmlns:a16="http://schemas.microsoft.com/office/drawing/2014/main" id="{B73EF81B-A8AB-4A83-A449-3EA832693426}"/>
                </a:ext>
              </a:extLst>
            </p:cNvPr>
            <p:cNvSpPr txBox="1"/>
            <p:nvPr/>
          </p:nvSpPr>
          <p:spPr>
            <a:xfrm>
              <a:off x="9402940" y="3213844"/>
              <a:ext cx="1405833" cy="246221"/>
            </a:xfrm>
            <a:prstGeom prst="rect">
              <a:avLst/>
            </a:prstGeom>
            <a:noFill/>
          </p:spPr>
          <p:txBody>
            <a:bodyPr wrap="none" lIns="0" tIns="0" rIns="0" bIns="0" rtlCol="0">
              <a:spAutoFit/>
            </a:bodyPr>
            <a:lstStyle/>
            <a:p>
              <a:pPr algn="ctr"/>
              <a:r>
                <a:rPr lang="es-CO" sz="800" dirty="0">
                  <a:solidFill>
                    <a:schemeClr val="bg1"/>
                  </a:solidFill>
                </a:rPr>
                <a:t>Pandemia y otras condiciones </a:t>
              </a:r>
            </a:p>
            <a:p>
              <a:pPr algn="ctr"/>
              <a:r>
                <a:rPr lang="es-CO" sz="800" dirty="0">
                  <a:solidFill>
                    <a:schemeClr val="bg1"/>
                  </a:solidFill>
                </a:rPr>
                <a:t>de salud transmisibles</a:t>
              </a:r>
            </a:p>
          </p:txBody>
        </p:sp>
      </p:grpSp>
      <p:grpSp>
        <p:nvGrpSpPr>
          <p:cNvPr id="87" name="Group 155">
            <a:extLst>
              <a:ext uri="{FF2B5EF4-FFF2-40B4-BE49-F238E27FC236}">
                <a16:creationId xmlns:a16="http://schemas.microsoft.com/office/drawing/2014/main" id="{B64333A6-3D71-4209-A6C8-A57BA6C804E6}"/>
              </a:ext>
            </a:extLst>
          </p:cNvPr>
          <p:cNvGrpSpPr/>
          <p:nvPr/>
        </p:nvGrpSpPr>
        <p:grpSpPr>
          <a:xfrm>
            <a:off x="8143542" y="3445533"/>
            <a:ext cx="3052256" cy="360000"/>
            <a:chOff x="7756517" y="3658722"/>
            <a:chExt cx="3052256" cy="360000"/>
          </a:xfrm>
        </p:grpSpPr>
        <p:sp>
          <p:nvSpPr>
            <p:cNvPr id="88" name="Rectangle 156">
              <a:extLst>
                <a:ext uri="{FF2B5EF4-FFF2-40B4-BE49-F238E27FC236}">
                  <a16:creationId xmlns:a16="http://schemas.microsoft.com/office/drawing/2014/main" id="{258B35B7-8ADF-4CEE-962F-5B6C88965D21}"/>
                </a:ext>
              </a:extLst>
            </p:cNvPr>
            <p:cNvSpPr/>
            <p:nvPr/>
          </p:nvSpPr>
          <p:spPr>
            <a:xfrm>
              <a:off x="7756517" y="3658722"/>
              <a:ext cx="1440000" cy="360000"/>
            </a:xfrm>
            <a:prstGeom prst="rect">
              <a:avLst/>
            </a:prstGeom>
            <a:solidFill>
              <a:srgbClr val="7F4C9E"/>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s-CO" dirty="0"/>
            </a:p>
          </p:txBody>
        </p:sp>
        <p:sp>
          <p:nvSpPr>
            <p:cNvPr id="89" name="Rectangle 157">
              <a:extLst>
                <a:ext uri="{FF2B5EF4-FFF2-40B4-BE49-F238E27FC236}">
                  <a16:creationId xmlns:a16="http://schemas.microsoft.com/office/drawing/2014/main" id="{D2EA5354-14FC-4EFD-AB47-FB56E1691864}"/>
                </a:ext>
              </a:extLst>
            </p:cNvPr>
            <p:cNvSpPr/>
            <p:nvPr/>
          </p:nvSpPr>
          <p:spPr>
            <a:xfrm>
              <a:off x="9368773" y="3658722"/>
              <a:ext cx="1440000" cy="360000"/>
            </a:xfrm>
            <a:prstGeom prst="rect">
              <a:avLst/>
            </a:prstGeom>
            <a:solidFill>
              <a:srgbClr val="13AC4A"/>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s-CO" dirty="0"/>
            </a:p>
          </p:txBody>
        </p:sp>
        <p:sp>
          <p:nvSpPr>
            <p:cNvPr id="90" name="TextBox 158">
              <a:extLst>
                <a:ext uri="{FF2B5EF4-FFF2-40B4-BE49-F238E27FC236}">
                  <a16:creationId xmlns:a16="http://schemas.microsoft.com/office/drawing/2014/main" id="{543D6A4F-F7E9-4B9F-935B-7C07DE394469}"/>
                </a:ext>
              </a:extLst>
            </p:cNvPr>
            <p:cNvSpPr txBox="1"/>
            <p:nvPr/>
          </p:nvSpPr>
          <p:spPr>
            <a:xfrm>
              <a:off x="7936462" y="3715611"/>
              <a:ext cx="1032334" cy="246221"/>
            </a:xfrm>
            <a:prstGeom prst="rect">
              <a:avLst/>
            </a:prstGeom>
            <a:noFill/>
          </p:spPr>
          <p:txBody>
            <a:bodyPr wrap="none" lIns="0" tIns="0" rIns="0" bIns="0" rtlCol="0">
              <a:spAutoFit/>
            </a:bodyPr>
            <a:lstStyle/>
            <a:p>
              <a:pPr algn="ctr"/>
              <a:r>
                <a:rPr lang="es-CO" sz="800" dirty="0">
                  <a:solidFill>
                    <a:schemeClr val="bg1"/>
                  </a:solidFill>
                </a:rPr>
                <a:t>Naturaleza cambiante </a:t>
              </a:r>
            </a:p>
            <a:p>
              <a:pPr algn="ctr"/>
              <a:r>
                <a:rPr lang="es-CO" sz="800" dirty="0">
                  <a:solidFill>
                    <a:schemeClr val="bg1"/>
                  </a:solidFill>
                </a:rPr>
                <a:t>del trabajo</a:t>
              </a:r>
            </a:p>
          </p:txBody>
        </p:sp>
        <p:sp>
          <p:nvSpPr>
            <p:cNvPr id="91" name="TextBox 159">
              <a:extLst>
                <a:ext uri="{FF2B5EF4-FFF2-40B4-BE49-F238E27FC236}">
                  <a16:creationId xmlns:a16="http://schemas.microsoft.com/office/drawing/2014/main" id="{DBB97BA2-AE48-4243-87C9-E4CF6391FD30}"/>
                </a:ext>
              </a:extLst>
            </p:cNvPr>
            <p:cNvSpPr txBox="1"/>
            <p:nvPr/>
          </p:nvSpPr>
          <p:spPr>
            <a:xfrm>
              <a:off x="9532530" y="3715611"/>
              <a:ext cx="1154162" cy="246221"/>
            </a:xfrm>
            <a:prstGeom prst="rect">
              <a:avLst/>
            </a:prstGeom>
            <a:noFill/>
          </p:spPr>
          <p:txBody>
            <a:bodyPr wrap="none" lIns="0" tIns="0" rIns="0" bIns="0" rtlCol="0">
              <a:spAutoFit/>
            </a:bodyPr>
            <a:lstStyle/>
            <a:p>
              <a:pPr algn="ctr"/>
              <a:r>
                <a:rPr lang="es-CO" sz="800" dirty="0">
                  <a:solidFill>
                    <a:schemeClr val="bg1"/>
                  </a:solidFill>
                </a:rPr>
                <a:t>Eventos catastróficos de </a:t>
              </a:r>
            </a:p>
            <a:p>
              <a:pPr algn="ctr"/>
              <a:r>
                <a:rPr lang="es-CO" sz="800" dirty="0">
                  <a:solidFill>
                    <a:schemeClr val="bg1"/>
                  </a:solidFill>
                </a:rPr>
                <a:t>la vida personal</a:t>
              </a:r>
            </a:p>
          </p:txBody>
        </p:sp>
      </p:grpSp>
      <p:grpSp>
        <p:nvGrpSpPr>
          <p:cNvPr id="92" name="Group 160">
            <a:extLst>
              <a:ext uri="{FF2B5EF4-FFF2-40B4-BE49-F238E27FC236}">
                <a16:creationId xmlns:a16="http://schemas.microsoft.com/office/drawing/2014/main" id="{B3BD51AB-1D38-4E3F-8C65-CF4CA40E0EE5}"/>
              </a:ext>
            </a:extLst>
          </p:cNvPr>
          <p:cNvGrpSpPr/>
          <p:nvPr/>
        </p:nvGrpSpPr>
        <p:grpSpPr>
          <a:xfrm>
            <a:off x="8134175" y="3880813"/>
            <a:ext cx="3061623" cy="360000"/>
            <a:chOff x="7747150" y="4161112"/>
            <a:chExt cx="3061623" cy="360000"/>
          </a:xfrm>
        </p:grpSpPr>
        <p:sp>
          <p:nvSpPr>
            <p:cNvPr id="93" name="Rectangle 161">
              <a:extLst>
                <a:ext uri="{FF2B5EF4-FFF2-40B4-BE49-F238E27FC236}">
                  <a16:creationId xmlns:a16="http://schemas.microsoft.com/office/drawing/2014/main" id="{95F97BAC-810C-421D-92D3-E9605E01F562}"/>
                </a:ext>
              </a:extLst>
            </p:cNvPr>
            <p:cNvSpPr/>
            <p:nvPr/>
          </p:nvSpPr>
          <p:spPr>
            <a:xfrm>
              <a:off x="7756517" y="4161112"/>
              <a:ext cx="1440000" cy="360000"/>
            </a:xfrm>
            <a:prstGeom prst="rect">
              <a:avLst/>
            </a:prstGeom>
            <a:solidFill>
              <a:srgbClr val="1C9BD7"/>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s-CO" dirty="0"/>
            </a:p>
          </p:txBody>
        </p:sp>
        <p:sp>
          <p:nvSpPr>
            <p:cNvPr id="94" name="Rectangle 162">
              <a:extLst>
                <a:ext uri="{FF2B5EF4-FFF2-40B4-BE49-F238E27FC236}">
                  <a16:creationId xmlns:a16="http://schemas.microsoft.com/office/drawing/2014/main" id="{01A220D3-2785-445C-B8E8-281BA3D91D91}"/>
                </a:ext>
              </a:extLst>
            </p:cNvPr>
            <p:cNvSpPr/>
            <p:nvPr/>
          </p:nvSpPr>
          <p:spPr>
            <a:xfrm>
              <a:off x="9368773" y="4161112"/>
              <a:ext cx="1440000" cy="360000"/>
            </a:xfrm>
            <a:prstGeom prst="rect">
              <a:avLst/>
            </a:prstGeom>
            <a:solidFill>
              <a:srgbClr val="7F4C9E"/>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s-CO" dirty="0"/>
            </a:p>
          </p:txBody>
        </p:sp>
        <p:sp>
          <p:nvSpPr>
            <p:cNvPr id="95" name="TextBox 163">
              <a:extLst>
                <a:ext uri="{FF2B5EF4-FFF2-40B4-BE49-F238E27FC236}">
                  <a16:creationId xmlns:a16="http://schemas.microsoft.com/office/drawing/2014/main" id="{A6FB85DC-E135-4220-9613-75E36E625839}"/>
                </a:ext>
              </a:extLst>
            </p:cNvPr>
            <p:cNvSpPr txBox="1"/>
            <p:nvPr/>
          </p:nvSpPr>
          <p:spPr>
            <a:xfrm>
              <a:off x="9572604" y="4208288"/>
              <a:ext cx="1032334" cy="246221"/>
            </a:xfrm>
            <a:prstGeom prst="rect">
              <a:avLst/>
            </a:prstGeom>
            <a:noFill/>
          </p:spPr>
          <p:txBody>
            <a:bodyPr wrap="none" lIns="0" tIns="0" rIns="0" bIns="0" rtlCol="0">
              <a:spAutoFit/>
            </a:bodyPr>
            <a:lstStyle/>
            <a:p>
              <a:pPr algn="ctr"/>
              <a:r>
                <a:rPr lang="es-CO" sz="800" dirty="0">
                  <a:solidFill>
                    <a:schemeClr val="bg1"/>
                  </a:solidFill>
                </a:rPr>
                <a:t>Naturaleza cambiante </a:t>
              </a:r>
            </a:p>
            <a:p>
              <a:pPr algn="ctr"/>
              <a:r>
                <a:rPr lang="es-CO" sz="800" dirty="0">
                  <a:solidFill>
                    <a:schemeClr val="bg1"/>
                  </a:solidFill>
                </a:rPr>
                <a:t>del trabajo</a:t>
              </a:r>
            </a:p>
          </p:txBody>
        </p:sp>
        <p:sp>
          <p:nvSpPr>
            <p:cNvPr id="96" name="TextBox 164">
              <a:extLst>
                <a:ext uri="{FF2B5EF4-FFF2-40B4-BE49-F238E27FC236}">
                  <a16:creationId xmlns:a16="http://schemas.microsoft.com/office/drawing/2014/main" id="{123C4442-5A92-4E96-9841-E1EA963E990E}"/>
                </a:ext>
              </a:extLst>
            </p:cNvPr>
            <p:cNvSpPr txBox="1"/>
            <p:nvPr/>
          </p:nvSpPr>
          <p:spPr>
            <a:xfrm>
              <a:off x="7747150" y="4161112"/>
              <a:ext cx="1458733" cy="346249"/>
            </a:xfrm>
            <a:prstGeom prst="rect">
              <a:avLst/>
            </a:prstGeom>
            <a:noFill/>
          </p:spPr>
          <p:txBody>
            <a:bodyPr wrap="none" lIns="0" tIns="0" rIns="0" bIns="0" rtlCol="0">
              <a:spAutoFit/>
            </a:bodyPr>
            <a:lstStyle/>
            <a:p>
              <a:pPr algn="ctr"/>
              <a:r>
                <a:rPr lang="es-CO" sz="750" dirty="0">
                  <a:solidFill>
                    <a:schemeClr val="bg1"/>
                  </a:solidFill>
                </a:rPr>
                <a:t>Costo creciente de los beneficios  </a:t>
              </a:r>
            </a:p>
            <a:p>
              <a:pPr algn="ctr"/>
              <a:r>
                <a:rPr lang="es-CO" sz="750" dirty="0">
                  <a:solidFill>
                    <a:schemeClr val="bg1"/>
                  </a:solidFill>
                </a:rPr>
                <a:t>para la salud, la protección </a:t>
              </a:r>
            </a:p>
            <a:p>
              <a:pPr algn="ctr"/>
              <a:r>
                <a:rPr lang="es-CO" sz="750" dirty="0">
                  <a:solidFill>
                    <a:schemeClr val="bg1"/>
                  </a:solidFill>
                </a:rPr>
                <a:t>contra el riesgo y el bienestar</a:t>
              </a:r>
            </a:p>
          </p:txBody>
        </p:sp>
      </p:grpSp>
      <p:grpSp>
        <p:nvGrpSpPr>
          <p:cNvPr id="97" name="Group 165">
            <a:extLst>
              <a:ext uri="{FF2B5EF4-FFF2-40B4-BE49-F238E27FC236}">
                <a16:creationId xmlns:a16="http://schemas.microsoft.com/office/drawing/2014/main" id="{9F7B29A5-8054-44F7-9719-55C44A318AA2}"/>
              </a:ext>
            </a:extLst>
          </p:cNvPr>
          <p:cNvGrpSpPr/>
          <p:nvPr/>
        </p:nvGrpSpPr>
        <p:grpSpPr>
          <a:xfrm>
            <a:off x="8140531" y="4364375"/>
            <a:ext cx="3064634" cy="361718"/>
            <a:chOff x="7756517" y="4663498"/>
            <a:chExt cx="3064634" cy="361718"/>
          </a:xfrm>
        </p:grpSpPr>
        <p:sp>
          <p:nvSpPr>
            <p:cNvPr id="98" name="Rectangle 166">
              <a:extLst>
                <a:ext uri="{FF2B5EF4-FFF2-40B4-BE49-F238E27FC236}">
                  <a16:creationId xmlns:a16="http://schemas.microsoft.com/office/drawing/2014/main" id="{0A7EE163-2AD9-4A24-BB08-DD4D049DD56E}"/>
                </a:ext>
              </a:extLst>
            </p:cNvPr>
            <p:cNvSpPr/>
            <p:nvPr/>
          </p:nvSpPr>
          <p:spPr>
            <a:xfrm>
              <a:off x="9368773" y="4663502"/>
              <a:ext cx="1440000" cy="360000"/>
            </a:xfrm>
            <a:prstGeom prst="rect">
              <a:avLst/>
            </a:prstGeom>
            <a:solidFill>
              <a:srgbClr val="1C9BD7"/>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s-CO" dirty="0"/>
            </a:p>
          </p:txBody>
        </p:sp>
        <p:sp>
          <p:nvSpPr>
            <p:cNvPr id="99" name="Rectangle 167">
              <a:extLst>
                <a:ext uri="{FF2B5EF4-FFF2-40B4-BE49-F238E27FC236}">
                  <a16:creationId xmlns:a16="http://schemas.microsoft.com/office/drawing/2014/main" id="{FEBC1837-756C-41F1-AAFF-3EB271204410}"/>
                </a:ext>
              </a:extLst>
            </p:cNvPr>
            <p:cNvSpPr/>
            <p:nvPr/>
          </p:nvSpPr>
          <p:spPr>
            <a:xfrm>
              <a:off x="7756517" y="4663502"/>
              <a:ext cx="1440000" cy="360000"/>
            </a:xfrm>
            <a:prstGeom prst="rect">
              <a:avLst/>
            </a:prstGeom>
            <a:solidFill>
              <a:srgbClr val="1C9BD7"/>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s-CO" dirty="0"/>
            </a:p>
          </p:txBody>
        </p:sp>
        <p:sp>
          <p:nvSpPr>
            <p:cNvPr id="100" name="TextBox 168">
              <a:extLst>
                <a:ext uri="{FF2B5EF4-FFF2-40B4-BE49-F238E27FC236}">
                  <a16:creationId xmlns:a16="http://schemas.microsoft.com/office/drawing/2014/main" id="{5789797F-5B8A-4D59-92C6-96EB6DFAF0E7}"/>
                </a:ext>
              </a:extLst>
            </p:cNvPr>
            <p:cNvSpPr txBox="1"/>
            <p:nvPr/>
          </p:nvSpPr>
          <p:spPr>
            <a:xfrm>
              <a:off x="9362418" y="4678967"/>
              <a:ext cx="1458733" cy="346249"/>
            </a:xfrm>
            <a:prstGeom prst="rect">
              <a:avLst/>
            </a:prstGeom>
            <a:noFill/>
          </p:spPr>
          <p:txBody>
            <a:bodyPr wrap="none" lIns="0" tIns="0" rIns="0" bIns="0" rtlCol="0">
              <a:spAutoFit/>
            </a:bodyPr>
            <a:lstStyle/>
            <a:p>
              <a:pPr algn="ctr"/>
              <a:r>
                <a:rPr lang="es-CO" sz="750" dirty="0">
                  <a:solidFill>
                    <a:schemeClr val="bg1"/>
                  </a:solidFill>
                </a:rPr>
                <a:t>Costo creciente de los beneficios  </a:t>
              </a:r>
            </a:p>
            <a:p>
              <a:pPr algn="ctr"/>
              <a:r>
                <a:rPr lang="es-CO" sz="750" dirty="0">
                  <a:solidFill>
                    <a:schemeClr val="bg1"/>
                  </a:solidFill>
                </a:rPr>
                <a:t>para la salud, la protección </a:t>
              </a:r>
            </a:p>
            <a:p>
              <a:pPr algn="ctr"/>
              <a:r>
                <a:rPr lang="es-CO" sz="750" dirty="0">
                  <a:solidFill>
                    <a:schemeClr val="bg1"/>
                  </a:solidFill>
                </a:rPr>
                <a:t>contra el riesgo y el bienestar</a:t>
              </a:r>
            </a:p>
          </p:txBody>
        </p:sp>
        <p:sp>
          <p:nvSpPr>
            <p:cNvPr id="101" name="TextBox 169">
              <a:extLst>
                <a:ext uri="{FF2B5EF4-FFF2-40B4-BE49-F238E27FC236}">
                  <a16:creationId xmlns:a16="http://schemas.microsoft.com/office/drawing/2014/main" id="{D8F049E4-497D-473E-B7CF-6FBAFE5029B4}"/>
                </a:ext>
              </a:extLst>
            </p:cNvPr>
            <p:cNvSpPr txBox="1"/>
            <p:nvPr/>
          </p:nvSpPr>
          <p:spPr>
            <a:xfrm>
              <a:off x="7816893" y="4663498"/>
              <a:ext cx="1372171" cy="346249"/>
            </a:xfrm>
            <a:prstGeom prst="rect">
              <a:avLst/>
            </a:prstGeom>
            <a:noFill/>
          </p:spPr>
          <p:txBody>
            <a:bodyPr wrap="none" lIns="0" tIns="0" rIns="0" bIns="0" rtlCol="0">
              <a:spAutoFit/>
            </a:bodyPr>
            <a:lstStyle/>
            <a:p>
              <a:pPr algn="ctr"/>
              <a:r>
                <a:rPr lang="es-CO" sz="750" dirty="0">
                  <a:solidFill>
                    <a:schemeClr val="bg1"/>
                  </a:solidFill>
                </a:rPr>
                <a:t>Toma de decisiones y rendición </a:t>
              </a:r>
            </a:p>
            <a:p>
              <a:pPr algn="ctr"/>
              <a:r>
                <a:rPr lang="es-CO" sz="750" dirty="0">
                  <a:solidFill>
                    <a:schemeClr val="bg1"/>
                  </a:solidFill>
                </a:rPr>
                <a:t>de cuentas sobre beneficios, </a:t>
              </a:r>
            </a:p>
            <a:p>
              <a:pPr algn="ctr"/>
              <a:r>
                <a:rPr lang="es-CO" sz="750" dirty="0">
                  <a:solidFill>
                    <a:schemeClr val="bg1"/>
                  </a:solidFill>
                </a:rPr>
                <a:t>políticas y recompensas</a:t>
              </a:r>
            </a:p>
          </p:txBody>
        </p:sp>
      </p:grpSp>
      <p:grpSp>
        <p:nvGrpSpPr>
          <p:cNvPr id="102" name="Group 170">
            <a:extLst>
              <a:ext uri="{FF2B5EF4-FFF2-40B4-BE49-F238E27FC236}">
                <a16:creationId xmlns:a16="http://schemas.microsoft.com/office/drawing/2014/main" id="{100CB114-A59F-4216-925C-0C1F102D01DC}"/>
              </a:ext>
            </a:extLst>
          </p:cNvPr>
          <p:cNvGrpSpPr/>
          <p:nvPr/>
        </p:nvGrpSpPr>
        <p:grpSpPr>
          <a:xfrm>
            <a:off x="8152909" y="4800833"/>
            <a:ext cx="3052256" cy="360000"/>
            <a:chOff x="7756517" y="5165892"/>
            <a:chExt cx="3052256" cy="360000"/>
          </a:xfrm>
        </p:grpSpPr>
        <p:sp>
          <p:nvSpPr>
            <p:cNvPr id="103" name="Rectangle 171">
              <a:extLst>
                <a:ext uri="{FF2B5EF4-FFF2-40B4-BE49-F238E27FC236}">
                  <a16:creationId xmlns:a16="http://schemas.microsoft.com/office/drawing/2014/main" id="{5F7A6502-3771-4641-B554-58F8629EC86C}"/>
                </a:ext>
              </a:extLst>
            </p:cNvPr>
            <p:cNvSpPr/>
            <p:nvPr/>
          </p:nvSpPr>
          <p:spPr>
            <a:xfrm>
              <a:off x="7756517" y="5165892"/>
              <a:ext cx="1440000" cy="360000"/>
            </a:xfrm>
            <a:prstGeom prst="rect">
              <a:avLst/>
            </a:prstGeom>
            <a:solidFill>
              <a:srgbClr val="13AC4A"/>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s-CO" dirty="0"/>
            </a:p>
          </p:txBody>
        </p:sp>
        <p:sp>
          <p:nvSpPr>
            <p:cNvPr id="104" name="Rectangle 172">
              <a:extLst>
                <a:ext uri="{FF2B5EF4-FFF2-40B4-BE49-F238E27FC236}">
                  <a16:creationId xmlns:a16="http://schemas.microsoft.com/office/drawing/2014/main" id="{9565A537-C477-4997-A373-D053A6BCA3A8}"/>
                </a:ext>
              </a:extLst>
            </p:cNvPr>
            <p:cNvSpPr/>
            <p:nvPr/>
          </p:nvSpPr>
          <p:spPr>
            <a:xfrm>
              <a:off x="9368773" y="5165892"/>
              <a:ext cx="1440000" cy="360000"/>
            </a:xfrm>
            <a:prstGeom prst="rect">
              <a:avLst/>
            </a:prstGeom>
            <a:solidFill>
              <a:srgbClr val="13AC4A"/>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s-CO" dirty="0"/>
            </a:p>
          </p:txBody>
        </p:sp>
        <p:sp>
          <p:nvSpPr>
            <p:cNvPr id="105" name="TextBox 173">
              <a:extLst>
                <a:ext uri="{FF2B5EF4-FFF2-40B4-BE49-F238E27FC236}">
                  <a16:creationId xmlns:a16="http://schemas.microsoft.com/office/drawing/2014/main" id="{EF44DDD8-FF77-48D1-B550-02DF1833024E}"/>
                </a:ext>
              </a:extLst>
            </p:cNvPr>
            <p:cNvSpPr txBox="1"/>
            <p:nvPr/>
          </p:nvSpPr>
          <p:spPr>
            <a:xfrm>
              <a:off x="8109428" y="5291210"/>
              <a:ext cx="734175" cy="123111"/>
            </a:xfrm>
            <a:prstGeom prst="rect">
              <a:avLst/>
            </a:prstGeom>
            <a:noFill/>
          </p:spPr>
          <p:txBody>
            <a:bodyPr wrap="none" lIns="0" tIns="0" rIns="0" bIns="0" rtlCol="0">
              <a:spAutoFit/>
            </a:bodyPr>
            <a:lstStyle/>
            <a:p>
              <a:pPr algn="ctr"/>
              <a:r>
                <a:rPr lang="es-CO" sz="800" dirty="0">
                  <a:solidFill>
                    <a:schemeClr val="bg1"/>
                  </a:solidFill>
                </a:rPr>
                <a:t>Medio ambiente</a:t>
              </a:r>
            </a:p>
          </p:txBody>
        </p:sp>
        <p:sp>
          <p:nvSpPr>
            <p:cNvPr id="106" name="TextBox 174">
              <a:extLst>
                <a:ext uri="{FF2B5EF4-FFF2-40B4-BE49-F238E27FC236}">
                  <a16:creationId xmlns:a16="http://schemas.microsoft.com/office/drawing/2014/main" id="{61603159-8A7A-4093-BDF3-57A34CC5F5CE}"/>
                </a:ext>
              </a:extLst>
            </p:cNvPr>
            <p:cNvSpPr txBox="1"/>
            <p:nvPr/>
          </p:nvSpPr>
          <p:spPr>
            <a:xfrm>
              <a:off x="9510892" y="5237624"/>
              <a:ext cx="1114087" cy="246221"/>
            </a:xfrm>
            <a:prstGeom prst="rect">
              <a:avLst/>
            </a:prstGeom>
            <a:noFill/>
          </p:spPr>
          <p:txBody>
            <a:bodyPr wrap="none" lIns="0" tIns="0" rIns="0" bIns="0" rtlCol="0">
              <a:spAutoFit/>
            </a:bodyPr>
            <a:lstStyle/>
            <a:p>
              <a:pPr algn="ctr"/>
              <a:r>
                <a:rPr lang="es-CO" sz="800" dirty="0">
                  <a:solidFill>
                    <a:schemeClr val="bg1"/>
                  </a:solidFill>
                </a:rPr>
                <a:t>Condiciones de trabajo  </a:t>
              </a:r>
            </a:p>
            <a:p>
              <a:pPr algn="ctr"/>
              <a:r>
                <a:rPr lang="es-CO" sz="800" dirty="0">
                  <a:solidFill>
                    <a:schemeClr val="bg1"/>
                  </a:solidFill>
                </a:rPr>
                <a:t>y relaciones laborales</a:t>
              </a:r>
            </a:p>
          </p:txBody>
        </p:sp>
      </p:grpSp>
      <p:grpSp>
        <p:nvGrpSpPr>
          <p:cNvPr id="107" name="Group 175">
            <a:extLst>
              <a:ext uri="{FF2B5EF4-FFF2-40B4-BE49-F238E27FC236}">
                <a16:creationId xmlns:a16="http://schemas.microsoft.com/office/drawing/2014/main" id="{AB812E7A-A177-4301-9A9F-1FE44CBEDBE4}"/>
              </a:ext>
            </a:extLst>
          </p:cNvPr>
          <p:cNvGrpSpPr/>
          <p:nvPr/>
        </p:nvGrpSpPr>
        <p:grpSpPr>
          <a:xfrm>
            <a:off x="8152909" y="5240908"/>
            <a:ext cx="3052256" cy="360000"/>
            <a:chOff x="7756517" y="5668282"/>
            <a:chExt cx="3052256" cy="360000"/>
          </a:xfrm>
        </p:grpSpPr>
        <p:sp>
          <p:nvSpPr>
            <p:cNvPr id="108" name="Rectangle 176">
              <a:extLst>
                <a:ext uri="{FF2B5EF4-FFF2-40B4-BE49-F238E27FC236}">
                  <a16:creationId xmlns:a16="http://schemas.microsoft.com/office/drawing/2014/main" id="{3E8969D7-541D-4785-B5A5-B7789EEB19B7}"/>
                </a:ext>
              </a:extLst>
            </p:cNvPr>
            <p:cNvSpPr/>
            <p:nvPr/>
          </p:nvSpPr>
          <p:spPr>
            <a:xfrm>
              <a:off x="7756517" y="5668282"/>
              <a:ext cx="1440000" cy="360000"/>
            </a:xfrm>
            <a:prstGeom prst="rect">
              <a:avLst/>
            </a:prstGeom>
            <a:solidFill>
              <a:srgbClr val="EE398C"/>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s-CO" dirty="0"/>
            </a:p>
          </p:txBody>
        </p:sp>
        <p:sp>
          <p:nvSpPr>
            <p:cNvPr id="109" name="Rectangle 177">
              <a:extLst>
                <a:ext uri="{FF2B5EF4-FFF2-40B4-BE49-F238E27FC236}">
                  <a16:creationId xmlns:a16="http://schemas.microsoft.com/office/drawing/2014/main" id="{FDE2BB54-F45A-4A72-91B8-C983058E223C}"/>
                </a:ext>
              </a:extLst>
            </p:cNvPr>
            <p:cNvSpPr/>
            <p:nvPr/>
          </p:nvSpPr>
          <p:spPr>
            <a:xfrm>
              <a:off x="9368773" y="5668282"/>
              <a:ext cx="1440000" cy="360000"/>
            </a:xfrm>
            <a:prstGeom prst="rect">
              <a:avLst/>
            </a:prstGeom>
            <a:solidFill>
              <a:srgbClr val="1C9BD7"/>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s-CO" dirty="0"/>
            </a:p>
          </p:txBody>
        </p:sp>
        <p:sp>
          <p:nvSpPr>
            <p:cNvPr id="110" name="TextBox 178">
              <a:extLst>
                <a:ext uri="{FF2B5EF4-FFF2-40B4-BE49-F238E27FC236}">
                  <a16:creationId xmlns:a16="http://schemas.microsoft.com/office/drawing/2014/main" id="{22A639CC-41FB-4925-8D0D-94D401C12B57}"/>
                </a:ext>
              </a:extLst>
            </p:cNvPr>
            <p:cNvSpPr txBox="1"/>
            <p:nvPr/>
          </p:nvSpPr>
          <p:spPr>
            <a:xfrm>
              <a:off x="7958904" y="5725171"/>
              <a:ext cx="1009892" cy="246221"/>
            </a:xfrm>
            <a:prstGeom prst="rect">
              <a:avLst/>
            </a:prstGeom>
            <a:noFill/>
          </p:spPr>
          <p:txBody>
            <a:bodyPr wrap="none" lIns="0" tIns="0" rIns="0" bIns="0" rtlCol="0">
              <a:spAutoFit/>
            </a:bodyPr>
            <a:lstStyle/>
            <a:p>
              <a:pPr algn="ctr"/>
              <a:r>
                <a:rPr lang="es-CO" sz="800" dirty="0">
                  <a:solidFill>
                    <a:schemeClr val="bg1"/>
                  </a:solidFill>
                </a:rPr>
                <a:t>Impactos de la </a:t>
              </a:r>
            </a:p>
            <a:p>
              <a:pPr algn="ctr"/>
              <a:r>
                <a:rPr lang="es-CO" sz="800" dirty="0">
                  <a:solidFill>
                    <a:schemeClr val="bg1"/>
                  </a:solidFill>
                </a:rPr>
                <a:t>automatización y la IA</a:t>
              </a:r>
            </a:p>
          </p:txBody>
        </p:sp>
        <p:sp>
          <p:nvSpPr>
            <p:cNvPr id="111" name="TextBox 179">
              <a:extLst>
                <a:ext uri="{FF2B5EF4-FFF2-40B4-BE49-F238E27FC236}">
                  <a16:creationId xmlns:a16="http://schemas.microsoft.com/office/drawing/2014/main" id="{FD941288-ECF4-4CBE-BECC-2651A967A572}"/>
                </a:ext>
              </a:extLst>
            </p:cNvPr>
            <p:cNvSpPr txBox="1"/>
            <p:nvPr/>
          </p:nvSpPr>
          <p:spPr>
            <a:xfrm>
              <a:off x="9398904" y="5682033"/>
              <a:ext cx="1372171" cy="346249"/>
            </a:xfrm>
            <a:prstGeom prst="rect">
              <a:avLst/>
            </a:prstGeom>
            <a:noFill/>
          </p:spPr>
          <p:txBody>
            <a:bodyPr wrap="none" lIns="0" tIns="0" rIns="0" bIns="0" rtlCol="0">
              <a:spAutoFit/>
            </a:bodyPr>
            <a:lstStyle/>
            <a:p>
              <a:pPr algn="ctr"/>
              <a:r>
                <a:rPr lang="es-CO" sz="750" dirty="0">
                  <a:solidFill>
                    <a:schemeClr val="bg1"/>
                  </a:solidFill>
                </a:rPr>
                <a:t>Toma de decisiones y rendición </a:t>
              </a:r>
            </a:p>
            <a:p>
              <a:pPr algn="ctr"/>
              <a:r>
                <a:rPr lang="es-CO" sz="750" dirty="0">
                  <a:solidFill>
                    <a:schemeClr val="bg1"/>
                  </a:solidFill>
                </a:rPr>
                <a:t>de cuentas sobre beneficios, </a:t>
              </a:r>
            </a:p>
            <a:p>
              <a:pPr algn="ctr"/>
              <a:r>
                <a:rPr lang="es-CO" sz="750" dirty="0">
                  <a:solidFill>
                    <a:schemeClr val="bg1"/>
                  </a:solidFill>
                </a:rPr>
                <a:t>políticas y recompensas</a:t>
              </a:r>
            </a:p>
          </p:txBody>
        </p:sp>
      </p:grpSp>
      <p:grpSp>
        <p:nvGrpSpPr>
          <p:cNvPr id="112" name="Group 180">
            <a:extLst>
              <a:ext uri="{FF2B5EF4-FFF2-40B4-BE49-F238E27FC236}">
                <a16:creationId xmlns:a16="http://schemas.microsoft.com/office/drawing/2014/main" id="{3608051B-F590-44F5-BACC-9172CC504095}"/>
              </a:ext>
            </a:extLst>
          </p:cNvPr>
          <p:cNvGrpSpPr/>
          <p:nvPr/>
        </p:nvGrpSpPr>
        <p:grpSpPr>
          <a:xfrm>
            <a:off x="8152909" y="5667511"/>
            <a:ext cx="3052256" cy="360000"/>
            <a:chOff x="7756517" y="6170668"/>
            <a:chExt cx="3052256" cy="360000"/>
          </a:xfrm>
        </p:grpSpPr>
        <p:sp>
          <p:nvSpPr>
            <p:cNvPr id="113" name="Rectangle 181">
              <a:extLst>
                <a:ext uri="{FF2B5EF4-FFF2-40B4-BE49-F238E27FC236}">
                  <a16:creationId xmlns:a16="http://schemas.microsoft.com/office/drawing/2014/main" id="{0832EF3F-400F-445C-8E22-5ECD02119178}"/>
                </a:ext>
              </a:extLst>
            </p:cNvPr>
            <p:cNvSpPr/>
            <p:nvPr/>
          </p:nvSpPr>
          <p:spPr>
            <a:xfrm>
              <a:off x="7756517" y="6170668"/>
              <a:ext cx="1440000" cy="360000"/>
            </a:xfrm>
            <a:prstGeom prst="rect">
              <a:avLst/>
            </a:prstGeom>
            <a:solidFill>
              <a:srgbClr val="7F4C9E"/>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s-CO" dirty="0"/>
            </a:p>
          </p:txBody>
        </p:sp>
        <p:sp>
          <p:nvSpPr>
            <p:cNvPr id="114" name="Rectangle 182">
              <a:extLst>
                <a:ext uri="{FF2B5EF4-FFF2-40B4-BE49-F238E27FC236}">
                  <a16:creationId xmlns:a16="http://schemas.microsoft.com/office/drawing/2014/main" id="{CB0EEDBD-95D1-40E8-B08E-D5CD1ED0A04A}"/>
                </a:ext>
              </a:extLst>
            </p:cNvPr>
            <p:cNvSpPr/>
            <p:nvPr/>
          </p:nvSpPr>
          <p:spPr>
            <a:xfrm>
              <a:off x="9368773" y="6170668"/>
              <a:ext cx="1440000" cy="360000"/>
            </a:xfrm>
            <a:prstGeom prst="rect">
              <a:avLst/>
            </a:prstGeom>
            <a:solidFill>
              <a:srgbClr val="EE398C"/>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s-CO" dirty="0"/>
            </a:p>
          </p:txBody>
        </p:sp>
        <p:sp>
          <p:nvSpPr>
            <p:cNvPr id="115" name="TextBox 183">
              <a:extLst>
                <a:ext uri="{FF2B5EF4-FFF2-40B4-BE49-F238E27FC236}">
                  <a16:creationId xmlns:a16="http://schemas.microsoft.com/office/drawing/2014/main" id="{3F7A2E65-7C15-4EC3-B319-34C45C2B6B97}"/>
                </a:ext>
              </a:extLst>
            </p:cNvPr>
            <p:cNvSpPr txBox="1"/>
            <p:nvPr/>
          </p:nvSpPr>
          <p:spPr>
            <a:xfrm>
              <a:off x="7918672" y="6227557"/>
              <a:ext cx="1094850" cy="246221"/>
            </a:xfrm>
            <a:prstGeom prst="rect">
              <a:avLst/>
            </a:prstGeom>
            <a:noFill/>
          </p:spPr>
          <p:txBody>
            <a:bodyPr wrap="none" lIns="0" tIns="0" rIns="0" bIns="0" rtlCol="0">
              <a:spAutoFit/>
            </a:bodyPr>
            <a:lstStyle/>
            <a:p>
              <a:pPr algn="ctr"/>
              <a:r>
                <a:rPr lang="es-CO" sz="800" dirty="0">
                  <a:solidFill>
                    <a:schemeClr val="bg1"/>
                  </a:solidFill>
                </a:rPr>
                <a:t>Atracción, retención y</a:t>
              </a:r>
            </a:p>
            <a:p>
              <a:pPr algn="ctr"/>
              <a:r>
                <a:rPr lang="es-CO" sz="800" dirty="0">
                  <a:solidFill>
                    <a:schemeClr val="bg1"/>
                  </a:solidFill>
                </a:rPr>
                <a:t>compromiso del talento</a:t>
              </a:r>
            </a:p>
          </p:txBody>
        </p:sp>
        <p:sp>
          <p:nvSpPr>
            <p:cNvPr id="116" name="TextBox 184">
              <a:extLst>
                <a:ext uri="{FF2B5EF4-FFF2-40B4-BE49-F238E27FC236}">
                  <a16:creationId xmlns:a16="http://schemas.microsoft.com/office/drawing/2014/main" id="{440389AD-4C1C-42E8-BBD0-F999FE30C395}"/>
                </a:ext>
              </a:extLst>
            </p:cNvPr>
            <p:cNvSpPr txBox="1"/>
            <p:nvPr/>
          </p:nvSpPr>
          <p:spPr>
            <a:xfrm>
              <a:off x="9600910" y="6224591"/>
              <a:ext cx="1009892" cy="246221"/>
            </a:xfrm>
            <a:prstGeom prst="rect">
              <a:avLst/>
            </a:prstGeom>
            <a:noFill/>
          </p:spPr>
          <p:txBody>
            <a:bodyPr wrap="none" lIns="0" tIns="0" rIns="0" bIns="0" rtlCol="0">
              <a:spAutoFit/>
            </a:bodyPr>
            <a:lstStyle/>
            <a:p>
              <a:pPr algn="ctr"/>
              <a:r>
                <a:rPr lang="es-CO" sz="800" dirty="0">
                  <a:solidFill>
                    <a:schemeClr val="bg1"/>
                  </a:solidFill>
                </a:rPr>
                <a:t>Impactos de la </a:t>
              </a:r>
            </a:p>
            <a:p>
              <a:pPr algn="ctr"/>
              <a:r>
                <a:rPr lang="es-CO" sz="800" dirty="0">
                  <a:solidFill>
                    <a:schemeClr val="bg1"/>
                  </a:solidFill>
                </a:rPr>
                <a:t>automatización y la IA</a:t>
              </a:r>
            </a:p>
          </p:txBody>
        </p:sp>
      </p:grpSp>
      <p:sp>
        <p:nvSpPr>
          <p:cNvPr id="117" name="Rectangle 185">
            <a:extLst>
              <a:ext uri="{FF2B5EF4-FFF2-40B4-BE49-F238E27FC236}">
                <a16:creationId xmlns:a16="http://schemas.microsoft.com/office/drawing/2014/main" id="{EF9D1A45-857E-44AD-9C84-B1B7B8FC3D4A}"/>
              </a:ext>
            </a:extLst>
          </p:cNvPr>
          <p:cNvSpPr/>
          <p:nvPr/>
        </p:nvSpPr>
        <p:spPr>
          <a:xfrm>
            <a:off x="7829566" y="1677477"/>
            <a:ext cx="171522" cy="369332"/>
          </a:xfrm>
          <a:prstGeom prst="rect">
            <a:avLst/>
          </a:prstGeom>
        </p:spPr>
        <p:txBody>
          <a:bodyPr wrap="none" lIns="0" tIns="0" rIns="0" bIns="0">
            <a:spAutoFit/>
          </a:bodyPr>
          <a:lstStyle/>
          <a:p>
            <a:pPr algn="ctr"/>
            <a:r>
              <a:rPr lang="en-US" sz="2400" b="1" dirty="0">
                <a:solidFill>
                  <a:srgbClr val="1B427F"/>
                </a:solidFill>
              </a:rPr>
              <a:t>1</a:t>
            </a:r>
          </a:p>
        </p:txBody>
      </p:sp>
      <p:sp>
        <p:nvSpPr>
          <p:cNvPr id="118" name="Rectangle 186">
            <a:extLst>
              <a:ext uri="{FF2B5EF4-FFF2-40B4-BE49-F238E27FC236}">
                <a16:creationId xmlns:a16="http://schemas.microsoft.com/office/drawing/2014/main" id="{7202F249-10D8-4C69-933B-5FCCE1B6A99A}"/>
              </a:ext>
            </a:extLst>
          </p:cNvPr>
          <p:cNvSpPr/>
          <p:nvPr/>
        </p:nvSpPr>
        <p:spPr>
          <a:xfrm>
            <a:off x="7830414" y="2121384"/>
            <a:ext cx="171522" cy="369332"/>
          </a:xfrm>
          <a:prstGeom prst="rect">
            <a:avLst/>
          </a:prstGeom>
        </p:spPr>
        <p:txBody>
          <a:bodyPr wrap="none" lIns="0" tIns="0" rIns="0" bIns="0">
            <a:spAutoFit/>
          </a:bodyPr>
          <a:lstStyle/>
          <a:p>
            <a:pPr algn="ctr"/>
            <a:r>
              <a:rPr lang="en-US" sz="2400" b="1" dirty="0">
                <a:solidFill>
                  <a:srgbClr val="1B427F"/>
                </a:solidFill>
              </a:rPr>
              <a:t>2</a:t>
            </a:r>
          </a:p>
        </p:txBody>
      </p:sp>
      <p:sp>
        <p:nvSpPr>
          <p:cNvPr id="119" name="Rectangle 187">
            <a:extLst>
              <a:ext uri="{FF2B5EF4-FFF2-40B4-BE49-F238E27FC236}">
                <a16:creationId xmlns:a16="http://schemas.microsoft.com/office/drawing/2014/main" id="{4A6A7E5D-B1F7-4D07-BFEB-C5C007803310}"/>
              </a:ext>
            </a:extLst>
          </p:cNvPr>
          <p:cNvSpPr/>
          <p:nvPr/>
        </p:nvSpPr>
        <p:spPr>
          <a:xfrm>
            <a:off x="7830414" y="2565291"/>
            <a:ext cx="171522" cy="369332"/>
          </a:xfrm>
          <a:prstGeom prst="rect">
            <a:avLst/>
          </a:prstGeom>
        </p:spPr>
        <p:txBody>
          <a:bodyPr wrap="none" lIns="0" tIns="0" rIns="0" bIns="0">
            <a:spAutoFit/>
          </a:bodyPr>
          <a:lstStyle/>
          <a:p>
            <a:pPr algn="ctr"/>
            <a:r>
              <a:rPr lang="en-US" sz="2400" b="1" dirty="0">
                <a:solidFill>
                  <a:srgbClr val="1B427F"/>
                </a:solidFill>
              </a:rPr>
              <a:t>3</a:t>
            </a:r>
          </a:p>
        </p:txBody>
      </p:sp>
      <p:sp>
        <p:nvSpPr>
          <p:cNvPr id="120" name="Rectangle 188">
            <a:extLst>
              <a:ext uri="{FF2B5EF4-FFF2-40B4-BE49-F238E27FC236}">
                <a16:creationId xmlns:a16="http://schemas.microsoft.com/office/drawing/2014/main" id="{76EC428B-136D-4F00-A926-F88FBEDD832D}"/>
              </a:ext>
            </a:extLst>
          </p:cNvPr>
          <p:cNvSpPr/>
          <p:nvPr/>
        </p:nvSpPr>
        <p:spPr>
          <a:xfrm>
            <a:off x="7833874" y="3009198"/>
            <a:ext cx="171522" cy="369332"/>
          </a:xfrm>
          <a:prstGeom prst="rect">
            <a:avLst/>
          </a:prstGeom>
        </p:spPr>
        <p:txBody>
          <a:bodyPr wrap="none" lIns="0" tIns="0" rIns="0" bIns="0">
            <a:spAutoFit/>
          </a:bodyPr>
          <a:lstStyle/>
          <a:p>
            <a:pPr algn="ctr"/>
            <a:r>
              <a:rPr lang="en-US" sz="2400" b="1" dirty="0">
                <a:solidFill>
                  <a:srgbClr val="1B427F"/>
                </a:solidFill>
              </a:rPr>
              <a:t>4</a:t>
            </a:r>
          </a:p>
        </p:txBody>
      </p:sp>
      <p:sp>
        <p:nvSpPr>
          <p:cNvPr id="121" name="Rectangle 189">
            <a:extLst>
              <a:ext uri="{FF2B5EF4-FFF2-40B4-BE49-F238E27FC236}">
                <a16:creationId xmlns:a16="http://schemas.microsoft.com/office/drawing/2014/main" id="{28BD306B-D41A-434E-9115-5DB73A04B779}"/>
              </a:ext>
            </a:extLst>
          </p:cNvPr>
          <p:cNvSpPr/>
          <p:nvPr/>
        </p:nvSpPr>
        <p:spPr>
          <a:xfrm>
            <a:off x="7833874" y="3453105"/>
            <a:ext cx="171522" cy="369332"/>
          </a:xfrm>
          <a:prstGeom prst="rect">
            <a:avLst/>
          </a:prstGeom>
        </p:spPr>
        <p:txBody>
          <a:bodyPr wrap="none" lIns="0" tIns="0" rIns="0" bIns="0">
            <a:spAutoFit/>
          </a:bodyPr>
          <a:lstStyle/>
          <a:p>
            <a:pPr algn="ctr"/>
            <a:r>
              <a:rPr lang="en-US" sz="2400" b="1" dirty="0">
                <a:solidFill>
                  <a:srgbClr val="1B427F"/>
                </a:solidFill>
              </a:rPr>
              <a:t>5</a:t>
            </a:r>
          </a:p>
        </p:txBody>
      </p:sp>
      <p:sp>
        <p:nvSpPr>
          <p:cNvPr id="122" name="Rectangle 190">
            <a:extLst>
              <a:ext uri="{FF2B5EF4-FFF2-40B4-BE49-F238E27FC236}">
                <a16:creationId xmlns:a16="http://schemas.microsoft.com/office/drawing/2014/main" id="{D6AB6BB9-FA73-47EF-9243-27EFA48C24BB}"/>
              </a:ext>
            </a:extLst>
          </p:cNvPr>
          <p:cNvSpPr/>
          <p:nvPr/>
        </p:nvSpPr>
        <p:spPr>
          <a:xfrm>
            <a:off x="7829120" y="3897012"/>
            <a:ext cx="171522" cy="369332"/>
          </a:xfrm>
          <a:prstGeom prst="rect">
            <a:avLst/>
          </a:prstGeom>
        </p:spPr>
        <p:txBody>
          <a:bodyPr wrap="none" lIns="0" tIns="0" rIns="0" bIns="0">
            <a:spAutoFit/>
          </a:bodyPr>
          <a:lstStyle/>
          <a:p>
            <a:pPr algn="ctr"/>
            <a:r>
              <a:rPr lang="en-US" sz="2400" b="1" dirty="0">
                <a:solidFill>
                  <a:srgbClr val="1B427F"/>
                </a:solidFill>
              </a:rPr>
              <a:t>6</a:t>
            </a:r>
          </a:p>
        </p:txBody>
      </p:sp>
      <p:sp>
        <p:nvSpPr>
          <p:cNvPr id="123" name="Rectangle 191">
            <a:extLst>
              <a:ext uri="{FF2B5EF4-FFF2-40B4-BE49-F238E27FC236}">
                <a16:creationId xmlns:a16="http://schemas.microsoft.com/office/drawing/2014/main" id="{3C40F595-71E5-40F2-B05A-82DE25E05AF8}"/>
              </a:ext>
            </a:extLst>
          </p:cNvPr>
          <p:cNvSpPr/>
          <p:nvPr/>
        </p:nvSpPr>
        <p:spPr>
          <a:xfrm>
            <a:off x="7829566" y="4340919"/>
            <a:ext cx="171522" cy="369332"/>
          </a:xfrm>
          <a:prstGeom prst="rect">
            <a:avLst/>
          </a:prstGeom>
        </p:spPr>
        <p:txBody>
          <a:bodyPr wrap="none" lIns="0" tIns="0" rIns="0" bIns="0">
            <a:spAutoFit/>
          </a:bodyPr>
          <a:lstStyle/>
          <a:p>
            <a:pPr algn="ctr"/>
            <a:r>
              <a:rPr lang="en-US" sz="2400" b="1" dirty="0">
                <a:solidFill>
                  <a:srgbClr val="1B427F"/>
                </a:solidFill>
              </a:rPr>
              <a:t>7</a:t>
            </a:r>
          </a:p>
        </p:txBody>
      </p:sp>
      <p:sp>
        <p:nvSpPr>
          <p:cNvPr id="124" name="Rectangle 192">
            <a:extLst>
              <a:ext uri="{FF2B5EF4-FFF2-40B4-BE49-F238E27FC236}">
                <a16:creationId xmlns:a16="http://schemas.microsoft.com/office/drawing/2014/main" id="{73E17E46-D8AA-48F8-815A-C94FF6A9C286}"/>
              </a:ext>
            </a:extLst>
          </p:cNvPr>
          <p:cNvSpPr/>
          <p:nvPr/>
        </p:nvSpPr>
        <p:spPr>
          <a:xfrm>
            <a:off x="7824883" y="4784826"/>
            <a:ext cx="171522" cy="369332"/>
          </a:xfrm>
          <a:prstGeom prst="rect">
            <a:avLst/>
          </a:prstGeom>
        </p:spPr>
        <p:txBody>
          <a:bodyPr wrap="none" lIns="0" tIns="0" rIns="0" bIns="0">
            <a:spAutoFit/>
          </a:bodyPr>
          <a:lstStyle/>
          <a:p>
            <a:pPr algn="ctr"/>
            <a:r>
              <a:rPr lang="en-US" sz="2400" b="1" dirty="0">
                <a:solidFill>
                  <a:srgbClr val="1B427F"/>
                </a:solidFill>
              </a:rPr>
              <a:t>8</a:t>
            </a:r>
          </a:p>
        </p:txBody>
      </p:sp>
      <p:sp>
        <p:nvSpPr>
          <p:cNvPr id="125" name="Rectangle 193">
            <a:extLst>
              <a:ext uri="{FF2B5EF4-FFF2-40B4-BE49-F238E27FC236}">
                <a16:creationId xmlns:a16="http://schemas.microsoft.com/office/drawing/2014/main" id="{D174FA8F-AFC6-4B22-AAF6-B19539901759}"/>
              </a:ext>
            </a:extLst>
          </p:cNvPr>
          <p:cNvSpPr/>
          <p:nvPr/>
        </p:nvSpPr>
        <p:spPr>
          <a:xfrm>
            <a:off x="7833874" y="5228733"/>
            <a:ext cx="171522" cy="369332"/>
          </a:xfrm>
          <a:prstGeom prst="rect">
            <a:avLst/>
          </a:prstGeom>
        </p:spPr>
        <p:txBody>
          <a:bodyPr wrap="none" lIns="0" tIns="0" rIns="0" bIns="0">
            <a:spAutoFit/>
          </a:bodyPr>
          <a:lstStyle/>
          <a:p>
            <a:pPr algn="ctr"/>
            <a:r>
              <a:rPr lang="en-US" sz="2400" b="1" dirty="0">
                <a:solidFill>
                  <a:srgbClr val="1B427F"/>
                </a:solidFill>
              </a:rPr>
              <a:t>9</a:t>
            </a:r>
          </a:p>
        </p:txBody>
      </p:sp>
      <p:sp>
        <p:nvSpPr>
          <p:cNvPr id="126" name="Rectangle 194">
            <a:extLst>
              <a:ext uri="{FF2B5EF4-FFF2-40B4-BE49-F238E27FC236}">
                <a16:creationId xmlns:a16="http://schemas.microsoft.com/office/drawing/2014/main" id="{AF7C7AB8-23E1-4B38-B4F7-ABF41C11094D}"/>
              </a:ext>
            </a:extLst>
          </p:cNvPr>
          <p:cNvSpPr/>
          <p:nvPr/>
        </p:nvSpPr>
        <p:spPr>
          <a:xfrm>
            <a:off x="7716329" y="5672642"/>
            <a:ext cx="343043" cy="369332"/>
          </a:xfrm>
          <a:prstGeom prst="rect">
            <a:avLst/>
          </a:prstGeom>
        </p:spPr>
        <p:txBody>
          <a:bodyPr wrap="none" lIns="0" tIns="0" rIns="0" bIns="0">
            <a:spAutoFit/>
          </a:bodyPr>
          <a:lstStyle/>
          <a:p>
            <a:pPr algn="ctr"/>
            <a:r>
              <a:rPr lang="en-US" sz="2400" b="1" dirty="0">
                <a:solidFill>
                  <a:srgbClr val="1B427F"/>
                </a:solidFill>
              </a:rPr>
              <a:t>10</a:t>
            </a:r>
          </a:p>
        </p:txBody>
      </p:sp>
      <p:sp>
        <p:nvSpPr>
          <p:cNvPr id="127" name="TextBox 195">
            <a:extLst>
              <a:ext uri="{FF2B5EF4-FFF2-40B4-BE49-F238E27FC236}">
                <a16:creationId xmlns:a16="http://schemas.microsoft.com/office/drawing/2014/main" id="{C9A649D0-8C57-404B-B0F2-B28DC9FDBC9E}"/>
              </a:ext>
            </a:extLst>
          </p:cNvPr>
          <p:cNvSpPr txBox="1"/>
          <p:nvPr/>
        </p:nvSpPr>
        <p:spPr>
          <a:xfrm>
            <a:off x="8424869" y="1386989"/>
            <a:ext cx="697307" cy="246221"/>
          </a:xfrm>
          <a:prstGeom prst="rect">
            <a:avLst/>
          </a:prstGeom>
          <a:noFill/>
        </p:spPr>
        <p:txBody>
          <a:bodyPr wrap="none" lIns="0" tIns="0" rIns="0" bIns="0" rtlCol="0">
            <a:spAutoFit/>
          </a:bodyPr>
          <a:lstStyle/>
          <a:p>
            <a:pPr algn="l"/>
            <a:r>
              <a:rPr lang="es-CO" sz="1600" b="1" dirty="0">
                <a:solidFill>
                  <a:srgbClr val="002C77"/>
                </a:solidFill>
              </a:rPr>
              <a:t> Global</a:t>
            </a:r>
          </a:p>
        </p:txBody>
      </p:sp>
      <p:sp>
        <p:nvSpPr>
          <p:cNvPr id="128" name="Rectangle 196">
            <a:extLst>
              <a:ext uri="{FF2B5EF4-FFF2-40B4-BE49-F238E27FC236}">
                <a16:creationId xmlns:a16="http://schemas.microsoft.com/office/drawing/2014/main" id="{B8C98B80-4A9E-4434-AF4C-0FF07CE658AE}"/>
              </a:ext>
            </a:extLst>
          </p:cNvPr>
          <p:cNvSpPr/>
          <p:nvPr/>
        </p:nvSpPr>
        <p:spPr>
          <a:xfrm>
            <a:off x="9607771" y="1340822"/>
            <a:ext cx="1656223" cy="338554"/>
          </a:xfrm>
          <a:prstGeom prst="rect">
            <a:avLst/>
          </a:prstGeom>
        </p:spPr>
        <p:txBody>
          <a:bodyPr wrap="none">
            <a:spAutoFit/>
          </a:bodyPr>
          <a:lstStyle/>
          <a:p>
            <a:r>
              <a:rPr lang="es-CO" sz="1600" b="1" dirty="0">
                <a:solidFill>
                  <a:srgbClr val="002C77"/>
                </a:solidFill>
              </a:rPr>
              <a:t>América Latina</a:t>
            </a:r>
            <a:endParaRPr lang="es-CO" sz="1600" dirty="0"/>
          </a:p>
        </p:txBody>
      </p:sp>
      <p:sp>
        <p:nvSpPr>
          <p:cNvPr id="129" name="Rectangle 197">
            <a:extLst>
              <a:ext uri="{FF2B5EF4-FFF2-40B4-BE49-F238E27FC236}">
                <a16:creationId xmlns:a16="http://schemas.microsoft.com/office/drawing/2014/main" id="{9017AD91-D12F-49AF-9AEA-D0949844F239}"/>
              </a:ext>
            </a:extLst>
          </p:cNvPr>
          <p:cNvSpPr/>
          <p:nvPr/>
        </p:nvSpPr>
        <p:spPr>
          <a:xfrm>
            <a:off x="8122711" y="6433646"/>
            <a:ext cx="2692401" cy="215444"/>
          </a:xfrm>
          <a:prstGeom prst="rect">
            <a:avLst/>
          </a:prstGeom>
        </p:spPr>
        <p:txBody>
          <a:bodyPr wrap="square">
            <a:spAutoFit/>
          </a:bodyPr>
          <a:lstStyle/>
          <a:p>
            <a:r>
              <a:rPr lang="es-CO" sz="800" dirty="0">
                <a:solidFill>
                  <a:srgbClr val="000000"/>
                </a:solidFill>
                <a:latin typeface="+mj-lt"/>
              </a:rPr>
              <a:t>Fuente: </a:t>
            </a:r>
            <a:r>
              <a:rPr lang="es-CO" sz="800" dirty="0" err="1">
                <a:solidFill>
                  <a:srgbClr val="000000"/>
                </a:solidFill>
                <a:latin typeface="+mj-lt"/>
              </a:rPr>
              <a:t>People</a:t>
            </a:r>
            <a:r>
              <a:rPr lang="es-CO" sz="800" dirty="0">
                <a:solidFill>
                  <a:srgbClr val="000000"/>
                </a:solidFill>
                <a:latin typeface="+mj-lt"/>
              </a:rPr>
              <a:t> </a:t>
            </a:r>
            <a:r>
              <a:rPr lang="es-CO" sz="800" dirty="0" err="1">
                <a:solidFill>
                  <a:srgbClr val="000000"/>
                </a:solidFill>
                <a:latin typeface="+mj-lt"/>
              </a:rPr>
              <a:t>Risk</a:t>
            </a:r>
            <a:r>
              <a:rPr lang="es-CO" sz="800" dirty="0">
                <a:solidFill>
                  <a:srgbClr val="000000"/>
                </a:solidFill>
                <a:latin typeface="+mj-lt"/>
              </a:rPr>
              <a:t> América Latina MMB 2022 </a:t>
            </a:r>
            <a:endParaRPr lang="es-CO" sz="800" dirty="0">
              <a:latin typeface="+mj-lt"/>
            </a:endParaRPr>
          </a:p>
        </p:txBody>
      </p:sp>
      <p:sp>
        <p:nvSpPr>
          <p:cNvPr id="130" name="Rectangle 199">
            <a:extLst>
              <a:ext uri="{FF2B5EF4-FFF2-40B4-BE49-F238E27FC236}">
                <a16:creationId xmlns:a16="http://schemas.microsoft.com/office/drawing/2014/main" id="{06C30FF7-F5D5-436C-B511-E4ED2BA612BA}"/>
              </a:ext>
            </a:extLst>
          </p:cNvPr>
          <p:cNvSpPr/>
          <p:nvPr/>
        </p:nvSpPr>
        <p:spPr>
          <a:xfrm>
            <a:off x="4491630" y="2066769"/>
            <a:ext cx="2472478" cy="738664"/>
          </a:xfrm>
          <a:prstGeom prst="rect">
            <a:avLst/>
          </a:prstGeom>
        </p:spPr>
        <p:txBody>
          <a:bodyPr wrap="square">
            <a:spAutoFit/>
          </a:bodyPr>
          <a:lstStyle/>
          <a:p>
            <a:pPr eaLnBrk="1" fontAlgn="auto" hangingPunct="1">
              <a:spcBef>
                <a:spcPts val="0"/>
              </a:spcBef>
              <a:spcAft>
                <a:spcPts val="0"/>
              </a:spcAft>
            </a:pPr>
            <a:r>
              <a:rPr lang="es-419" b="1" dirty="0">
                <a:solidFill>
                  <a:srgbClr val="009DE0"/>
                </a:solidFill>
                <a:latin typeface="+mj-lt"/>
                <a:ea typeface="Arial" panose="020B0604020202020204" pitchFamily="34" charset="0"/>
              </a:rPr>
              <a:t>3 millones</a:t>
            </a:r>
          </a:p>
          <a:p>
            <a:pPr eaLnBrk="1" fontAlgn="auto" hangingPunct="1">
              <a:spcBef>
                <a:spcPts val="0"/>
              </a:spcBef>
              <a:spcAft>
                <a:spcPts val="0"/>
              </a:spcAft>
            </a:pPr>
            <a:r>
              <a:rPr lang="es-419" sz="1200" dirty="0">
                <a:solidFill>
                  <a:srgbClr val="565656"/>
                </a:solidFill>
                <a:latin typeface="+mj-lt"/>
                <a:ea typeface="Arial" panose="020B0604020202020204" pitchFamily="34" charset="0"/>
              </a:rPr>
              <a:t>Es el déficit de profesionales de ciberseguridad a nivel global.</a:t>
            </a:r>
            <a:endParaRPr lang="es-419" sz="1200" dirty="0">
              <a:solidFill>
                <a:srgbClr val="565656"/>
              </a:solidFill>
              <a:latin typeface="+mj-lt"/>
            </a:endParaRPr>
          </a:p>
        </p:txBody>
      </p:sp>
      <p:sp>
        <p:nvSpPr>
          <p:cNvPr id="131" name="Rectangle 200">
            <a:extLst>
              <a:ext uri="{FF2B5EF4-FFF2-40B4-BE49-F238E27FC236}">
                <a16:creationId xmlns:a16="http://schemas.microsoft.com/office/drawing/2014/main" id="{791195FD-0C3F-497A-93AB-4E49E017373B}"/>
              </a:ext>
            </a:extLst>
          </p:cNvPr>
          <p:cNvSpPr/>
          <p:nvPr/>
        </p:nvSpPr>
        <p:spPr>
          <a:xfrm>
            <a:off x="4478610" y="3153356"/>
            <a:ext cx="2654397" cy="738664"/>
          </a:xfrm>
          <a:prstGeom prst="rect">
            <a:avLst/>
          </a:prstGeom>
        </p:spPr>
        <p:txBody>
          <a:bodyPr wrap="square">
            <a:spAutoFit/>
          </a:bodyPr>
          <a:lstStyle/>
          <a:p>
            <a:pPr eaLnBrk="1" fontAlgn="auto" hangingPunct="1">
              <a:spcBef>
                <a:spcPts val="0"/>
              </a:spcBef>
              <a:spcAft>
                <a:spcPts val="0"/>
              </a:spcAft>
            </a:pPr>
            <a:r>
              <a:rPr lang="es-419" b="1" dirty="0">
                <a:solidFill>
                  <a:srgbClr val="009DE0"/>
                </a:solidFill>
                <a:latin typeface="+mj-lt"/>
              </a:rPr>
              <a:t>US$ 800,000 millones</a:t>
            </a:r>
          </a:p>
          <a:p>
            <a:pPr eaLnBrk="1" fontAlgn="auto" hangingPunct="1">
              <a:spcBef>
                <a:spcPts val="0"/>
              </a:spcBef>
              <a:spcAft>
                <a:spcPts val="0"/>
              </a:spcAft>
            </a:pPr>
            <a:r>
              <a:rPr lang="es-419" sz="1200" dirty="0">
                <a:solidFill>
                  <a:srgbClr val="565656"/>
                </a:solidFill>
                <a:latin typeface="+mj-lt"/>
              </a:rPr>
              <a:t>Se estima el crecimiento del comercio digital para el 2024.</a:t>
            </a:r>
          </a:p>
        </p:txBody>
      </p:sp>
      <p:sp>
        <p:nvSpPr>
          <p:cNvPr id="132" name="Rectangle 98">
            <a:extLst>
              <a:ext uri="{FF2B5EF4-FFF2-40B4-BE49-F238E27FC236}">
                <a16:creationId xmlns:a16="http://schemas.microsoft.com/office/drawing/2014/main" id="{86F336DC-9111-4C1C-B65E-C17FB1923D11}"/>
              </a:ext>
            </a:extLst>
          </p:cNvPr>
          <p:cNvSpPr/>
          <p:nvPr/>
        </p:nvSpPr>
        <p:spPr>
          <a:xfrm>
            <a:off x="4497985" y="4168131"/>
            <a:ext cx="2472478" cy="738664"/>
          </a:xfrm>
          <a:prstGeom prst="rect">
            <a:avLst/>
          </a:prstGeom>
        </p:spPr>
        <p:txBody>
          <a:bodyPr wrap="square">
            <a:spAutoFit/>
          </a:bodyPr>
          <a:lstStyle/>
          <a:p>
            <a:pPr eaLnBrk="1" fontAlgn="auto" hangingPunct="1">
              <a:spcBef>
                <a:spcPts val="0"/>
              </a:spcBef>
              <a:spcAft>
                <a:spcPts val="0"/>
              </a:spcAft>
            </a:pPr>
            <a:r>
              <a:rPr lang="es-419" b="1" dirty="0">
                <a:solidFill>
                  <a:srgbClr val="009DE0"/>
                </a:solidFill>
                <a:latin typeface="+mj-lt"/>
              </a:rPr>
              <a:t>95%</a:t>
            </a:r>
          </a:p>
          <a:p>
            <a:pPr eaLnBrk="1" fontAlgn="auto" hangingPunct="1">
              <a:spcBef>
                <a:spcPts val="0"/>
              </a:spcBef>
              <a:spcAft>
                <a:spcPts val="0"/>
              </a:spcAft>
            </a:pPr>
            <a:r>
              <a:rPr lang="es-419" sz="1200" dirty="0">
                <a:solidFill>
                  <a:srgbClr val="565656"/>
                </a:solidFill>
                <a:latin typeface="+mj-lt"/>
              </a:rPr>
              <a:t>De los eventos de ciberseguridad se derivan de errores humanos.</a:t>
            </a:r>
          </a:p>
        </p:txBody>
      </p:sp>
      <p:grpSp>
        <p:nvGrpSpPr>
          <p:cNvPr id="133" name="Group 202">
            <a:extLst>
              <a:ext uri="{FF2B5EF4-FFF2-40B4-BE49-F238E27FC236}">
                <a16:creationId xmlns:a16="http://schemas.microsoft.com/office/drawing/2014/main" id="{92A41A27-3ECD-4945-B46D-937E1D23844A}"/>
              </a:ext>
            </a:extLst>
          </p:cNvPr>
          <p:cNvGrpSpPr/>
          <p:nvPr/>
        </p:nvGrpSpPr>
        <p:grpSpPr>
          <a:xfrm>
            <a:off x="4334438" y="1953804"/>
            <a:ext cx="135027" cy="2886882"/>
            <a:chOff x="8615376" y="1637156"/>
            <a:chExt cx="135027" cy="1971779"/>
          </a:xfrm>
        </p:grpSpPr>
        <p:cxnSp>
          <p:nvCxnSpPr>
            <p:cNvPr id="134" name="Straight Connector 203">
              <a:extLst>
                <a:ext uri="{FF2B5EF4-FFF2-40B4-BE49-F238E27FC236}">
                  <a16:creationId xmlns:a16="http://schemas.microsoft.com/office/drawing/2014/main" id="{47A91776-5AFB-4478-821E-F5BF41E75FDC}"/>
                </a:ext>
              </a:extLst>
            </p:cNvPr>
            <p:cNvCxnSpPr/>
            <p:nvPr/>
          </p:nvCxnSpPr>
          <p:spPr>
            <a:xfrm>
              <a:off x="8615376" y="1637156"/>
              <a:ext cx="0" cy="197177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5" name="Isosceles Triangle 60">
              <a:extLst>
                <a:ext uri="{FF2B5EF4-FFF2-40B4-BE49-F238E27FC236}">
                  <a16:creationId xmlns:a16="http://schemas.microsoft.com/office/drawing/2014/main" id="{8D3C434B-4E4A-4D4C-AE36-A0363F317D05}"/>
                </a:ext>
              </a:extLst>
            </p:cNvPr>
            <p:cNvSpPr/>
            <p:nvPr/>
          </p:nvSpPr>
          <p:spPr>
            <a:xfrm rot="5400000">
              <a:off x="8575010" y="2555532"/>
              <a:ext cx="215759" cy="135027"/>
            </a:xfrm>
            <a:prstGeom prst="triangle">
              <a:avLst/>
            </a:prstGeom>
            <a:solidFill>
              <a:schemeClr val="tx2"/>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3865"/>
                </a:solidFill>
                <a:latin typeface="Arial" panose="020B0604020202020204" pitchFamily="34" charset="0"/>
              </a:endParaRPr>
            </a:p>
          </p:txBody>
        </p:sp>
      </p:grpSp>
      <p:grpSp>
        <p:nvGrpSpPr>
          <p:cNvPr id="136" name="Group 205">
            <a:extLst>
              <a:ext uri="{FF2B5EF4-FFF2-40B4-BE49-F238E27FC236}">
                <a16:creationId xmlns:a16="http://schemas.microsoft.com/office/drawing/2014/main" id="{F65E80EE-4687-4284-BD4D-3B5BFD2F597B}"/>
              </a:ext>
            </a:extLst>
          </p:cNvPr>
          <p:cNvGrpSpPr/>
          <p:nvPr/>
        </p:nvGrpSpPr>
        <p:grpSpPr>
          <a:xfrm>
            <a:off x="6959983" y="1970375"/>
            <a:ext cx="135027" cy="2886882"/>
            <a:chOff x="8459436" y="1637156"/>
            <a:chExt cx="135027" cy="1971779"/>
          </a:xfrm>
        </p:grpSpPr>
        <p:cxnSp>
          <p:nvCxnSpPr>
            <p:cNvPr id="137" name="Straight Connector 206">
              <a:extLst>
                <a:ext uri="{FF2B5EF4-FFF2-40B4-BE49-F238E27FC236}">
                  <a16:creationId xmlns:a16="http://schemas.microsoft.com/office/drawing/2014/main" id="{1A32C06F-90EA-44EC-A545-635B74DAB9CD}"/>
                </a:ext>
              </a:extLst>
            </p:cNvPr>
            <p:cNvCxnSpPr/>
            <p:nvPr/>
          </p:nvCxnSpPr>
          <p:spPr>
            <a:xfrm>
              <a:off x="8594463" y="1637156"/>
              <a:ext cx="0" cy="197177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8" name="Isosceles Triangle 60">
              <a:extLst>
                <a:ext uri="{FF2B5EF4-FFF2-40B4-BE49-F238E27FC236}">
                  <a16:creationId xmlns:a16="http://schemas.microsoft.com/office/drawing/2014/main" id="{775D3AA8-0471-4B55-BCE6-622877F427A8}"/>
                </a:ext>
              </a:extLst>
            </p:cNvPr>
            <p:cNvSpPr/>
            <p:nvPr/>
          </p:nvSpPr>
          <p:spPr>
            <a:xfrm rot="16200000" flipH="1">
              <a:off x="8419070" y="2555532"/>
              <a:ext cx="215759" cy="135027"/>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3865"/>
                </a:solidFill>
                <a:latin typeface="Arial" panose="020B0604020202020204" pitchFamily="34" charset="0"/>
              </a:endParaRPr>
            </a:p>
          </p:txBody>
        </p:sp>
      </p:grpSp>
      <p:grpSp>
        <p:nvGrpSpPr>
          <p:cNvPr id="139" name="Group 208">
            <a:extLst>
              <a:ext uri="{FF2B5EF4-FFF2-40B4-BE49-F238E27FC236}">
                <a16:creationId xmlns:a16="http://schemas.microsoft.com/office/drawing/2014/main" id="{280C9333-9BDB-47A6-B0C2-3826B180876C}"/>
              </a:ext>
            </a:extLst>
          </p:cNvPr>
          <p:cNvGrpSpPr/>
          <p:nvPr/>
        </p:nvGrpSpPr>
        <p:grpSpPr>
          <a:xfrm>
            <a:off x="8140531" y="6137409"/>
            <a:ext cx="3364644" cy="184666"/>
            <a:chOff x="4642500" y="6168355"/>
            <a:chExt cx="3364644" cy="184666"/>
          </a:xfrm>
        </p:grpSpPr>
        <p:grpSp>
          <p:nvGrpSpPr>
            <p:cNvPr id="140" name="Group 209">
              <a:extLst>
                <a:ext uri="{FF2B5EF4-FFF2-40B4-BE49-F238E27FC236}">
                  <a16:creationId xmlns:a16="http://schemas.microsoft.com/office/drawing/2014/main" id="{101B39C9-1AD4-41F0-ABD6-CDC5E4AC810D}"/>
                </a:ext>
              </a:extLst>
            </p:cNvPr>
            <p:cNvGrpSpPr/>
            <p:nvPr/>
          </p:nvGrpSpPr>
          <p:grpSpPr>
            <a:xfrm>
              <a:off x="4642500" y="6168355"/>
              <a:ext cx="2724895" cy="184666"/>
              <a:chOff x="457200" y="6122308"/>
              <a:chExt cx="2724895" cy="184666"/>
            </a:xfrm>
          </p:grpSpPr>
          <p:sp>
            <p:nvSpPr>
              <p:cNvPr id="143" name="TextBox 212">
                <a:extLst>
                  <a:ext uri="{FF2B5EF4-FFF2-40B4-BE49-F238E27FC236}">
                    <a16:creationId xmlns:a16="http://schemas.microsoft.com/office/drawing/2014/main" id="{0F0CA7D1-27BE-474E-BA05-D65E3216BB91}"/>
                  </a:ext>
                </a:extLst>
              </p:cNvPr>
              <p:cNvSpPr txBox="1"/>
              <p:nvPr/>
            </p:nvSpPr>
            <p:spPr>
              <a:xfrm>
                <a:off x="618430" y="6122308"/>
                <a:ext cx="799908" cy="184666"/>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419" sz="600" b="0" i="0" u="none" strike="noStrike" kern="0" cap="none" spc="0" normalizeH="0" baseline="0" dirty="0">
                    <a:ln>
                      <a:noFill/>
                    </a:ln>
                    <a:solidFill>
                      <a:srgbClr val="043273"/>
                    </a:solidFill>
                    <a:effectLst/>
                    <a:uLnTx/>
                    <a:uFillTx/>
                    <a:latin typeface="+mj-lt"/>
                  </a:rPr>
                  <a:t>Salud y </a:t>
                </a:r>
              </a:p>
              <a:p>
                <a:pPr marL="0" marR="0" lvl="0" indent="0" defTabSz="914400" eaLnBrk="1" fontAlgn="auto" latinLnBrk="0" hangingPunct="1">
                  <a:lnSpc>
                    <a:spcPct val="100000"/>
                  </a:lnSpc>
                  <a:spcBef>
                    <a:spcPts val="0"/>
                  </a:spcBef>
                  <a:spcAft>
                    <a:spcPts val="0"/>
                  </a:spcAft>
                  <a:buClrTx/>
                  <a:buSzTx/>
                  <a:buFontTx/>
                  <a:buNone/>
                  <a:tabLst/>
                  <a:defRPr/>
                </a:pPr>
                <a:r>
                  <a:rPr kumimoji="0" lang="es-419" sz="600" b="0" i="0" u="none" strike="noStrike" kern="0" cap="none" spc="0" normalizeH="0" baseline="0" dirty="0">
                    <a:ln>
                      <a:noFill/>
                    </a:ln>
                    <a:solidFill>
                      <a:srgbClr val="043273"/>
                    </a:solidFill>
                    <a:effectLst/>
                    <a:uLnTx/>
                    <a:uFillTx/>
                    <a:latin typeface="+mj-lt"/>
                  </a:rPr>
                  <a:t>seguridad</a:t>
                </a:r>
              </a:p>
            </p:txBody>
          </p:sp>
          <p:sp>
            <p:nvSpPr>
              <p:cNvPr id="144" name="Oval 213">
                <a:extLst>
                  <a:ext uri="{FF2B5EF4-FFF2-40B4-BE49-F238E27FC236}">
                    <a16:creationId xmlns:a16="http://schemas.microsoft.com/office/drawing/2014/main" id="{5069D9A9-6BBC-4040-9086-6619CDAA44F6}"/>
                  </a:ext>
                </a:extLst>
              </p:cNvPr>
              <p:cNvSpPr/>
              <p:nvPr/>
            </p:nvSpPr>
            <p:spPr>
              <a:xfrm>
                <a:off x="457200" y="6129863"/>
                <a:ext cx="108000" cy="108000"/>
              </a:xfrm>
              <a:prstGeom prst="ellipse">
                <a:avLst/>
              </a:prstGeom>
              <a:solidFill>
                <a:srgbClr val="043273"/>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419" sz="600" b="0" i="0" u="none" strike="noStrike" kern="0" cap="none" spc="0" normalizeH="0" baseline="0" dirty="0">
                  <a:ln>
                    <a:noFill/>
                  </a:ln>
                  <a:solidFill>
                    <a:srgbClr val="000000"/>
                  </a:solidFill>
                  <a:effectLst/>
                  <a:uLnTx/>
                  <a:uFillTx/>
                  <a:latin typeface="+mj-lt"/>
                  <a:ea typeface="+mn-ea"/>
                  <a:cs typeface="+mn-cs"/>
                </a:endParaRPr>
              </a:p>
            </p:txBody>
          </p:sp>
          <p:sp>
            <p:nvSpPr>
              <p:cNvPr id="145" name="TextBox 214">
                <a:extLst>
                  <a:ext uri="{FF2B5EF4-FFF2-40B4-BE49-F238E27FC236}">
                    <a16:creationId xmlns:a16="http://schemas.microsoft.com/office/drawing/2014/main" id="{CD22AAF5-1E68-4662-BE36-B533AD4F87CC}"/>
                  </a:ext>
                </a:extLst>
              </p:cNvPr>
              <p:cNvSpPr txBox="1"/>
              <p:nvPr/>
            </p:nvSpPr>
            <p:spPr>
              <a:xfrm>
                <a:off x="1177905" y="6122308"/>
                <a:ext cx="633520" cy="184666"/>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419" sz="600" b="0" i="0" u="none" strike="noStrike" kern="0" cap="none" spc="0" normalizeH="0" baseline="0" dirty="0">
                    <a:ln>
                      <a:noFill/>
                    </a:ln>
                    <a:solidFill>
                      <a:srgbClr val="1C9BD7"/>
                    </a:solidFill>
                    <a:effectLst/>
                    <a:uLnTx/>
                    <a:uFillTx/>
                    <a:latin typeface="+mj-lt"/>
                  </a:rPr>
                  <a:t>Gobernanza y</a:t>
                </a:r>
              </a:p>
              <a:p>
                <a:pPr marL="0" marR="0" lvl="0" indent="0" defTabSz="914400" eaLnBrk="1" fontAlgn="auto" latinLnBrk="0" hangingPunct="1">
                  <a:lnSpc>
                    <a:spcPct val="100000"/>
                  </a:lnSpc>
                  <a:spcBef>
                    <a:spcPts val="0"/>
                  </a:spcBef>
                  <a:spcAft>
                    <a:spcPts val="0"/>
                  </a:spcAft>
                  <a:buClrTx/>
                  <a:buSzTx/>
                  <a:buFontTx/>
                  <a:buNone/>
                  <a:tabLst/>
                  <a:defRPr/>
                </a:pPr>
                <a:r>
                  <a:rPr kumimoji="0" lang="es-419" sz="600" b="0" i="0" u="none" strike="noStrike" kern="0" cap="none" spc="0" normalizeH="0" baseline="0" dirty="0">
                    <a:ln>
                      <a:noFill/>
                    </a:ln>
                    <a:solidFill>
                      <a:srgbClr val="1C9BD7"/>
                    </a:solidFill>
                    <a:effectLst/>
                    <a:uLnTx/>
                    <a:uFillTx/>
                    <a:latin typeface="+mj-lt"/>
                  </a:rPr>
                  <a:t>finanzas</a:t>
                </a:r>
              </a:p>
            </p:txBody>
          </p:sp>
          <p:sp>
            <p:nvSpPr>
              <p:cNvPr id="146" name="Oval 215">
                <a:extLst>
                  <a:ext uri="{FF2B5EF4-FFF2-40B4-BE49-F238E27FC236}">
                    <a16:creationId xmlns:a16="http://schemas.microsoft.com/office/drawing/2014/main" id="{06D26A4F-B5B2-431B-B67E-E24330F18119}"/>
                  </a:ext>
                </a:extLst>
              </p:cNvPr>
              <p:cNvSpPr/>
              <p:nvPr/>
            </p:nvSpPr>
            <p:spPr>
              <a:xfrm>
                <a:off x="1011516" y="6129863"/>
                <a:ext cx="108000" cy="108000"/>
              </a:xfrm>
              <a:prstGeom prst="ellipse">
                <a:avLst/>
              </a:prstGeom>
              <a:solidFill>
                <a:srgbClr val="1C9BD7"/>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419" sz="600" b="0" i="0" u="none" strike="noStrike" kern="0" cap="none" spc="0" normalizeH="0" baseline="0" dirty="0">
                  <a:ln>
                    <a:noFill/>
                  </a:ln>
                  <a:solidFill>
                    <a:srgbClr val="000000"/>
                  </a:solidFill>
                  <a:effectLst/>
                  <a:uLnTx/>
                  <a:uFillTx/>
                  <a:latin typeface="+mj-lt"/>
                  <a:ea typeface="+mn-ea"/>
                  <a:cs typeface="+mn-cs"/>
                </a:endParaRPr>
              </a:p>
            </p:txBody>
          </p:sp>
          <p:sp>
            <p:nvSpPr>
              <p:cNvPr id="147" name="TextBox 216">
                <a:extLst>
                  <a:ext uri="{FF2B5EF4-FFF2-40B4-BE49-F238E27FC236}">
                    <a16:creationId xmlns:a16="http://schemas.microsoft.com/office/drawing/2014/main" id="{2377C501-3A59-4B21-B813-7B4B1D338140}"/>
                  </a:ext>
                </a:extLst>
              </p:cNvPr>
              <p:cNvSpPr txBox="1"/>
              <p:nvPr/>
            </p:nvSpPr>
            <p:spPr>
              <a:xfrm>
                <a:off x="1908591" y="6122308"/>
                <a:ext cx="626716" cy="184666"/>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419" sz="600" b="0" i="0" u="none" strike="noStrike" kern="0" cap="none" spc="0" normalizeH="0" baseline="0" dirty="0">
                    <a:ln>
                      <a:noFill/>
                    </a:ln>
                    <a:solidFill>
                      <a:srgbClr val="EE398C"/>
                    </a:solidFill>
                    <a:effectLst/>
                    <a:uLnTx/>
                    <a:uFillTx/>
                    <a:latin typeface="+mj-lt"/>
                  </a:rPr>
                  <a:t>Digitalización </a:t>
                </a:r>
              </a:p>
              <a:p>
                <a:pPr marL="0" marR="0" lvl="0" indent="0" defTabSz="914400" eaLnBrk="1" fontAlgn="auto" latinLnBrk="0" hangingPunct="1">
                  <a:lnSpc>
                    <a:spcPct val="100000"/>
                  </a:lnSpc>
                  <a:spcBef>
                    <a:spcPts val="0"/>
                  </a:spcBef>
                  <a:spcAft>
                    <a:spcPts val="0"/>
                  </a:spcAft>
                  <a:buClrTx/>
                  <a:buSzTx/>
                  <a:buFontTx/>
                  <a:buNone/>
                  <a:tabLst/>
                  <a:defRPr/>
                </a:pPr>
                <a:r>
                  <a:rPr kumimoji="0" lang="es-419" sz="600" b="0" i="0" u="none" strike="noStrike" kern="0" cap="none" spc="0" normalizeH="0" baseline="0" dirty="0">
                    <a:ln>
                      <a:noFill/>
                    </a:ln>
                    <a:solidFill>
                      <a:srgbClr val="EE398C"/>
                    </a:solidFill>
                    <a:effectLst/>
                    <a:uLnTx/>
                    <a:uFillTx/>
                    <a:latin typeface="+mj-lt"/>
                  </a:rPr>
                  <a:t>acelerada</a:t>
                </a:r>
              </a:p>
            </p:txBody>
          </p:sp>
          <p:sp>
            <p:nvSpPr>
              <p:cNvPr id="148" name="Oval 217">
                <a:extLst>
                  <a:ext uri="{FF2B5EF4-FFF2-40B4-BE49-F238E27FC236}">
                    <a16:creationId xmlns:a16="http://schemas.microsoft.com/office/drawing/2014/main" id="{B5C3F112-CDBC-47A5-94CF-2933D3BEE930}"/>
                  </a:ext>
                </a:extLst>
              </p:cNvPr>
              <p:cNvSpPr/>
              <p:nvPr/>
            </p:nvSpPr>
            <p:spPr>
              <a:xfrm>
                <a:off x="1749866" y="6129863"/>
                <a:ext cx="108000" cy="108000"/>
              </a:xfrm>
              <a:prstGeom prst="ellipse">
                <a:avLst/>
              </a:prstGeom>
              <a:solidFill>
                <a:srgbClr val="EE388C"/>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419" sz="600" b="0" i="0" u="none" strike="noStrike" kern="0" cap="none" spc="0" normalizeH="0" baseline="0" dirty="0">
                  <a:ln>
                    <a:noFill/>
                  </a:ln>
                  <a:solidFill>
                    <a:srgbClr val="000000"/>
                  </a:solidFill>
                  <a:effectLst/>
                  <a:uLnTx/>
                  <a:uFillTx/>
                  <a:latin typeface="+mj-lt"/>
                  <a:ea typeface="+mn-ea"/>
                  <a:cs typeface="+mn-cs"/>
                </a:endParaRPr>
              </a:p>
            </p:txBody>
          </p:sp>
          <p:sp>
            <p:nvSpPr>
              <p:cNvPr id="149" name="TextBox 218">
                <a:extLst>
                  <a:ext uri="{FF2B5EF4-FFF2-40B4-BE49-F238E27FC236}">
                    <a16:creationId xmlns:a16="http://schemas.microsoft.com/office/drawing/2014/main" id="{9456242E-0D83-4A22-97D5-A791F2C58ED4}"/>
                  </a:ext>
                </a:extLst>
              </p:cNvPr>
              <p:cNvSpPr txBox="1"/>
              <p:nvPr/>
            </p:nvSpPr>
            <p:spPr>
              <a:xfrm>
                <a:off x="2599123" y="6122308"/>
                <a:ext cx="582972" cy="184666"/>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419" sz="600" kern="0" dirty="0">
                    <a:solidFill>
                      <a:srgbClr val="7030A0"/>
                    </a:solidFill>
                    <a:latin typeface="+mj-lt"/>
                  </a:rPr>
                  <a:t>Prácticas de </a:t>
                </a:r>
              </a:p>
              <a:p>
                <a:pPr marL="0" marR="0" lvl="0" indent="0" defTabSz="914400" eaLnBrk="1" fontAlgn="auto" latinLnBrk="0" hangingPunct="1">
                  <a:lnSpc>
                    <a:spcPct val="100000"/>
                  </a:lnSpc>
                  <a:spcBef>
                    <a:spcPts val="0"/>
                  </a:spcBef>
                  <a:spcAft>
                    <a:spcPts val="0"/>
                  </a:spcAft>
                  <a:buClrTx/>
                  <a:buSzTx/>
                  <a:buFontTx/>
                  <a:buNone/>
                  <a:tabLst/>
                  <a:defRPr/>
                </a:pPr>
                <a:r>
                  <a:rPr lang="es-419" sz="600" kern="0" dirty="0">
                    <a:solidFill>
                      <a:srgbClr val="7030A0"/>
                    </a:solidFill>
                    <a:latin typeface="+mj-lt"/>
                  </a:rPr>
                  <a:t>talento</a:t>
                </a:r>
                <a:endParaRPr kumimoji="0" lang="es-419" sz="600" b="0" i="0" u="none" strike="noStrike" kern="0" cap="none" spc="0" normalizeH="0" baseline="0" dirty="0">
                  <a:ln>
                    <a:noFill/>
                  </a:ln>
                  <a:solidFill>
                    <a:srgbClr val="7030A0"/>
                  </a:solidFill>
                  <a:effectLst/>
                  <a:uLnTx/>
                  <a:uFillTx/>
                  <a:latin typeface="+mj-lt"/>
                </a:endParaRPr>
              </a:p>
            </p:txBody>
          </p:sp>
          <p:sp>
            <p:nvSpPr>
              <p:cNvPr id="150" name="Oval 219">
                <a:extLst>
                  <a:ext uri="{FF2B5EF4-FFF2-40B4-BE49-F238E27FC236}">
                    <a16:creationId xmlns:a16="http://schemas.microsoft.com/office/drawing/2014/main" id="{6BC23E8C-809E-43AC-AB20-9A4AD3730D60}"/>
                  </a:ext>
                </a:extLst>
              </p:cNvPr>
              <p:cNvSpPr/>
              <p:nvPr/>
            </p:nvSpPr>
            <p:spPr>
              <a:xfrm>
                <a:off x="2439130" y="6129863"/>
                <a:ext cx="108000" cy="108000"/>
              </a:xfrm>
              <a:prstGeom prst="ellipse">
                <a:avLst/>
              </a:prstGeom>
              <a:solidFill>
                <a:srgbClr val="7030A0"/>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419" sz="600" b="0" i="0" u="none" strike="noStrike" kern="0" cap="none" spc="0" normalizeH="0" baseline="0" dirty="0">
                  <a:ln>
                    <a:noFill/>
                  </a:ln>
                  <a:solidFill>
                    <a:srgbClr val="000000"/>
                  </a:solidFill>
                  <a:effectLst/>
                  <a:uLnTx/>
                  <a:uFillTx/>
                  <a:latin typeface="+mj-lt"/>
                  <a:ea typeface="+mn-ea"/>
                  <a:cs typeface="+mn-cs"/>
                </a:endParaRPr>
              </a:p>
            </p:txBody>
          </p:sp>
        </p:grpSp>
        <p:sp>
          <p:nvSpPr>
            <p:cNvPr id="141" name="TextBox 210">
              <a:extLst>
                <a:ext uri="{FF2B5EF4-FFF2-40B4-BE49-F238E27FC236}">
                  <a16:creationId xmlns:a16="http://schemas.microsoft.com/office/drawing/2014/main" id="{5984B714-C449-438F-AA4D-F8BC5DE4435C}"/>
                </a:ext>
              </a:extLst>
            </p:cNvPr>
            <p:cNvSpPr txBox="1"/>
            <p:nvPr/>
          </p:nvSpPr>
          <p:spPr>
            <a:xfrm>
              <a:off x="7456298" y="6168355"/>
              <a:ext cx="550846" cy="184666"/>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419" sz="600" b="0" i="0" u="none" strike="noStrike" kern="0" cap="none" spc="0" normalizeH="0" baseline="0" dirty="0">
                  <a:ln>
                    <a:noFill/>
                  </a:ln>
                  <a:solidFill>
                    <a:srgbClr val="13AC4A"/>
                  </a:solidFill>
                  <a:effectLst/>
                  <a:uLnTx/>
                  <a:uFillTx/>
                  <a:latin typeface="+mj-lt"/>
                </a:rPr>
                <a:t>Ambiente y </a:t>
              </a:r>
            </a:p>
            <a:p>
              <a:pPr marL="0" marR="0" lvl="0" indent="0" defTabSz="914400" eaLnBrk="1" fontAlgn="auto" latinLnBrk="0" hangingPunct="1">
                <a:lnSpc>
                  <a:spcPct val="100000"/>
                </a:lnSpc>
                <a:spcBef>
                  <a:spcPts val="0"/>
                </a:spcBef>
                <a:spcAft>
                  <a:spcPts val="0"/>
                </a:spcAft>
                <a:buClrTx/>
                <a:buSzTx/>
                <a:buFontTx/>
                <a:buNone/>
                <a:tabLst/>
                <a:defRPr/>
              </a:pPr>
              <a:r>
                <a:rPr kumimoji="0" lang="es-419" sz="600" b="0" i="0" u="none" strike="noStrike" kern="0" cap="none" spc="0" normalizeH="0" baseline="0" dirty="0">
                  <a:ln>
                    <a:noFill/>
                  </a:ln>
                  <a:solidFill>
                    <a:srgbClr val="13AC4A"/>
                  </a:solidFill>
                  <a:effectLst/>
                  <a:uLnTx/>
                  <a:uFillTx/>
                  <a:latin typeface="+mj-lt"/>
                </a:rPr>
                <a:t>social</a:t>
              </a:r>
            </a:p>
          </p:txBody>
        </p:sp>
        <p:sp>
          <p:nvSpPr>
            <p:cNvPr id="142" name="Oval 211">
              <a:extLst>
                <a:ext uri="{FF2B5EF4-FFF2-40B4-BE49-F238E27FC236}">
                  <a16:creationId xmlns:a16="http://schemas.microsoft.com/office/drawing/2014/main" id="{07D87172-D035-4BCF-90BB-F1B39148F91E}"/>
                </a:ext>
              </a:extLst>
            </p:cNvPr>
            <p:cNvSpPr/>
            <p:nvPr/>
          </p:nvSpPr>
          <p:spPr>
            <a:xfrm>
              <a:off x="7296305" y="6175910"/>
              <a:ext cx="108000" cy="108000"/>
            </a:xfrm>
            <a:prstGeom prst="ellipse">
              <a:avLst/>
            </a:prstGeom>
            <a:solidFill>
              <a:srgbClr val="18AE4D"/>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419" sz="600" b="0" i="0" u="none" strike="noStrike" kern="0" cap="none" spc="0" normalizeH="0" baseline="0" dirty="0">
                <a:ln>
                  <a:noFill/>
                </a:ln>
                <a:solidFill>
                  <a:srgbClr val="000000"/>
                </a:solidFill>
                <a:effectLst/>
                <a:uLnTx/>
                <a:uFillTx/>
                <a:latin typeface="+mj-lt"/>
                <a:ea typeface="+mn-ea"/>
                <a:cs typeface="+mn-cs"/>
              </a:endParaRPr>
            </a:p>
          </p:txBody>
        </p:sp>
      </p:grpSp>
      <p:sp>
        <p:nvSpPr>
          <p:cNvPr id="151" name="Text Placeholder 8">
            <a:extLst>
              <a:ext uri="{FF2B5EF4-FFF2-40B4-BE49-F238E27FC236}">
                <a16:creationId xmlns:a16="http://schemas.microsoft.com/office/drawing/2014/main" id="{AE731D6C-EBFC-4507-8D3A-D37E30A75672}"/>
              </a:ext>
            </a:extLst>
          </p:cNvPr>
          <p:cNvSpPr txBox="1">
            <a:spLocks/>
          </p:cNvSpPr>
          <p:nvPr/>
        </p:nvSpPr>
        <p:spPr>
          <a:xfrm>
            <a:off x="7707489" y="919197"/>
            <a:ext cx="3707192" cy="429768"/>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Char char="​"/>
              <a:defRPr sz="1400" b="1" kern="0">
                <a:solidFill>
                  <a:schemeClr val="tx1"/>
                </a:solidFill>
                <a:latin typeface="+mn-lt"/>
                <a:ea typeface="+mn-ea"/>
                <a:cs typeface="+mn-cs"/>
              </a:defRPr>
            </a:lvl1pPr>
            <a:lvl2pPr marL="0" indent="0" algn="l" defTabSz="91440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2pPr>
            <a:lvl3pPr marL="0" indent="0" algn="l" defTabSz="91440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3pPr>
            <a:lvl4pPr marL="0" indent="0" algn="l" defTabSz="91440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4pPr>
            <a:lvl5pPr marL="0" indent="0" algn="l" defTabSz="91440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5pPr>
            <a:lvl6pPr marL="0" indent="0" algn="l" defTabSz="91440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6pPr>
            <a:lvl7pPr marL="0" indent="0" algn="l" defTabSz="91440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7pPr>
            <a:lvl8pPr marL="0" indent="0" algn="l" defTabSz="91440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8pPr>
            <a:lvl9pPr marL="0" indent="0" algn="l" defTabSz="91440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9pPr>
          </a:lstStyle>
          <a:p>
            <a:pPr lvl="0">
              <a:defRPr/>
            </a:pPr>
            <a:r>
              <a:rPr lang="es-419" dirty="0">
                <a:solidFill>
                  <a:schemeClr val="accent2"/>
                </a:solidFill>
                <a:latin typeface="+mj-lt"/>
              </a:rPr>
              <a:t>People </a:t>
            </a:r>
            <a:r>
              <a:rPr lang="es-419" dirty="0" err="1">
                <a:solidFill>
                  <a:schemeClr val="accent2"/>
                </a:solidFill>
                <a:latin typeface="+mj-lt"/>
              </a:rPr>
              <a:t>Risk</a:t>
            </a:r>
            <a:r>
              <a:rPr lang="es-419" dirty="0">
                <a:solidFill>
                  <a:schemeClr val="accent2"/>
                </a:solidFill>
                <a:latin typeface="+mj-lt"/>
              </a:rPr>
              <a:t> - </a:t>
            </a:r>
            <a:r>
              <a:rPr lang="es-CO" dirty="0">
                <a:solidFill>
                  <a:schemeClr val="accent2"/>
                </a:solidFill>
                <a:latin typeface="+mj-lt"/>
              </a:rPr>
              <a:t>Los 10 principales riesgos por puntuación de calificación de riesgo</a:t>
            </a:r>
            <a:endParaRPr kumimoji="0" lang="es-419" sz="1400" b="1" i="0" u="none" strike="noStrike" kern="0" cap="none" spc="0" normalizeH="0" baseline="0" dirty="0">
              <a:ln>
                <a:noFill/>
              </a:ln>
              <a:solidFill>
                <a:schemeClr val="accent2"/>
              </a:solidFill>
              <a:effectLst/>
              <a:uLnTx/>
              <a:uFillTx/>
              <a:latin typeface="+mj-lt"/>
              <a:ea typeface="+mn-ea"/>
              <a:cs typeface="+mn-cs"/>
            </a:endParaRPr>
          </a:p>
        </p:txBody>
      </p:sp>
    </p:spTree>
    <p:extLst>
      <p:ext uri="{BB962C8B-B14F-4D97-AF65-F5344CB8AC3E}">
        <p14:creationId xmlns:p14="http://schemas.microsoft.com/office/powerpoint/2010/main" val="968132483"/>
      </p:ext>
    </p:extLst>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7209367" y="1476840"/>
            <a:ext cx="4500032" cy="1328505"/>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s-CO" sz="2133" b="1" i="0" u="none" strike="noStrike" kern="1200" cap="none" spc="0" normalizeH="0" baseline="0" noProof="0" dirty="0">
                <a:ln>
                  <a:noFill/>
                </a:ln>
                <a:solidFill>
                  <a:srgbClr val="00968F"/>
                </a:solidFill>
                <a:effectLst/>
                <a:uLnTx/>
                <a:uFillTx/>
                <a:latin typeface="Arial" panose="020B0604020202020204"/>
                <a:ea typeface="+mn-ea"/>
                <a:cs typeface="+mn-cs"/>
                <a:sym typeface="Arial"/>
              </a:rPr>
              <a:t>Gestión de vulnerabilidades</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s-CO" sz="1200" b="0" i="0" u="none" strike="noStrike" kern="1200" cap="none" spc="0" normalizeH="0" baseline="0" noProof="0" dirty="0">
                <a:ln>
                  <a:noFill/>
                </a:ln>
                <a:solidFill>
                  <a:srgbClr val="202020"/>
                </a:solidFill>
                <a:effectLst/>
                <a:uLnTx/>
                <a:uFillTx/>
                <a:latin typeface="Arial" panose="020B0604020202020204"/>
                <a:ea typeface="+mn-ea"/>
                <a:cs typeface="+mn-cs"/>
                <a:sym typeface="Arial"/>
              </a:rPr>
              <a:t>Realizar escaneos de vulnerabilidades de manera regular y pruebas de penetración una vez al año, permiten que las organizaciones simulen posibles ataques a sus redes, descubriendo vulnerabilidades y remediándolas antes de que terceros puedan explotarlas.</a:t>
            </a:r>
          </a:p>
        </p:txBody>
      </p:sp>
      <p:sp>
        <p:nvSpPr>
          <p:cNvPr id="38" name="Rectangle 37"/>
          <p:cNvSpPr/>
          <p:nvPr/>
        </p:nvSpPr>
        <p:spPr>
          <a:xfrm>
            <a:off x="7209367" y="3909125"/>
            <a:ext cx="4500032" cy="2026067"/>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s-CO" sz="2133" b="1" i="0" u="none" strike="noStrike" kern="1200" cap="none" spc="0" normalizeH="0" baseline="0" noProof="0" dirty="0">
                <a:ln>
                  <a:noFill/>
                </a:ln>
                <a:solidFill>
                  <a:srgbClr val="00968F"/>
                </a:solidFill>
                <a:effectLst/>
                <a:uLnTx/>
                <a:uFillTx/>
                <a:latin typeface="Arial" panose="020B0604020202020204"/>
                <a:ea typeface="+mn-ea"/>
                <a:cs typeface="+mn-cs"/>
                <a:sym typeface="Arial"/>
              </a:rPr>
              <a:t>Filtrado de correos electrónicos y contenido web </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s-CO" sz="1200" b="0" i="0" u="none" strike="noStrike" kern="1200" cap="none" spc="0" normalizeH="0" baseline="0" noProof="0" dirty="0">
                <a:ln>
                  <a:noFill/>
                </a:ln>
                <a:solidFill>
                  <a:srgbClr val="202020"/>
                </a:solidFill>
                <a:effectLst/>
                <a:uLnTx/>
                <a:uFillTx/>
                <a:latin typeface="Arial" panose="020B0604020202020204"/>
                <a:ea typeface="+mn-ea"/>
                <a:cs typeface="+mn-cs"/>
                <a:sym typeface="Arial"/>
              </a:rPr>
              <a:t>Enlaces y archivos maliciosos son todavía la forma más utilizada para infectar con </a:t>
            </a:r>
            <a:r>
              <a:rPr kumimoji="0" lang="es-CO" sz="1200" b="0" i="0" u="none" strike="noStrike" kern="1200" cap="none" spc="0" normalizeH="0" baseline="0" noProof="0" dirty="0" err="1">
                <a:ln>
                  <a:noFill/>
                </a:ln>
                <a:solidFill>
                  <a:srgbClr val="202020"/>
                </a:solidFill>
                <a:effectLst/>
                <a:uLnTx/>
                <a:uFillTx/>
                <a:latin typeface="Arial" panose="020B0604020202020204"/>
                <a:ea typeface="+mn-ea"/>
                <a:cs typeface="+mn-cs"/>
                <a:sym typeface="Arial"/>
              </a:rPr>
              <a:t>ransomware</a:t>
            </a:r>
            <a:r>
              <a:rPr kumimoji="0" lang="es-CO" sz="1200" b="0" i="0" u="none" strike="noStrike" kern="1200" cap="none" spc="0" normalizeH="0" baseline="0" noProof="0" dirty="0">
                <a:ln>
                  <a:noFill/>
                </a:ln>
                <a:solidFill>
                  <a:srgbClr val="202020"/>
                </a:solidFill>
                <a:effectLst/>
                <a:uLnTx/>
                <a:uFillTx/>
                <a:latin typeface="Arial" panose="020B0604020202020204"/>
                <a:ea typeface="+mn-ea"/>
                <a:cs typeface="+mn-cs"/>
                <a:sym typeface="Arial"/>
              </a:rPr>
              <a:t> (o cualquier otro tipo de malware), robar credenciales y, eventualmente, acceder a sistemas críticos. Dentro de la primera línea de defensa para las compañías en la actualidad, es indispensable contar con tecnologías que les permiten filtrar correos entrantes, bloquear sitios maliciosos y probar contenido aparentemente malicioso en un entorno seguro.</a:t>
            </a:r>
          </a:p>
        </p:txBody>
      </p:sp>
      <p:sp>
        <p:nvSpPr>
          <p:cNvPr id="40" name="Rectangle 39"/>
          <p:cNvSpPr/>
          <p:nvPr/>
        </p:nvSpPr>
        <p:spPr>
          <a:xfrm>
            <a:off x="1409700" y="1476840"/>
            <a:ext cx="4572000" cy="2103012"/>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s-CO" sz="2133" b="1" i="0" u="none" strike="noStrike" kern="1200" cap="none" spc="0" normalizeH="0" baseline="0" noProof="0" dirty="0">
                <a:ln>
                  <a:noFill/>
                </a:ln>
                <a:solidFill>
                  <a:srgbClr val="00968F"/>
                </a:solidFill>
                <a:effectLst/>
                <a:uLnTx/>
                <a:uFillTx/>
                <a:latin typeface="Arial" panose="020B0604020202020204"/>
                <a:ea typeface="+mn-ea"/>
                <a:cs typeface="+mn-cs"/>
                <a:sym typeface="Arial"/>
              </a:rPr>
              <a:t>Control de accesos- Autenticación de Múltiple Factor</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s-CO" sz="1200" b="0" i="0" u="none" strike="noStrike" kern="1200" cap="none" spc="0" normalizeH="0" baseline="0" noProof="0" dirty="0">
                <a:ln>
                  <a:noFill/>
                </a:ln>
                <a:solidFill>
                  <a:srgbClr val="202020"/>
                </a:solidFill>
                <a:effectLst/>
                <a:uLnTx/>
                <a:uFillTx/>
                <a:latin typeface="Arial" panose="020B0604020202020204"/>
                <a:ea typeface="+mn-ea"/>
                <a:cs typeface="+mn-cs"/>
                <a:sym typeface="Arial"/>
              </a:rPr>
              <a:t>Existe un aproximado de 15.000 millones de credenciales robadas en la </a:t>
            </a:r>
            <a:r>
              <a:rPr kumimoji="0" lang="es-CO" sz="1200" b="0" i="0" u="none" strike="noStrike" kern="1200" cap="none" spc="0" normalizeH="0" baseline="0" noProof="0" dirty="0" err="1">
                <a:ln>
                  <a:noFill/>
                </a:ln>
                <a:solidFill>
                  <a:srgbClr val="202020"/>
                </a:solidFill>
                <a:effectLst/>
                <a:uLnTx/>
                <a:uFillTx/>
                <a:latin typeface="Arial" panose="020B0604020202020204"/>
                <a:ea typeface="+mn-ea"/>
                <a:cs typeface="+mn-cs"/>
                <a:sym typeface="Arial"/>
              </a:rPr>
              <a:t>dark</a:t>
            </a:r>
            <a:r>
              <a:rPr kumimoji="0" lang="es-CO" sz="1200" b="0" i="0" u="none" strike="noStrike" kern="1200" cap="none" spc="0" normalizeH="0" baseline="0" noProof="0" dirty="0">
                <a:ln>
                  <a:noFill/>
                </a:ln>
                <a:solidFill>
                  <a:srgbClr val="202020"/>
                </a:solidFill>
                <a:effectLst/>
                <a:uLnTx/>
                <a:uFillTx/>
                <a:latin typeface="Arial" panose="020B0604020202020204"/>
                <a:ea typeface="+mn-ea"/>
                <a:cs typeface="+mn-cs"/>
                <a:sym typeface="Arial"/>
              </a:rPr>
              <a:t> web, esto representa un crecimiento del 300% desde el 2018*. La autenticación de múltiple factor previene que los atacantes puedan utilizar estas credenciales, al no contar con el factor adicional. El trabajo remoto ha puesto a la autenticación de múltiple factor como uno de los controles esenciales para asegurar el acceso a los sistemas e información crítica y sensible. </a:t>
            </a:r>
          </a:p>
        </p:txBody>
      </p:sp>
      <p:sp>
        <p:nvSpPr>
          <p:cNvPr id="41" name="Rectangle 40"/>
          <p:cNvSpPr/>
          <p:nvPr/>
        </p:nvSpPr>
        <p:spPr>
          <a:xfrm>
            <a:off x="1409700" y="3909125"/>
            <a:ext cx="4572000" cy="2149178"/>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s-CO" sz="2133" b="1" i="0" u="none" strike="noStrike" kern="1200" cap="none" spc="0" normalizeH="0" baseline="0" noProof="0" dirty="0">
                <a:ln>
                  <a:noFill/>
                </a:ln>
                <a:solidFill>
                  <a:srgbClr val="00968F"/>
                </a:solidFill>
                <a:effectLst/>
                <a:uLnTx/>
                <a:uFillTx/>
                <a:latin typeface="Arial" panose="020B0604020202020204"/>
                <a:ea typeface="+mn-ea"/>
                <a:cs typeface="+mn-cs"/>
                <a:sym typeface="Arial"/>
              </a:rPr>
              <a:t>Copias de respaldo probadas y seguras</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s-CO" sz="1200" b="0" i="0" u="none" strike="noStrike" kern="1200" cap="none" spc="0" normalizeH="0" baseline="0" noProof="0" dirty="0">
                <a:ln>
                  <a:noFill/>
                </a:ln>
                <a:solidFill>
                  <a:srgbClr val="202020"/>
                </a:solidFill>
                <a:effectLst/>
                <a:uLnTx/>
                <a:uFillTx/>
                <a:latin typeface="Arial" panose="020B0604020202020204"/>
                <a:ea typeface="+mn-ea"/>
                <a:cs typeface="+mn-cs"/>
                <a:sym typeface="Arial"/>
              </a:rPr>
              <a:t>Los atacantes buscan eliminar las copias de respaldo antes de lanzar un ataque de </a:t>
            </a:r>
            <a:r>
              <a:rPr kumimoji="0" lang="es-CO" sz="1200" b="0" i="0" u="none" strike="noStrike" kern="1200" cap="none" spc="0" normalizeH="0" baseline="0" noProof="0" dirty="0" err="1">
                <a:ln>
                  <a:noFill/>
                </a:ln>
                <a:solidFill>
                  <a:srgbClr val="202020"/>
                </a:solidFill>
                <a:effectLst/>
                <a:uLnTx/>
                <a:uFillTx/>
                <a:latin typeface="Arial" panose="020B0604020202020204"/>
                <a:ea typeface="+mn-ea"/>
                <a:cs typeface="+mn-cs"/>
                <a:sym typeface="Arial"/>
              </a:rPr>
              <a:t>ransomware</a:t>
            </a:r>
            <a:r>
              <a:rPr kumimoji="0" lang="es-CO" sz="1200" b="0" i="0" u="none" strike="noStrike" kern="1200" cap="none" spc="0" normalizeH="0" baseline="0" noProof="0" dirty="0">
                <a:ln>
                  <a:noFill/>
                </a:ln>
                <a:solidFill>
                  <a:srgbClr val="202020"/>
                </a:solidFill>
                <a:effectLst/>
                <a:uLnTx/>
                <a:uFillTx/>
                <a:latin typeface="Arial" panose="020B0604020202020204"/>
                <a:ea typeface="+mn-ea"/>
                <a:cs typeface="+mn-cs"/>
                <a:sym typeface="Arial"/>
              </a:rPr>
              <a:t>, para de esta manera ser exitosos en la extorsión a sus víctimas. Es esencial asegurar las copias de respaldo a través del cifrado y separarlas de las red (off-line o con autenticación de múltiple factor), así como realizar pruebas de las copias de respaldo planes de recuperación.</a:t>
            </a:r>
          </a:p>
          <a:p>
            <a:pPr marL="0" marR="0" lvl="0" indent="0" algn="l" defTabSz="457200" rtl="0" eaLnBrk="1" fontAlgn="auto" latinLnBrk="0" hangingPunct="1">
              <a:lnSpc>
                <a:spcPct val="100000"/>
              </a:lnSpc>
              <a:spcBef>
                <a:spcPts val="600"/>
              </a:spcBef>
              <a:spcAft>
                <a:spcPts val="0"/>
              </a:spcAft>
              <a:buClrTx/>
              <a:buSzTx/>
              <a:buFontTx/>
              <a:buNone/>
              <a:tabLst/>
              <a:defRPr/>
            </a:pPr>
            <a:endParaRPr kumimoji="0" lang="es-CO" sz="1500" b="0" i="0" u="none" strike="noStrike" kern="1200" cap="none" spc="0" normalizeH="0" baseline="0" noProof="0" dirty="0">
              <a:ln>
                <a:noFill/>
              </a:ln>
              <a:solidFill>
                <a:srgbClr val="202020"/>
              </a:solidFill>
              <a:effectLst/>
              <a:uLnTx/>
              <a:uFillTx/>
              <a:latin typeface="Arial" panose="020B0604020202020204"/>
              <a:ea typeface="+mn-ea"/>
              <a:cs typeface="+mn-cs"/>
              <a:sym typeface="Arial"/>
            </a:endParaRPr>
          </a:p>
        </p:txBody>
      </p:sp>
      <p:sp>
        <p:nvSpPr>
          <p:cNvPr id="25" name="Título 3"/>
          <p:cNvSpPr>
            <a:spLocks noGrp="1"/>
          </p:cNvSpPr>
          <p:nvPr>
            <p:ph type="title"/>
          </p:nvPr>
        </p:nvSpPr>
        <p:spPr>
          <a:xfrm>
            <a:off x="457200" y="355601"/>
            <a:ext cx="11252199" cy="791966"/>
          </a:xfrm>
        </p:spPr>
        <p:txBody>
          <a:bodyPr/>
          <a:lstStyle/>
          <a:p>
            <a:r>
              <a:rPr lang="es-CO" dirty="0"/>
              <a:t>¿Cuáles son los principales controles que las compañías (re)aseguradoras están revisando?</a:t>
            </a:r>
          </a:p>
        </p:txBody>
      </p:sp>
      <p:grpSp>
        <p:nvGrpSpPr>
          <p:cNvPr id="29" name="Graphic 1654">
            <a:extLst>
              <a:ext uri="{FF2B5EF4-FFF2-40B4-BE49-F238E27FC236}">
                <a16:creationId xmlns:a16="http://schemas.microsoft.com/office/drawing/2014/main" id="{519C2C80-8C9C-0A4B-8D2E-A1F3E049FF7F}"/>
              </a:ext>
            </a:extLst>
          </p:cNvPr>
          <p:cNvGrpSpPr/>
          <p:nvPr/>
        </p:nvGrpSpPr>
        <p:grpSpPr>
          <a:xfrm>
            <a:off x="562240" y="1531826"/>
            <a:ext cx="575205" cy="508127"/>
            <a:chOff x="9255633" y="1811342"/>
            <a:chExt cx="365125" cy="349911"/>
          </a:xfrm>
          <a:solidFill>
            <a:schemeClr val="accent1"/>
          </a:solidFill>
        </p:grpSpPr>
        <p:sp>
          <p:nvSpPr>
            <p:cNvPr id="31" name="Freeform 201">
              <a:extLst>
                <a:ext uri="{FF2B5EF4-FFF2-40B4-BE49-F238E27FC236}">
                  <a16:creationId xmlns:a16="http://schemas.microsoft.com/office/drawing/2014/main" id="{EF7CF76D-BD99-9541-8407-300550C24E9D}"/>
                </a:ext>
              </a:extLst>
            </p:cNvPr>
            <p:cNvSpPr/>
            <p:nvPr/>
          </p:nvSpPr>
          <p:spPr>
            <a:xfrm>
              <a:off x="9377341" y="1811342"/>
              <a:ext cx="136921" cy="106494"/>
            </a:xfrm>
            <a:custGeom>
              <a:avLst/>
              <a:gdLst>
                <a:gd name="connsiteX0" fmla="*/ 132358 w 136921"/>
                <a:gd name="connsiteY0" fmla="*/ 4564 h 106494"/>
                <a:gd name="connsiteX1" fmla="*/ 111059 w 136921"/>
                <a:gd name="connsiteY1" fmla="*/ 4564 h 106494"/>
                <a:gd name="connsiteX2" fmla="*/ 45641 w 136921"/>
                <a:gd name="connsiteY2" fmla="*/ 69982 h 106494"/>
                <a:gd name="connsiteX3" fmla="*/ 25863 w 136921"/>
                <a:gd name="connsiteY3" fmla="*/ 50205 h 106494"/>
                <a:gd name="connsiteX4" fmla="*/ 4564 w 136921"/>
                <a:gd name="connsiteY4" fmla="*/ 50205 h 106494"/>
                <a:gd name="connsiteX5" fmla="*/ 4564 w 136921"/>
                <a:gd name="connsiteY5" fmla="*/ 71504 h 106494"/>
                <a:gd name="connsiteX6" fmla="*/ 34991 w 136921"/>
                <a:gd name="connsiteY6" fmla="*/ 101931 h 106494"/>
                <a:gd name="connsiteX7" fmla="*/ 45641 w 136921"/>
                <a:gd name="connsiteY7" fmla="*/ 106495 h 106494"/>
                <a:gd name="connsiteX8" fmla="*/ 56290 w 136921"/>
                <a:gd name="connsiteY8" fmla="*/ 101931 h 106494"/>
                <a:gd name="connsiteX9" fmla="*/ 132358 w 136921"/>
                <a:gd name="connsiteY9" fmla="*/ 25863 h 106494"/>
                <a:gd name="connsiteX10" fmla="*/ 132358 w 136921"/>
                <a:gd name="connsiteY10" fmla="*/ 4564 h 106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6921" h="106494">
                  <a:moveTo>
                    <a:pt x="132358" y="4564"/>
                  </a:moveTo>
                  <a:cubicBezTo>
                    <a:pt x="126272" y="-1521"/>
                    <a:pt x="117144" y="-1521"/>
                    <a:pt x="111059" y="4564"/>
                  </a:cubicBezTo>
                  <a:lnTo>
                    <a:pt x="45641" y="69982"/>
                  </a:lnTo>
                  <a:lnTo>
                    <a:pt x="25863" y="50205"/>
                  </a:lnTo>
                  <a:cubicBezTo>
                    <a:pt x="19778" y="44119"/>
                    <a:pt x="10649" y="44119"/>
                    <a:pt x="4564" y="50205"/>
                  </a:cubicBezTo>
                  <a:cubicBezTo>
                    <a:pt x="-1521" y="56290"/>
                    <a:pt x="-1521" y="65418"/>
                    <a:pt x="4564" y="71504"/>
                  </a:cubicBezTo>
                  <a:lnTo>
                    <a:pt x="34991" y="101931"/>
                  </a:lnTo>
                  <a:cubicBezTo>
                    <a:pt x="38034" y="104973"/>
                    <a:pt x="41077" y="106495"/>
                    <a:pt x="45641" y="106495"/>
                  </a:cubicBezTo>
                  <a:cubicBezTo>
                    <a:pt x="50205" y="106495"/>
                    <a:pt x="53247" y="104973"/>
                    <a:pt x="56290" y="101931"/>
                  </a:cubicBezTo>
                  <a:lnTo>
                    <a:pt x="132358" y="25863"/>
                  </a:lnTo>
                  <a:cubicBezTo>
                    <a:pt x="138443" y="19778"/>
                    <a:pt x="138443" y="10649"/>
                    <a:pt x="132358" y="4564"/>
                  </a:cubicBez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sp>
          <p:nvSpPr>
            <p:cNvPr id="32" name="Freeform 202">
              <a:extLst>
                <a:ext uri="{FF2B5EF4-FFF2-40B4-BE49-F238E27FC236}">
                  <a16:creationId xmlns:a16="http://schemas.microsoft.com/office/drawing/2014/main" id="{254F7504-616B-7A4E-B2EA-9C6494548717}"/>
                </a:ext>
              </a:extLst>
            </p:cNvPr>
            <p:cNvSpPr/>
            <p:nvPr/>
          </p:nvSpPr>
          <p:spPr>
            <a:xfrm>
              <a:off x="9255633" y="2068451"/>
              <a:ext cx="167348" cy="92802"/>
            </a:xfrm>
            <a:custGeom>
              <a:avLst/>
              <a:gdLst>
                <a:gd name="connsiteX0" fmla="*/ 83674 w 167348"/>
                <a:gd name="connsiteY0" fmla="*/ 0 h 92802"/>
                <a:gd name="connsiteX1" fmla="*/ 16735 w 167348"/>
                <a:gd name="connsiteY1" fmla="*/ 22820 h 92802"/>
                <a:gd name="connsiteX2" fmla="*/ 0 w 167348"/>
                <a:gd name="connsiteY2" fmla="*/ 59333 h 92802"/>
                <a:gd name="connsiteX3" fmla="*/ 0 w 167348"/>
                <a:gd name="connsiteY3" fmla="*/ 77589 h 92802"/>
                <a:gd name="connsiteX4" fmla="*/ 15214 w 167348"/>
                <a:gd name="connsiteY4" fmla="*/ 92803 h 92802"/>
                <a:gd name="connsiteX5" fmla="*/ 152135 w 167348"/>
                <a:gd name="connsiteY5" fmla="*/ 92803 h 92802"/>
                <a:gd name="connsiteX6" fmla="*/ 167349 w 167348"/>
                <a:gd name="connsiteY6" fmla="*/ 77589 h 92802"/>
                <a:gd name="connsiteX7" fmla="*/ 167349 w 167348"/>
                <a:gd name="connsiteY7" fmla="*/ 59333 h 92802"/>
                <a:gd name="connsiteX8" fmla="*/ 152135 w 167348"/>
                <a:gd name="connsiteY8" fmla="*/ 22820 h 92802"/>
                <a:gd name="connsiteX9" fmla="*/ 83674 w 167348"/>
                <a:gd name="connsiteY9" fmla="*/ 0 h 92802"/>
                <a:gd name="connsiteX10" fmla="*/ 136922 w 167348"/>
                <a:gd name="connsiteY10" fmla="*/ 62376 h 92802"/>
                <a:gd name="connsiteX11" fmla="*/ 30427 w 167348"/>
                <a:gd name="connsiteY11" fmla="*/ 62376 h 92802"/>
                <a:gd name="connsiteX12" fmla="*/ 30427 w 167348"/>
                <a:gd name="connsiteY12" fmla="*/ 59333 h 92802"/>
                <a:gd name="connsiteX13" fmla="*/ 34991 w 167348"/>
                <a:gd name="connsiteY13" fmla="*/ 47162 h 92802"/>
                <a:gd name="connsiteX14" fmla="*/ 83674 w 167348"/>
                <a:gd name="connsiteY14" fmla="*/ 30427 h 92802"/>
                <a:gd name="connsiteX15" fmla="*/ 130836 w 167348"/>
                <a:gd name="connsiteY15" fmla="*/ 45641 h 92802"/>
                <a:gd name="connsiteX16" fmla="*/ 136922 w 167348"/>
                <a:gd name="connsiteY16" fmla="*/ 59333 h 92802"/>
                <a:gd name="connsiteX17" fmla="*/ 136922 w 167348"/>
                <a:gd name="connsiteY17" fmla="*/ 62376 h 92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348" h="92802">
                  <a:moveTo>
                    <a:pt x="83674" y="0"/>
                  </a:moveTo>
                  <a:cubicBezTo>
                    <a:pt x="59333" y="0"/>
                    <a:pt x="36513" y="7607"/>
                    <a:pt x="16735" y="22820"/>
                  </a:cubicBezTo>
                  <a:cubicBezTo>
                    <a:pt x="6085" y="31948"/>
                    <a:pt x="0" y="44119"/>
                    <a:pt x="0" y="59333"/>
                  </a:cubicBezTo>
                  <a:lnTo>
                    <a:pt x="0" y="77589"/>
                  </a:lnTo>
                  <a:cubicBezTo>
                    <a:pt x="0" y="86717"/>
                    <a:pt x="6085" y="92803"/>
                    <a:pt x="15214" y="92803"/>
                  </a:cubicBezTo>
                  <a:lnTo>
                    <a:pt x="152135" y="92803"/>
                  </a:lnTo>
                  <a:cubicBezTo>
                    <a:pt x="161264" y="92803"/>
                    <a:pt x="167349" y="86717"/>
                    <a:pt x="167349" y="77589"/>
                  </a:cubicBezTo>
                  <a:lnTo>
                    <a:pt x="167349" y="59333"/>
                  </a:lnTo>
                  <a:cubicBezTo>
                    <a:pt x="167349" y="47162"/>
                    <a:pt x="161264" y="33470"/>
                    <a:pt x="152135" y="22820"/>
                  </a:cubicBezTo>
                  <a:cubicBezTo>
                    <a:pt x="143007" y="16735"/>
                    <a:pt x="120187" y="0"/>
                    <a:pt x="83674" y="0"/>
                  </a:cubicBezTo>
                  <a:close/>
                  <a:moveTo>
                    <a:pt x="136922" y="62376"/>
                  </a:moveTo>
                  <a:lnTo>
                    <a:pt x="30427" y="62376"/>
                  </a:lnTo>
                  <a:lnTo>
                    <a:pt x="30427" y="59333"/>
                  </a:lnTo>
                  <a:cubicBezTo>
                    <a:pt x="30427" y="54769"/>
                    <a:pt x="31948" y="50205"/>
                    <a:pt x="34991" y="47162"/>
                  </a:cubicBezTo>
                  <a:cubicBezTo>
                    <a:pt x="44119" y="39555"/>
                    <a:pt x="59333" y="30427"/>
                    <a:pt x="83674" y="30427"/>
                  </a:cubicBezTo>
                  <a:cubicBezTo>
                    <a:pt x="109538" y="30427"/>
                    <a:pt x="126272" y="41077"/>
                    <a:pt x="130836" y="45641"/>
                  </a:cubicBezTo>
                  <a:cubicBezTo>
                    <a:pt x="133879" y="50205"/>
                    <a:pt x="136922" y="54769"/>
                    <a:pt x="136922" y="59333"/>
                  </a:cubicBezTo>
                  <a:lnTo>
                    <a:pt x="136922" y="62376"/>
                  </a:ln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sp>
          <p:nvSpPr>
            <p:cNvPr id="35" name="Freeform 203">
              <a:extLst>
                <a:ext uri="{FF2B5EF4-FFF2-40B4-BE49-F238E27FC236}">
                  <a16:creationId xmlns:a16="http://schemas.microsoft.com/office/drawing/2014/main" id="{9CC27465-5651-3E46-833A-2B9AE8641E5A}"/>
                </a:ext>
              </a:extLst>
            </p:cNvPr>
            <p:cNvSpPr/>
            <p:nvPr/>
          </p:nvSpPr>
          <p:spPr>
            <a:xfrm>
              <a:off x="9286060" y="1948264"/>
              <a:ext cx="106494" cy="106494"/>
            </a:xfrm>
            <a:custGeom>
              <a:avLst/>
              <a:gdLst>
                <a:gd name="connsiteX0" fmla="*/ 53247 w 106494"/>
                <a:gd name="connsiteY0" fmla="*/ 106495 h 106494"/>
                <a:gd name="connsiteX1" fmla="*/ 106495 w 106494"/>
                <a:gd name="connsiteY1" fmla="*/ 53247 h 106494"/>
                <a:gd name="connsiteX2" fmla="*/ 53247 w 106494"/>
                <a:gd name="connsiteY2" fmla="*/ 0 h 106494"/>
                <a:gd name="connsiteX3" fmla="*/ 0 w 106494"/>
                <a:gd name="connsiteY3" fmla="*/ 53247 h 106494"/>
                <a:gd name="connsiteX4" fmla="*/ 53247 w 106494"/>
                <a:gd name="connsiteY4" fmla="*/ 106495 h 106494"/>
                <a:gd name="connsiteX5" fmla="*/ 53247 w 106494"/>
                <a:gd name="connsiteY5" fmla="*/ 30427 h 106494"/>
                <a:gd name="connsiteX6" fmla="*/ 76068 w 106494"/>
                <a:gd name="connsiteY6" fmla="*/ 53247 h 106494"/>
                <a:gd name="connsiteX7" fmla="*/ 53247 w 106494"/>
                <a:gd name="connsiteY7" fmla="*/ 76068 h 106494"/>
                <a:gd name="connsiteX8" fmla="*/ 30427 w 106494"/>
                <a:gd name="connsiteY8" fmla="*/ 53247 h 106494"/>
                <a:gd name="connsiteX9" fmla="*/ 53247 w 106494"/>
                <a:gd name="connsiteY9" fmla="*/ 30427 h 106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494" h="106494">
                  <a:moveTo>
                    <a:pt x="53247" y="106495"/>
                  </a:moveTo>
                  <a:cubicBezTo>
                    <a:pt x="82153" y="106495"/>
                    <a:pt x="106495" y="82153"/>
                    <a:pt x="106495" y="53247"/>
                  </a:cubicBezTo>
                  <a:cubicBezTo>
                    <a:pt x="106495" y="24342"/>
                    <a:pt x="82153" y="0"/>
                    <a:pt x="53247" y="0"/>
                  </a:cubicBezTo>
                  <a:cubicBezTo>
                    <a:pt x="24342" y="0"/>
                    <a:pt x="0" y="24342"/>
                    <a:pt x="0" y="53247"/>
                  </a:cubicBezTo>
                  <a:cubicBezTo>
                    <a:pt x="0" y="82153"/>
                    <a:pt x="24342" y="106495"/>
                    <a:pt x="53247" y="106495"/>
                  </a:cubicBezTo>
                  <a:close/>
                  <a:moveTo>
                    <a:pt x="53247" y="30427"/>
                  </a:moveTo>
                  <a:cubicBezTo>
                    <a:pt x="65418" y="30427"/>
                    <a:pt x="76068" y="41077"/>
                    <a:pt x="76068" y="53247"/>
                  </a:cubicBezTo>
                  <a:cubicBezTo>
                    <a:pt x="76068" y="65418"/>
                    <a:pt x="65418" y="76068"/>
                    <a:pt x="53247" y="76068"/>
                  </a:cubicBezTo>
                  <a:cubicBezTo>
                    <a:pt x="41077" y="76068"/>
                    <a:pt x="30427" y="65418"/>
                    <a:pt x="30427" y="53247"/>
                  </a:cubicBezTo>
                  <a:cubicBezTo>
                    <a:pt x="30427" y="41077"/>
                    <a:pt x="41077" y="30427"/>
                    <a:pt x="53247" y="30427"/>
                  </a:cubicBez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sp>
          <p:nvSpPr>
            <p:cNvPr id="43" name="Freeform 204">
              <a:extLst>
                <a:ext uri="{FF2B5EF4-FFF2-40B4-BE49-F238E27FC236}">
                  <a16:creationId xmlns:a16="http://schemas.microsoft.com/office/drawing/2014/main" id="{01251517-55E5-5243-AB65-DC9DE40DFA32}"/>
                </a:ext>
              </a:extLst>
            </p:cNvPr>
            <p:cNvSpPr/>
            <p:nvPr/>
          </p:nvSpPr>
          <p:spPr>
            <a:xfrm>
              <a:off x="9453409" y="2068451"/>
              <a:ext cx="167348" cy="92802"/>
            </a:xfrm>
            <a:custGeom>
              <a:avLst/>
              <a:gdLst>
                <a:gd name="connsiteX0" fmla="*/ 152135 w 167348"/>
                <a:gd name="connsiteY0" fmla="*/ 22820 h 92802"/>
                <a:gd name="connsiteX1" fmla="*/ 83674 w 167348"/>
                <a:gd name="connsiteY1" fmla="*/ 0 h 92802"/>
                <a:gd name="connsiteX2" fmla="*/ 16735 w 167348"/>
                <a:gd name="connsiteY2" fmla="*/ 22820 h 92802"/>
                <a:gd name="connsiteX3" fmla="*/ 0 w 167348"/>
                <a:gd name="connsiteY3" fmla="*/ 59333 h 92802"/>
                <a:gd name="connsiteX4" fmla="*/ 0 w 167348"/>
                <a:gd name="connsiteY4" fmla="*/ 77589 h 92802"/>
                <a:gd name="connsiteX5" fmla="*/ 15214 w 167348"/>
                <a:gd name="connsiteY5" fmla="*/ 92803 h 92802"/>
                <a:gd name="connsiteX6" fmla="*/ 152135 w 167348"/>
                <a:gd name="connsiteY6" fmla="*/ 92803 h 92802"/>
                <a:gd name="connsiteX7" fmla="*/ 167349 w 167348"/>
                <a:gd name="connsiteY7" fmla="*/ 77589 h 92802"/>
                <a:gd name="connsiteX8" fmla="*/ 167349 w 167348"/>
                <a:gd name="connsiteY8" fmla="*/ 59333 h 92802"/>
                <a:gd name="connsiteX9" fmla="*/ 152135 w 167348"/>
                <a:gd name="connsiteY9" fmla="*/ 22820 h 92802"/>
                <a:gd name="connsiteX10" fmla="*/ 136922 w 167348"/>
                <a:gd name="connsiteY10" fmla="*/ 62376 h 92802"/>
                <a:gd name="connsiteX11" fmla="*/ 30427 w 167348"/>
                <a:gd name="connsiteY11" fmla="*/ 62376 h 92802"/>
                <a:gd name="connsiteX12" fmla="*/ 30427 w 167348"/>
                <a:gd name="connsiteY12" fmla="*/ 59333 h 92802"/>
                <a:gd name="connsiteX13" fmla="*/ 34991 w 167348"/>
                <a:gd name="connsiteY13" fmla="*/ 47162 h 92802"/>
                <a:gd name="connsiteX14" fmla="*/ 83674 w 167348"/>
                <a:gd name="connsiteY14" fmla="*/ 30427 h 92802"/>
                <a:gd name="connsiteX15" fmla="*/ 130836 w 167348"/>
                <a:gd name="connsiteY15" fmla="*/ 45641 h 92802"/>
                <a:gd name="connsiteX16" fmla="*/ 136922 w 167348"/>
                <a:gd name="connsiteY16" fmla="*/ 59333 h 92802"/>
                <a:gd name="connsiteX17" fmla="*/ 136922 w 167348"/>
                <a:gd name="connsiteY17" fmla="*/ 62376 h 92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348" h="92802">
                  <a:moveTo>
                    <a:pt x="152135" y="22820"/>
                  </a:moveTo>
                  <a:cubicBezTo>
                    <a:pt x="144529" y="15214"/>
                    <a:pt x="120187" y="0"/>
                    <a:pt x="83674" y="0"/>
                  </a:cubicBezTo>
                  <a:cubicBezTo>
                    <a:pt x="59333" y="0"/>
                    <a:pt x="36512" y="7607"/>
                    <a:pt x="16735" y="22820"/>
                  </a:cubicBezTo>
                  <a:cubicBezTo>
                    <a:pt x="6085" y="31948"/>
                    <a:pt x="0" y="44119"/>
                    <a:pt x="0" y="59333"/>
                  </a:cubicBezTo>
                  <a:lnTo>
                    <a:pt x="0" y="77589"/>
                  </a:lnTo>
                  <a:cubicBezTo>
                    <a:pt x="0" y="86717"/>
                    <a:pt x="6085" y="92803"/>
                    <a:pt x="15214" y="92803"/>
                  </a:cubicBezTo>
                  <a:lnTo>
                    <a:pt x="152135" y="92803"/>
                  </a:lnTo>
                  <a:cubicBezTo>
                    <a:pt x="161264" y="92803"/>
                    <a:pt x="167349" y="86717"/>
                    <a:pt x="167349" y="77589"/>
                  </a:cubicBezTo>
                  <a:lnTo>
                    <a:pt x="167349" y="59333"/>
                  </a:lnTo>
                  <a:cubicBezTo>
                    <a:pt x="167349" y="47162"/>
                    <a:pt x="161264" y="33470"/>
                    <a:pt x="152135" y="22820"/>
                  </a:cubicBezTo>
                  <a:close/>
                  <a:moveTo>
                    <a:pt x="136922" y="62376"/>
                  </a:moveTo>
                  <a:lnTo>
                    <a:pt x="30427" y="62376"/>
                  </a:lnTo>
                  <a:lnTo>
                    <a:pt x="30427" y="59333"/>
                  </a:lnTo>
                  <a:cubicBezTo>
                    <a:pt x="30427" y="54769"/>
                    <a:pt x="31948" y="50205"/>
                    <a:pt x="34991" y="47162"/>
                  </a:cubicBezTo>
                  <a:cubicBezTo>
                    <a:pt x="44119" y="39555"/>
                    <a:pt x="59333" y="30427"/>
                    <a:pt x="83674" y="30427"/>
                  </a:cubicBezTo>
                  <a:cubicBezTo>
                    <a:pt x="109538" y="30427"/>
                    <a:pt x="126272" y="41077"/>
                    <a:pt x="130836" y="45641"/>
                  </a:cubicBezTo>
                  <a:cubicBezTo>
                    <a:pt x="133879" y="48683"/>
                    <a:pt x="136922" y="54769"/>
                    <a:pt x="136922" y="59333"/>
                  </a:cubicBezTo>
                  <a:lnTo>
                    <a:pt x="136922" y="62376"/>
                  </a:ln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sp>
          <p:nvSpPr>
            <p:cNvPr id="44" name="Freeform 205">
              <a:extLst>
                <a:ext uri="{FF2B5EF4-FFF2-40B4-BE49-F238E27FC236}">
                  <a16:creationId xmlns:a16="http://schemas.microsoft.com/office/drawing/2014/main" id="{B4C83B84-FAF6-8447-8D51-DE63B9B5EE8C}"/>
                </a:ext>
              </a:extLst>
            </p:cNvPr>
            <p:cNvSpPr/>
            <p:nvPr/>
          </p:nvSpPr>
          <p:spPr>
            <a:xfrm>
              <a:off x="9483836" y="1948264"/>
              <a:ext cx="106494" cy="106494"/>
            </a:xfrm>
            <a:custGeom>
              <a:avLst/>
              <a:gdLst>
                <a:gd name="connsiteX0" fmla="*/ 0 w 106494"/>
                <a:gd name="connsiteY0" fmla="*/ 53247 h 106494"/>
                <a:gd name="connsiteX1" fmla="*/ 53247 w 106494"/>
                <a:gd name="connsiteY1" fmla="*/ 106495 h 106494"/>
                <a:gd name="connsiteX2" fmla="*/ 106495 w 106494"/>
                <a:gd name="connsiteY2" fmla="*/ 53247 h 106494"/>
                <a:gd name="connsiteX3" fmla="*/ 53247 w 106494"/>
                <a:gd name="connsiteY3" fmla="*/ 0 h 106494"/>
                <a:gd name="connsiteX4" fmla="*/ 0 w 106494"/>
                <a:gd name="connsiteY4" fmla="*/ 53247 h 106494"/>
                <a:gd name="connsiteX5" fmla="*/ 53247 w 106494"/>
                <a:gd name="connsiteY5" fmla="*/ 30427 h 106494"/>
                <a:gd name="connsiteX6" fmla="*/ 76068 w 106494"/>
                <a:gd name="connsiteY6" fmla="*/ 53247 h 106494"/>
                <a:gd name="connsiteX7" fmla="*/ 53247 w 106494"/>
                <a:gd name="connsiteY7" fmla="*/ 76068 h 106494"/>
                <a:gd name="connsiteX8" fmla="*/ 30427 w 106494"/>
                <a:gd name="connsiteY8" fmla="*/ 53247 h 106494"/>
                <a:gd name="connsiteX9" fmla="*/ 53247 w 106494"/>
                <a:gd name="connsiteY9" fmla="*/ 30427 h 106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494" h="106494">
                  <a:moveTo>
                    <a:pt x="0" y="53247"/>
                  </a:moveTo>
                  <a:cubicBezTo>
                    <a:pt x="0" y="82153"/>
                    <a:pt x="24342" y="106495"/>
                    <a:pt x="53247" y="106495"/>
                  </a:cubicBezTo>
                  <a:cubicBezTo>
                    <a:pt x="82153" y="106495"/>
                    <a:pt x="106495" y="82153"/>
                    <a:pt x="106495" y="53247"/>
                  </a:cubicBezTo>
                  <a:cubicBezTo>
                    <a:pt x="106495" y="24342"/>
                    <a:pt x="82153" y="0"/>
                    <a:pt x="53247" y="0"/>
                  </a:cubicBezTo>
                  <a:cubicBezTo>
                    <a:pt x="24342" y="0"/>
                    <a:pt x="0" y="24342"/>
                    <a:pt x="0" y="53247"/>
                  </a:cubicBezTo>
                  <a:close/>
                  <a:moveTo>
                    <a:pt x="53247" y="30427"/>
                  </a:moveTo>
                  <a:cubicBezTo>
                    <a:pt x="65418" y="30427"/>
                    <a:pt x="76068" y="41077"/>
                    <a:pt x="76068" y="53247"/>
                  </a:cubicBezTo>
                  <a:cubicBezTo>
                    <a:pt x="76068" y="65418"/>
                    <a:pt x="65418" y="76068"/>
                    <a:pt x="53247" y="76068"/>
                  </a:cubicBezTo>
                  <a:cubicBezTo>
                    <a:pt x="41077" y="76068"/>
                    <a:pt x="30427" y="65418"/>
                    <a:pt x="30427" y="53247"/>
                  </a:cubicBezTo>
                  <a:cubicBezTo>
                    <a:pt x="30427" y="41077"/>
                    <a:pt x="41077" y="30427"/>
                    <a:pt x="53247" y="30427"/>
                  </a:cubicBez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grpSp>
      <p:grpSp>
        <p:nvGrpSpPr>
          <p:cNvPr id="45" name="Graphic 2422">
            <a:extLst>
              <a:ext uri="{FF2B5EF4-FFF2-40B4-BE49-F238E27FC236}">
                <a16:creationId xmlns:a16="http://schemas.microsoft.com/office/drawing/2014/main" id="{FD5036D6-DE1B-E34E-884D-D8B16DDCFF95}"/>
              </a:ext>
            </a:extLst>
          </p:cNvPr>
          <p:cNvGrpSpPr/>
          <p:nvPr/>
        </p:nvGrpSpPr>
        <p:grpSpPr>
          <a:xfrm>
            <a:off x="6301890" y="1476840"/>
            <a:ext cx="589885" cy="652399"/>
            <a:chOff x="6427159" y="3704777"/>
            <a:chExt cx="304270" cy="349911"/>
          </a:xfrm>
          <a:solidFill>
            <a:schemeClr val="accent1"/>
          </a:solidFill>
        </p:grpSpPr>
        <p:sp>
          <p:nvSpPr>
            <p:cNvPr id="46" name="Freeform 298">
              <a:extLst>
                <a:ext uri="{FF2B5EF4-FFF2-40B4-BE49-F238E27FC236}">
                  <a16:creationId xmlns:a16="http://schemas.microsoft.com/office/drawing/2014/main" id="{FB6FC52A-50E1-3A45-B893-3544FB0D89E3}"/>
                </a:ext>
              </a:extLst>
            </p:cNvPr>
            <p:cNvSpPr/>
            <p:nvPr/>
          </p:nvSpPr>
          <p:spPr>
            <a:xfrm>
              <a:off x="6503226" y="3780845"/>
              <a:ext cx="152135" cy="182562"/>
            </a:xfrm>
            <a:custGeom>
              <a:avLst/>
              <a:gdLst>
                <a:gd name="connsiteX0" fmla="*/ 30427 w 152135"/>
                <a:gd name="connsiteY0" fmla="*/ 45641 h 182562"/>
                <a:gd name="connsiteX1" fmla="*/ 30427 w 152135"/>
                <a:gd name="connsiteY1" fmla="*/ 76068 h 182562"/>
                <a:gd name="connsiteX2" fmla="*/ 15214 w 152135"/>
                <a:gd name="connsiteY2" fmla="*/ 76068 h 182562"/>
                <a:gd name="connsiteX3" fmla="*/ 0 w 152135"/>
                <a:gd name="connsiteY3" fmla="*/ 91281 h 182562"/>
                <a:gd name="connsiteX4" fmla="*/ 0 w 152135"/>
                <a:gd name="connsiteY4" fmla="*/ 167349 h 182562"/>
                <a:gd name="connsiteX5" fmla="*/ 15214 w 152135"/>
                <a:gd name="connsiteY5" fmla="*/ 182563 h 182562"/>
                <a:gd name="connsiteX6" fmla="*/ 136922 w 152135"/>
                <a:gd name="connsiteY6" fmla="*/ 182563 h 182562"/>
                <a:gd name="connsiteX7" fmla="*/ 152135 w 152135"/>
                <a:gd name="connsiteY7" fmla="*/ 167349 h 182562"/>
                <a:gd name="connsiteX8" fmla="*/ 152135 w 152135"/>
                <a:gd name="connsiteY8" fmla="*/ 91281 h 182562"/>
                <a:gd name="connsiteX9" fmla="*/ 136922 w 152135"/>
                <a:gd name="connsiteY9" fmla="*/ 76068 h 182562"/>
                <a:gd name="connsiteX10" fmla="*/ 121708 w 152135"/>
                <a:gd name="connsiteY10" fmla="*/ 76068 h 182562"/>
                <a:gd name="connsiteX11" fmla="*/ 121708 w 152135"/>
                <a:gd name="connsiteY11" fmla="*/ 45641 h 182562"/>
                <a:gd name="connsiteX12" fmla="*/ 76068 w 152135"/>
                <a:gd name="connsiteY12" fmla="*/ 0 h 182562"/>
                <a:gd name="connsiteX13" fmla="*/ 30427 w 152135"/>
                <a:gd name="connsiteY13" fmla="*/ 45641 h 182562"/>
                <a:gd name="connsiteX14" fmla="*/ 121708 w 152135"/>
                <a:gd name="connsiteY14" fmla="*/ 106495 h 182562"/>
                <a:gd name="connsiteX15" fmla="*/ 121708 w 152135"/>
                <a:gd name="connsiteY15" fmla="*/ 152135 h 182562"/>
                <a:gd name="connsiteX16" fmla="*/ 30427 w 152135"/>
                <a:gd name="connsiteY16" fmla="*/ 152135 h 182562"/>
                <a:gd name="connsiteX17" fmla="*/ 30427 w 152135"/>
                <a:gd name="connsiteY17" fmla="*/ 106495 h 182562"/>
                <a:gd name="connsiteX18" fmla="*/ 121708 w 152135"/>
                <a:gd name="connsiteY18" fmla="*/ 106495 h 182562"/>
                <a:gd name="connsiteX19" fmla="*/ 91281 w 152135"/>
                <a:gd name="connsiteY19" fmla="*/ 45641 h 182562"/>
                <a:gd name="connsiteX20" fmla="*/ 91281 w 152135"/>
                <a:gd name="connsiteY20" fmla="*/ 76068 h 182562"/>
                <a:gd name="connsiteX21" fmla="*/ 60854 w 152135"/>
                <a:gd name="connsiteY21" fmla="*/ 76068 h 182562"/>
                <a:gd name="connsiteX22" fmla="*/ 60854 w 152135"/>
                <a:gd name="connsiteY22" fmla="*/ 45641 h 182562"/>
                <a:gd name="connsiteX23" fmla="*/ 76068 w 152135"/>
                <a:gd name="connsiteY23" fmla="*/ 30427 h 182562"/>
                <a:gd name="connsiteX24" fmla="*/ 91281 w 152135"/>
                <a:gd name="connsiteY24" fmla="*/ 45641 h 18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2135" h="182562">
                  <a:moveTo>
                    <a:pt x="30427" y="45641"/>
                  </a:moveTo>
                  <a:lnTo>
                    <a:pt x="30427" y="76068"/>
                  </a:lnTo>
                  <a:lnTo>
                    <a:pt x="15214" y="76068"/>
                  </a:lnTo>
                  <a:cubicBezTo>
                    <a:pt x="6085" y="76068"/>
                    <a:pt x="0" y="82153"/>
                    <a:pt x="0" y="91281"/>
                  </a:cubicBezTo>
                  <a:lnTo>
                    <a:pt x="0" y="167349"/>
                  </a:lnTo>
                  <a:cubicBezTo>
                    <a:pt x="0" y="176477"/>
                    <a:pt x="6085" y="182563"/>
                    <a:pt x="15214" y="182563"/>
                  </a:cubicBezTo>
                  <a:lnTo>
                    <a:pt x="136922" y="182563"/>
                  </a:lnTo>
                  <a:cubicBezTo>
                    <a:pt x="146050" y="182563"/>
                    <a:pt x="152135" y="176477"/>
                    <a:pt x="152135" y="167349"/>
                  </a:cubicBezTo>
                  <a:lnTo>
                    <a:pt x="152135" y="91281"/>
                  </a:lnTo>
                  <a:cubicBezTo>
                    <a:pt x="152135" y="82153"/>
                    <a:pt x="146050" y="76068"/>
                    <a:pt x="136922" y="76068"/>
                  </a:cubicBezTo>
                  <a:lnTo>
                    <a:pt x="121708" y="76068"/>
                  </a:lnTo>
                  <a:lnTo>
                    <a:pt x="121708" y="45641"/>
                  </a:lnTo>
                  <a:cubicBezTo>
                    <a:pt x="121708" y="19778"/>
                    <a:pt x="101931" y="0"/>
                    <a:pt x="76068" y="0"/>
                  </a:cubicBezTo>
                  <a:cubicBezTo>
                    <a:pt x="50205" y="0"/>
                    <a:pt x="30427" y="19778"/>
                    <a:pt x="30427" y="45641"/>
                  </a:cubicBezTo>
                  <a:close/>
                  <a:moveTo>
                    <a:pt x="121708" y="106495"/>
                  </a:moveTo>
                  <a:lnTo>
                    <a:pt x="121708" y="152135"/>
                  </a:lnTo>
                  <a:lnTo>
                    <a:pt x="30427" y="152135"/>
                  </a:lnTo>
                  <a:lnTo>
                    <a:pt x="30427" y="106495"/>
                  </a:lnTo>
                  <a:lnTo>
                    <a:pt x="121708" y="106495"/>
                  </a:lnTo>
                  <a:close/>
                  <a:moveTo>
                    <a:pt x="91281" y="45641"/>
                  </a:moveTo>
                  <a:lnTo>
                    <a:pt x="91281" y="76068"/>
                  </a:lnTo>
                  <a:lnTo>
                    <a:pt x="60854" y="76068"/>
                  </a:lnTo>
                  <a:lnTo>
                    <a:pt x="60854" y="45641"/>
                  </a:lnTo>
                  <a:cubicBezTo>
                    <a:pt x="60854" y="36512"/>
                    <a:pt x="66940" y="30427"/>
                    <a:pt x="76068" y="30427"/>
                  </a:cubicBezTo>
                  <a:cubicBezTo>
                    <a:pt x="85196" y="30427"/>
                    <a:pt x="91281" y="36512"/>
                    <a:pt x="91281" y="45641"/>
                  </a:cubicBez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sp>
          <p:nvSpPr>
            <p:cNvPr id="47" name="Freeform 299">
              <a:extLst>
                <a:ext uri="{FF2B5EF4-FFF2-40B4-BE49-F238E27FC236}">
                  <a16:creationId xmlns:a16="http://schemas.microsoft.com/office/drawing/2014/main" id="{88843BE1-792A-4D45-AC7A-16CB68B5ECEA}"/>
                </a:ext>
              </a:extLst>
            </p:cNvPr>
            <p:cNvSpPr/>
            <p:nvPr/>
          </p:nvSpPr>
          <p:spPr>
            <a:xfrm>
              <a:off x="6427159" y="3704777"/>
              <a:ext cx="304270" cy="349911"/>
            </a:xfrm>
            <a:custGeom>
              <a:avLst/>
              <a:gdLst>
                <a:gd name="connsiteX0" fmla="*/ 292100 w 304270"/>
                <a:gd name="connsiteY0" fmla="*/ 30427 h 349911"/>
                <a:gd name="connsiteX1" fmla="*/ 155178 w 304270"/>
                <a:gd name="connsiteY1" fmla="*/ 0 h 349911"/>
                <a:gd name="connsiteX2" fmla="*/ 149093 w 304270"/>
                <a:gd name="connsiteY2" fmla="*/ 0 h 349911"/>
                <a:gd name="connsiteX3" fmla="*/ 12171 w 304270"/>
                <a:gd name="connsiteY3" fmla="*/ 30427 h 349911"/>
                <a:gd name="connsiteX4" fmla="*/ 0 w 304270"/>
                <a:gd name="connsiteY4" fmla="*/ 45641 h 349911"/>
                <a:gd name="connsiteX5" fmla="*/ 0 w 304270"/>
                <a:gd name="connsiteY5" fmla="*/ 197776 h 349911"/>
                <a:gd name="connsiteX6" fmla="*/ 152135 w 304270"/>
                <a:gd name="connsiteY6" fmla="*/ 349911 h 349911"/>
                <a:gd name="connsiteX7" fmla="*/ 304271 w 304270"/>
                <a:gd name="connsiteY7" fmla="*/ 197776 h 349911"/>
                <a:gd name="connsiteX8" fmla="*/ 304271 w 304270"/>
                <a:gd name="connsiteY8" fmla="*/ 45641 h 349911"/>
                <a:gd name="connsiteX9" fmla="*/ 292100 w 304270"/>
                <a:gd name="connsiteY9" fmla="*/ 30427 h 349911"/>
                <a:gd name="connsiteX10" fmla="*/ 273844 w 304270"/>
                <a:gd name="connsiteY10" fmla="*/ 197776 h 349911"/>
                <a:gd name="connsiteX11" fmla="*/ 152135 w 304270"/>
                <a:gd name="connsiteY11" fmla="*/ 319484 h 349911"/>
                <a:gd name="connsiteX12" fmla="*/ 30427 w 304270"/>
                <a:gd name="connsiteY12" fmla="*/ 197776 h 349911"/>
                <a:gd name="connsiteX13" fmla="*/ 30427 w 304270"/>
                <a:gd name="connsiteY13" fmla="*/ 57811 h 349911"/>
                <a:gd name="connsiteX14" fmla="*/ 152135 w 304270"/>
                <a:gd name="connsiteY14" fmla="*/ 30427 h 349911"/>
                <a:gd name="connsiteX15" fmla="*/ 273844 w 304270"/>
                <a:gd name="connsiteY15" fmla="*/ 57811 h 349911"/>
                <a:gd name="connsiteX16" fmla="*/ 273844 w 304270"/>
                <a:gd name="connsiteY16" fmla="*/ 197776 h 349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4270" h="349911">
                  <a:moveTo>
                    <a:pt x="292100" y="30427"/>
                  </a:moveTo>
                  <a:lnTo>
                    <a:pt x="155178" y="0"/>
                  </a:lnTo>
                  <a:cubicBezTo>
                    <a:pt x="153657" y="0"/>
                    <a:pt x="150614" y="0"/>
                    <a:pt x="149093" y="0"/>
                  </a:cubicBezTo>
                  <a:lnTo>
                    <a:pt x="12171" y="30427"/>
                  </a:lnTo>
                  <a:cubicBezTo>
                    <a:pt x="4564" y="31948"/>
                    <a:pt x="0" y="38034"/>
                    <a:pt x="0" y="45641"/>
                  </a:cubicBezTo>
                  <a:lnTo>
                    <a:pt x="0" y="197776"/>
                  </a:lnTo>
                  <a:cubicBezTo>
                    <a:pt x="0" y="281451"/>
                    <a:pt x="68461" y="349911"/>
                    <a:pt x="152135" y="349911"/>
                  </a:cubicBezTo>
                  <a:cubicBezTo>
                    <a:pt x="235810" y="349911"/>
                    <a:pt x="304271" y="281451"/>
                    <a:pt x="304271" y="197776"/>
                  </a:cubicBezTo>
                  <a:lnTo>
                    <a:pt x="304271" y="45641"/>
                  </a:lnTo>
                  <a:cubicBezTo>
                    <a:pt x="304271" y="38034"/>
                    <a:pt x="299707" y="31948"/>
                    <a:pt x="292100" y="30427"/>
                  </a:cubicBezTo>
                  <a:close/>
                  <a:moveTo>
                    <a:pt x="273844" y="197776"/>
                  </a:moveTo>
                  <a:cubicBezTo>
                    <a:pt x="273844" y="264716"/>
                    <a:pt x="219075" y="319484"/>
                    <a:pt x="152135" y="319484"/>
                  </a:cubicBezTo>
                  <a:cubicBezTo>
                    <a:pt x="85196" y="319484"/>
                    <a:pt x="30427" y="264716"/>
                    <a:pt x="30427" y="197776"/>
                  </a:cubicBezTo>
                  <a:lnTo>
                    <a:pt x="30427" y="57811"/>
                  </a:lnTo>
                  <a:lnTo>
                    <a:pt x="152135" y="30427"/>
                  </a:lnTo>
                  <a:lnTo>
                    <a:pt x="273844" y="57811"/>
                  </a:lnTo>
                  <a:lnTo>
                    <a:pt x="273844" y="197776"/>
                  </a:ln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grpSp>
      <p:grpSp>
        <p:nvGrpSpPr>
          <p:cNvPr id="51" name="Graphic 2302">
            <a:extLst>
              <a:ext uri="{FF2B5EF4-FFF2-40B4-BE49-F238E27FC236}">
                <a16:creationId xmlns:a16="http://schemas.microsoft.com/office/drawing/2014/main" id="{CC2F4CE3-2B20-234D-97A9-989CFCB4F46E}"/>
              </a:ext>
            </a:extLst>
          </p:cNvPr>
          <p:cNvGrpSpPr/>
          <p:nvPr/>
        </p:nvGrpSpPr>
        <p:grpSpPr>
          <a:xfrm>
            <a:off x="6301890" y="3865971"/>
            <a:ext cx="616624" cy="573167"/>
            <a:chOff x="7361048" y="3678935"/>
            <a:chExt cx="366646" cy="351432"/>
          </a:xfrm>
          <a:solidFill>
            <a:schemeClr val="accent1"/>
          </a:solidFill>
        </p:grpSpPr>
        <p:sp>
          <p:nvSpPr>
            <p:cNvPr id="52" name="Freeform 443">
              <a:extLst>
                <a:ext uri="{FF2B5EF4-FFF2-40B4-BE49-F238E27FC236}">
                  <a16:creationId xmlns:a16="http://schemas.microsoft.com/office/drawing/2014/main" id="{23C37533-81DC-D343-9E14-20846005776B}"/>
                </a:ext>
              </a:extLst>
            </p:cNvPr>
            <p:cNvSpPr/>
            <p:nvPr/>
          </p:nvSpPr>
          <p:spPr>
            <a:xfrm>
              <a:off x="7361048" y="3678935"/>
              <a:ext cx="366646" cy="351432"/>
            </a:xfrm>
            <a:custGeom>
              <a:avLst/>
              <a:gdLst>
                <a:gd name="connsiteX0" fmla="*/ 349911 w 366646"/>
                <a:gd name="connsiteY0" fmla="*/ 30427 h 351432"/>
                <a:gd name="connsiteX1" fmla="*/ 243417 w 366646"/>
                <a:gd name="connsiteY1" fmla="*/ 30427 h 351432"/>
                <a:gd name="connsiteX2" fmla="*/ 243417 w 366646"/>
                <a:gd name="connsiteY2" fmla="*/ 15214 h 351432"/>
                <a:gd name="connsiteX3" fmla="*/ 228203 w 366646"/>
                <a:gd name="connsiteY3" fmla="*/ 0 h 351432"/>
                <a:gd name="connsiteX4" fmla="*/ 136922 w 366646"/>
                <a:gd name="connsiteY4" fmla="*/ 0 h 351432"/>
                <a:gd name="connsiteX5" fmla="*/ 121708 w 366646"/>
                <a:gd name="connsiteY5" fmla="*/ 15214 h 351432"/>
                <a:gd name="connsiteX6" fmla="*/ 121708 w 366646"/>
                <a:gd name="connsiteY6" fmla="*/ 30427 h 351432"/>
                <a:gd name="connsiteX7" fmla="*/ 15214 w 366646"/>
                <a:gd name="connsiteY7" fmla="*/ 30427 h 351432"/>
                <a:gd name="connsiteX8" fmla="*/ 0 w 366646"/>
                <a:gd name="connsiteY8" fmla="*/ 45641 h 351432"/>
                <a:gd name="connsiteX9" fmla="*/ 0 w 366646"/>
                <a:gd name="connsiteY9" fmla="*/ 319484 h 351432"/>
                <a:gd name="connsiteX10" fmla="*/ 6085 w 366646"/>
                <a:gd name="connsiteY10" fmla="*/ 331655 h 351432"/>
                <a:gd name="connsiteX11" fmla="*/ 19778 w 366646"/>
                <a:gd name="connsiteY11" fmla="*/ 334698 h 351432"/>
                <a:gd name="connsiteX12" fmla="*/ 121708 w 366646"/>
                <a:gd name="connsiteY12" fmla="*/ 305792 h 351432"/>
                <a:gd name="connsiteX13" fmla="*/ 238853 w 366646"/>
                <a:gd name="connsiteY13" fmla="*/ 349911 h 351432"/>
                <a:gd name="connsiteX14" fmla="*/ 244938 w 366646"/>
                <a:gd name="connsiteY14" fmla="*/ 351433 h 351432"/>
                <a:gd name="connsiteX15" fmla="*/ 246459 w 366646"/>
                <a:gd name="connsiteY15" fmla="*/ 351433 h 351432"/>
                <a:gd name="connsiteX16" fmla="*/ 352954 w 366646"/>
                <a:gd name="connsiteY16" fmla="*/ 336219 h 351432"/>
                <a:gd name="connsiteX17" fmla="*/ 366646 w 366646"/>
                <a:gd name="connsiteY17" fmla="*/ 321006 h 351432"/>
                <a:gd name="connsiteX18" fmla="*/ 366646 w 366646"/>
                <a:gd name="connsiteY18" fmla="*/ 45641 h 351432"/>
                <a:gd name="connsiteX19" fmla="*/ 349911 w 366646"/>
                <a:gd name="connsiteY19" fmla="*/ 30427 h 351432"/>
                <a:gd name="connsiteX20" fmla="*/ 152135 w 366646"/>
                <a:gd name="connsiteY20" fmla="*/ 30427 h 351432"/>
                <a:gd name="connsiteX21" fmla="*/ 212990 w 366646"/>
                <a:gd name="connsiteY21" fmla="*/ 30427 h 351432"/>
                <a:gd name="connsiteX22" fmla="*/ 212990 w 366646"/>
                <a:gd name="connsiteY22" fmla="*/ 60854 h 351432"/>
                <a:gd name="connsiteX23" fmla="*/ 152135 w 366646"/>
                <a:gd name="connsiteY23" fmla="*/ 60854 h 351432"/>
                <a:gd name="connsiteX24" fmla="*/ 152135 w 366646"/>
                <a:gd name="connsiteY24" fmla="*/ 30427 h 351432"/>
                <a:gd name="connsiteX25" fmla="*/ 334698 w 366646"/>
                <a:gd name="connsiteY25" fmla="*/ 305792 h 351432"/>
                <a:gd name="connsiteX26" fmla="*/ 244938 w 366646"/>
                <a:gd name="connsiteY26" fmla="*/ 319484 h 351432"/>
                <a:gd name="connsiteX27" fmla="*/ 126272 w 366646"/>
                <a:gd name="connsiteY27" fmla="*/ 275365 h 351432"/>
                <a:gd name="connsiteX28" fmla="*/ 117144 w 366646"/>
                <a:gd name="connsiteY28" fmla="*/ 273844 h 351432"/>
                <a:gd name="connsiteX29" fmla="*/ 30427 w 366646"/>
                <a:gd name="connsiteY29" fmla="*/ 299707 h 351432"/>
                <a:gd name="connsiteX30" fmla="*/ 30427 w 366646"/>
                <a:gd name="connsiteY30" fmla="*/ 60854 h 351432"/>
                <a:gd name="connsiteX31" fmla="*/ 121708 w 366646"/>
                <a:gd name="connsiteY31" fmla="*/ 60854 h 351432"/>
                <a:gd name="connsiteX32" fmla="*/ 121708 w 366646"/>
                <a:gd name="connsiteY32" fmla="*/ 76068 h 351432"/>
                <a:gd name="connsiteX33" fmla="*/ 136922 w 366646"/>
                <a:gd name="connsiteY33" fmla="*/ 91281 h 351432"/>
                <a:gd name="connsiteX34" fmla="*/ 228203 w 366646"/>
                <a:gd name="connsiteY34" fmla="*/ 91281 h 351432"/>
                <a:gd name="connsiteX35" fmla="*/ 243417 w 366646"/>
                <a:gd name="connsiteY35" fmla="*/ 76068 h 351432"/>
                <a:gd name="connsiteX36" fmla="*/ 243417 w 366646"/>
                <a:gd name="connsiteY36" fmla="*/ 60854 h 351432"/>
                <a:gd name="connsiteX37" fmla="*/ 334698 w 366646"/>
                <a:gd name="connsiteY37" fmla="*/ 60854 h 351432"/>
                <a:gd name="connsiteX38" fmla="*/ 334698 w 366646"/>
                <a:gd name="connsiteY38" fmla="*/ 305792 h 35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66646" h="351432">
                  <a:moveTo>
                    <a:pt x="349911" y="30427"/>
                  </a:moveTo>
                  <a:lnTo>
                    <a:pt x="243417" y="30427"/>
                  </a:lnTo>
                  <a:lnTo>
                    <a:pt x="243417" y="15214"/>
                  </a:lnTo>
                  <a:cubicBezTo>
                    <a:pt x="243417" y="6085"/>
                    <a:pt x="237331" y="0"/>
                    <a:pt x="228203" y="0"/>
                  </a:cubicBezTo>
                  <a:lnTo>
                    <a:pt x="136922" y="0"/>
                  </a:lnTo>
                  <a:cubicBezTo>
                    <a:pt x="127794" y="0"/>
                    <a:pt x="121708" y="6085"/>
                    <a:pt x="121708" y="15214"/>
                  </a:cubicBezTo>
                  <a:lnTo>
                    <a:pt x="121708" y="30427"/>
                  </a:lnTo>
                  <a:lnTo>
                    <a:pt x="15214" y="30427"/>
                  </a:lnTo>
                  <a:cubicBezTo>
                    <a:pt x="6085" y="30427"/>
                    <a:pt x="0" y="36513"/>
                    <a:pt x="0" y="45641"/>
                  </a:cubicBezTo>
                  <a:lnTo>
                    <a:pt x="0" y="319484"/>
                  </a:lnTo>
                  <a:cubicBezTo>
                    <a:pt x="0" y="324048"/>
                    <a:pt x="1521" y="328613"/>
                    <a:pt x="6085" y="331655"/>
                  </a:cubicBezTo>
                  <a:cubicBezTo>
                    <a:pt x="9128" y="334698"/>
                    <a:pt x="15214" y="334698"/>
                    <a:pt x="19778" y="334698"/>
                  </a:cubicBezTo>
                  <a:lnTo>
                    <a:pt x="121708" y="305792"/>
                  </a:lnTo>
                  <a:lnTo>
                    <a:pt x="238853" y="349911"/>
                  </a:lnTo>
                  <a:cubicBezTo>
                    <a:pt x="240374" y="349911"/>
                    <a:pt x="241895" y="351433"/>
                    <a:pt x="244938" y="351433"/>
                  </a:cubicBezTo>
                  <a:cubicBezTo>
                    <a:pt x="244938" y="351433"/>
                    <a:pt x="246459" y="351433"/>
                    <a:pt x="246459" y="351433"/>
                  </a:cubicBezTo>
                  <a:lnTo>
                    <a:pt x="352954" y="336219"/>
                  </a:lnTo>
                  <a:cubicBezTo>
                    <a:pt x="360561" y="334698"/>
                    <a:pt x="366646" y="328613"/>
                    <a:pt x="366646" y="321006"/>
                  </a:cubicBezTo>
                  <a:lnTo>
                    <a:pt x="366646" y="45641"/>
                  </a:lnTo>
                  <a:cubicBezTo>
                    <a:pt x="365125" y="36513"/>
                    <a:pt x="359040" y="30427"/>
                    <a:pt x="349911" y="30427"/>
                  </a:cubicBezTo>
                  <a:close/>
                  <a:moveTo>
                    <a:pt x="152135" y="30427"/>
                  </a:moveTo>
                  <a:lnTo>
                    <a:pt x="212990" y="30427"/>
                  </a:lnTo>
                  <a:lnTo>
                    <a:pt x="212990" y="60854"/>
                  </a:lnTo>
                  <a:lnTo>
                    <a:pt x="152135" y="60854"/>
                  </a:lnTo>
                  <a:lnTo>
                    <a:pt x="152135" y="30427"/>
                  </a:lnTo>
                  <a:close/>
                  <a:moveTo>
                    <a:pt x="334698" y="305792"/>
                  </a:moveTo>
                  <a:lnTo>
                    <a:pt x="244938" y="319484"/>
                  </a:lnTo>
                  <a:lnTo>
                    <a:pt x="126272" y="275365"/>
                  </a:lnTo>
                  <a:cubicBezTo>
                    <a:pt x="124751" y="273844"/>
                    <a:pt x="120187" y="273844"/>
                    <a:pt x="117144" y="273844"/>
                  </a:cubicBezTo>
                  <a:lnTo>
                    <a:pt x="30427" y="299707"/>
                  </a:lnTo>
                  <a:lnTo>
                    <a:pt x="30427" y="60854"/>
                  </a:lnTo>
                  <a:lnTo>
                    <a:pt x="121708" y="60854"/>
                  </a:lnTo>
                  <a:lnTo>
                    <a:pt x="121708" y="76068"/>
                  </a:lnTo>
                  <a:cubicBezTo>
                    <a:pt x="121708" y="85196"/>
                    <a:pt x="127794" y="91281"/>
                    <a:pt x="136922" y="91281"/>
                  </a:cubicBezTo>
                  <a:lnTo>
                    <a:pt x="228203" y="91281"/>
                  </a:lnTo>
                  <a:cubicBezTo>
                    <a:pt x="237331" y="91281"/>
                    <a:pt x="243417" y="85196"/>
                    <a:pt x="243417" y="76068"/>
                  </a:cubicBezTo>
                  <a:lnTo>
                    <a:pt x="243417" y="60854"/>
                  </a:lnTo>
                  <a:lnTo>
                    <a:pt x="334698" y="60854"/>
                  </a:lnTo>
                  <a:lnTo>
                    <a:pt x="334698" y="305792"/>
                  </a:ln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sp>
          <p:nvSpPr>
            <p:cNvPr id="53" name="Freeform 444">
              <a:extLst>
                <a:ext uri="{FF2B5EF4-FFF2-40B4-BE49-F238E27FC236}">
                  <a16:creationId xmlns:a16="http://schemas.microsoft.com/office/drawing/2014/main" id="{EA98C804-6010-B742-A847-5EEF183ED19D}"/>
                </a:ext>
              </a:extLst>
            </p:cNvPr>
            <p:cNvSpPr/>
            <p:nvPr/>
          </p:nvSpPr>
          <p:spPr>
            <a:xfrm>
              <a:off x="7437115" y="3815856"/>
              <a:ext cx="60854" cy="91281"/>
            </a:xfrm>
            <a:custGeom>
              <a:avLst/>
              <a:gdLst>
                <a:gd name="connsiteX0" fmla="*/ 56290 w 60854"/>
                <a:gd name="connsiteY0" fmla="*/ 4564 h 91281"/>
                <a:gd name="connsiteX1" fmla="*/ 34991 w 60854"/>
                <a:gd name="connsiteY1" fmla="*/ 4564 h 91281"/>
                <a:gd name="connsiteX2" fmla="*/ 4564 w 60854"/>
                <a:gd name="connsiteY2" fmla="*/ 34991 h 91281"/>
                <a:gd name="connsiteX3" fmla="*/ 4564 w 60854"/>
                <a:gd name="connsiteY3" fmla="*/ 56290 h 91281"/>
                <a:gd name="connsiteX4" fmla="*/ 34991 w 60854"/>
                <a:gd name="connsiteY4" fmla="*/ 86717 h 91281"/>
                <a:gd name="connsiteX5" fmla="*/ 45641 w 60854"/>
                <a:gd name="connsiteY5" fmla="*/ 91281 h 91281"/>
                <a:gd name="connsiteX6" fmla="*/ 56290 w 60854"/>
                <a:gd name="connsiteY6" fmla="*/ 86717 h 91281"/>
                <a:gd name="connsiteX7" fmla="*/ 56290 w 60854"/>
                <a:gd name="connsiteY7" fmla="*/ 65418 h 91281"/>
                <a:gd name="connsiteX8" fmla="*/ 36513 w 60854"/>
                <a:gd name="connsiteY8" fmla="*/ 45641 h 91281"/>
                <a:gd name="connsiteX9" fmla="*/ 56290 w 60854"/>
                <a:gd name="connsiteY9" fmla="*/ 25863 h 91281"/>
                <a:gd name="connsiteX10" fmla="*/ 56290 w 60854"/>
                <a:gd name="connsiteY10" fmla="*/ 4564 h 9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854" h="91281">
                  <a:moveTo>
                    <a:pt x="56290" y="4564"/>
                  </a:moveTo>
                  <a:cubicBezTo>
                    <a:pt x="50205" y="-1521"/>
                    <a:pt x="41077" y="-1521"/>
                    <a:pt x="34991" y="4564"/>
                  </a:cubicBezTo>
                  <a:lnTo>
                    <a:pt x="4564" y="34991"/>
                  </a:lnTo>
                  <a:cubicBezTo>
                    <a:pt x="-1521" y="41077"/>
                    <a:pt x="-1521" y="50205"/>
                    <a:pt x="4564" y="56290"/>
                  </a:cubicBezTo>
                  <a:lnTo>
                    <a:pt x="34991" y="86717"/>
                  </a:lnTo>
                  <a:cubicBezTo>
                    <a:pt x="38034" y="89760"/>
                    <a:pt x="41077" y="91281"/>
                    <a:pt x="45641" y="91281"/>
                  </a:cubicBezTo>
                  <a:cubicBezTo>
                    <a:pt x="50205" y="91281"/>
                    <a:pt x="53247" y="89760"/>
                    <a:pt x="56290" y="86717"/>
                  </a:cubicBezTo>
                  <a:cubicBezTo>
                    <a:pt x="62376" y="80632"/>
                    <a:pt x="62376" y="71504"/>
                    <a:pt x="56290" y="65418"/>
                  </a:cubicBezTo>
                  <a:lnTo>
                    <a:pt x="36513" y="45641"/>
                  </a:lnTo>
                  <a:lnTo>
                    <a:pt x="56290" y="25863"/>
                  </a:lnTo>
                  <a:cubicBezTo>
                    <a:pt x="62376" y="19778"/>
                    <a:pt x="62376" y="10649"/>
                    <a:pt x="56290" y="4564"/>
                  </a:cubicBez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sp>
          <p:nvSpPr>
            <p:cNvPr id="54" name="Freeform 445">
              <a:extLst>
                <a:ext uri="{FF2B5EF4-FFF2-40B4-BE49-F238E27FC236}">
                  <a16:creationId xmlns:a16="http://schemas.microsoft.com/office/drawing/2014/main" id="{788793BE-BEDB-2246-9E7E-8681957A78B9}"/>
                </a:ext>
              </a:extLst>
            </p:cNvPr>
            <p:cNvSpPr/>
            <p:nvPr/>
          </p:nvSpPr>
          <p:spPr>
            <a:xfrm>
              <a:off x="7589251" y="3815856"/>
              <a:ext cx="60854" cy="91281"/>
            </a:xfrm>
            <a:custGeom>
              <a:avLst/>
              <a:gdLst>
                <a:gd name="connsiteX0" fmla="*/ 4564 w 60854"/>
                <a:gd name="connsiteY0" fmla="*/ 4564 h 91281"/>
                <a:gd name="connsiteX1" fmla="*/ 4564 w 60854"/>
                <a:gd name="connsiteY1" fmla="*/ 25863 h 91281"/>
                <a:gd name="connsiteX2" fmla="*/ 24342 w 60854"/>
                <a:gd name="connsiteY2" fmla="*/ 45641 h 91281"/>
                <a:gd name="connsiteX3" fmla="*/ 4564 w 60854"/>
                <a:gd name="connsiteY3" fmla="*/ 65418 h 91281"/>
                <a:gd name="connsiteX4" fmla="*/ 4564 w 60854"/>
                <a:gd name="connsiteY4" fmla="*/ 86717 h 91281"/>
                <a:gd name="connsiteX5" fmla="*/ 15214 w 60854"/>
                <a:gd name="connsiteY5" fmla="*/ 91281 h 91281"/>
                <a:gd name="connsiteX6" fmla="*/ 25863 w 60854"/>
                <a:gd name="connsiteY6" fmla="*/ 86717 h 91281"/>
                <a:gd name="connsiteX7" fmla="*/ 56290 w 60854"/>
                <a:gd name="connsiteY7" fmla="*/ 56290 h 91281"/>
                <a:gd name="connsiteX8" fmla="*/ 56290 w 60854"/>
                <a:gd name="connsiteY8" fmla="*/ 34991 h 91281"/>
                <a:gd name="connsiteX9" fmla="*/ 25863 w 60854"/>
                <a:gd name="connsiteY9" fmla="*/ 4564 h 91281"/>
                <a:gd name="connsiteX10" fmla="*/ 4564 w 60854"/>
                <a:gd name="connsiteY10" fmla="*/ 4564 h 9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854" h="91281">
                  <a:moveTo>
                    <a:pt x="4564" y="4564"/>
                  </a:moveTo>
                  <a:cubicBezTo>
                    <a:pt x="-1521" y="10649"/>
                    <a:pt x="-1521" y="19778"/>
                    <a:pt x="4564" y="25863"/>
                  </a:cubicBezTo>
                  <a:lnTo>
                    <a:pt x="24342" y="45641"/>
                  </a:lnTo>
                  <a:lnTo>
                    <a:pt x="4564" y="65418"/>
                  </a:lnTo>
                  <a:cubicBezTo>
                    <a:pt x="-1521" y="71504"/>
                    <a:pt x="-1521" y="80632"/>
                    <a:pt x="4564" y="86717"/>
                  </a:cubicBezTo>
                  <a:cubicBezTo>
                    <a:pt x="7607" y="89760"/>
                    <a:pt x="12171" y="91281"/>
                    <a:pt x="15214" y="91281"/>
                  </a:cubicBezTo>
                  <a:cubicBezTo>
                    <a:pt x="18256" y="91281"/>
                    <a:pt x="22820" y="89760"/>
                    <a:pt x="25863" y="86717"/>
                  </a:cubicBezTo>
                  <a:lnTo>
                    <a:pt x="56290" y="56290"/>
                  </a:lnTo>
                  <a:cubicBezTo>
                    <a:pt x="62376" y="50205"/>
                    <a:pt x="62376" y="41077"/>
                    <a:pt x="56290" y="34991"/>
                  </a:cubicBezTo>
                  <a:lnTo>
                    <a:pt x="25863" y="4564"/>
                  </a:lnTo>
                  <a:cubicBezTo>
                    <a:pt x="19778" y="-1521"/>
                    <a:pt x="10649" y="-1521"/>
                    <a:pt x="4564" y="4564"/>
                  </a:cubicBez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sp>
          <p:nvSpPr>
            <p:cNvPr id="55" name="Freeform 446">
              <a:extLst>
                <a:ext uri="{FF2B5EF4-FFF2-40B4-BE49-F238E27FC236}">
                  <a16:creationId xmlns:a16="http://schemas.microsoft.com/office/drawing/2014/main" id="{408C2402-E48F-DA48-BBDC-03C22BAAAB76}"/>
                </a:ext>
              </a:extLst>
            </p:cNvPr>
            <p:cNvSpPr/>
            <p:nvPr/>
          </p:nvSpPr>
          <p:spPr>
            <a:xfrm>
              <a:off x="7512891" y="3785138"/>
              <a:ext cx="60563" cy="150905"/>
            </a:xfrm>
            <a:custGeom>
              <a:avLst/>
              <a:gdLst>
                <a:gd name="connsiteX0" fmla="*/ 48975 w 60563"/>
                <a:gd name="connsiteY0" fmla="*/ 291 h 150905"/>
                <a:gd name="connsiteX1" fmla="*/ 30719 w 60563"/>
                <a:gd name="connsiteY1" fmla="*/ 10941 h 150905"/>
                <a:gd name="connsiteX2" fmla="*/ 291 w 60563"/>
                <a:gd name="connsiteY2" fmla="*/ 132649 h 150905"/>
                <a:gd name="connsiteX3" fmla="*/ 10941 w 60563"/>
                <a:gd name="connsiteY3" fmla="*/ 150906 h 150905"/>
                <a:gd name="connsiteX4" fmla="*/ 13984 w 60563"/>
                <a:gd name="connsiteY4" fmla="*/ 150906 h 150905"/>
                <a:gd name="connsiteX5" fmla="*/ 29197 w 60563"/>
                <a:gd name="connsiteY5" fmla="*/ 138735 h 150905"/>
                <a:gd name="connsiteX6" fmla="*/ 59624 w 60563"/>
                <a:gd name="connsiteY6" fmla="*/ 17026 h 150905"/>
                <a:gd name="connsiteX7" fmla="*/ 48975 w 60563"/>
                <a:gd name="connsiteY7" fmla="*/ 291 h 150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563" h="150905">
                  <a:moveTo>
                    <a:pt x="48975" y="291"/>
                  </a:moveTo>
                  <a:cubicBezTo>
                    <a:pt x="41368" y="-1230"/>
                    <a:pt x="32240" y="3334"/>
                    <a:pt x="30719" y="10941"/>
                  </a:cubicBezTo>
                  <a:lnTo>
                    <a:pt x="291" y="132649"/>
                  </a:lnTo>
                  <a:cubicBezTo>
                    <a:pt x="-1230" y="140256"/>
                    <a:pt x="3334" y="149384"/>
                    <a:pt x="10941" y="150906"/>
                  </a:cubicBezTo>
                  <a:cubicBezTo>
                    <a:pt x="12462" y="150906"/>
                    <a:pt x="13984" y="150906"/>
                    <a:pt x="13984" y="150906"/>
                  </a:cubicBezTo>
                  <a:cubicBezTo>
                    <a:pt x="20069" y="150906"/>
                    <a:pt x="27676" y="146342"/>
                    <a:pt x="29197" y="138735"/>
                  </a:cubicBezTo>
                  <a:lnTo>
                    <a:pt x="59624" y="17026"/>
                  </a:lnTo>
                  <a:cubicBezTo>
                    <a:pt x="62667" y="10941"/>
                    <a:pt x="58103" y="3334"/>
                    <a:pt x="48975" y="291"/>
                  </a:cubicBez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grpSp>
      <p:grpSp>
        <p:nvGrpSpPr>
          <p:cNvPr id="56" name="Graphic 2458">
            <a:extLst>
              <a:ext uri="{FF2B5EF4-FFF2-40B4-BE49-F238E27FC236}">
                <a16:creationId xmlns:a16="http://schemas.microsoft.com/office/drawing/2014/main" id="{59BD4D41-8BB2-4F49-995C-88C5056675F6}"/>
              </a:ext>
            </a:extLst>
          </p:cNvPr>
          <p:cNvGrpSpPr/>
          <p:nvPr/>
        </p:nvGrpSpPr>
        <p:grpSpPr>
          <a:xfrm>
            <a:off x="610174" y="3944623"/>
            <a:ext cx="599950" cy="519169"/>
            <a:chOff x="664400" y="5570761"/>
            <a:chExt cx="365125" cy="365125"/>
          </a:xfrm>
          <a:solidFill>
            <a:schemeClr val="accent1"/>
          </a:solidFill>
        </p:grpSpPr>
        <p:sp>
          <p:nvSpPr>
            <p:cNvPr id="57" name="Freeform 273">
              <a:extLst>
                <a:ext uri="{FF2B5EF4-FFF2-40B4-BE49-F238E27FC236}">
                  <a16:creationId xmlns:a16="http://schemas.microsoft.com/office/drawing/2014/main" id="{D5C03F05-890F-9D40-A008-4DC66D122DCA}"/>
                </a:ext>
              </a:extLst>
            </p:cNvPr>
            <p:cNvSpPr/>
            <p:nvPr/>
          </p:nvSpPr>
          <p:spPr>
            <a:xfrm>
              <a:off x="679613" y="5814177"/>
              <a:ext cx="106494" cy="106494"/>
            </a:xfrm>
            <a:custGeom>
              <a:avLst/>
              <a:gdLst>
                <a:gd name="connsiteX0" fmla="*/ 91281 w 106494"/>
                <a:gd name="connsiteY0" fmla="*/ 76068 h 106494"/>
                <a:gd name="connsiteX1" fmla="*/ 30427 w 106494"/>
                <a:gd name="connsiteY1" fmla="*/ 15214 h 106494"/>
                <a:gd name="connsiteX2" fmla="*/ 15214 w 106494"/>
                <a:gd name="connsiteY2" fmla="*/ 0 h 106494"/>
                <a:gd name="connsiteX3" fmla="*/ 0 w 106494"/>
                <a:gd name="connsiteY3" fmla="*/ 15214 h 106494"/>
                <a:gd name="connsiteX4" fmla="*/ 91281 w 106494"/>
                <a:gd name="connsiteY4" fmla="*/ 106495 h 106494"/>
                <a:gd name="connsiteX5" fmla="*/ 106495 w 106494"/>
                <a:gd name="connsiteY5" fmla="*/ 91281 h 106494"/>
                <a:gd name="connsiteX6" fmla="*/ 91281 w 106494"/>
                <a:gd name="connsiteY6" fmla="*/ 76068 h 106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494" h="106494">
                  <a:moveTo>
                    <a:pt x="91281" y="76068"/>
                  </a:moveTo>
                  <a:cubicBezTo>
                    <a:pt x="57811" y="76068"/>
                    <a:pt x="30427" y="48683"/>
                    <a:pt x="30427" y="15214"/>
                  </a:cubicBezTo>
                  <a:cubicBezTo>
                    <a:pt x="30427" y="6085"/>
                    <a:pt x="24342" y="0"/>
                    <a:pt x="15214" y="0"/>
                  </a:cubicBezTo>
                  <a:cubicBezTo>
                    <a:pt x="6085" y="0"/>
                    <a:pt x="0" y="6085"/>
                    <a:pt x="0" y="15214"/>
                  </a:cubicBezTo>
                  <a:cubicBezTo>
                    <a:pt x="0" y="66940"/>
                    <a:pt x="39555" y="106495"/>
                    <a:pt x="91281" y="106495"/>
                  </a:cubicBezTo>
                  <a:cubicBezTo>
                    <a:pt x="100409" y="106495"/>
                    <a:pt x="106495" y="100409"/>
                    <a:pt x="106495" y="91281"/>
                  </a:cubicBezTo>
                  <a:cubicBezTo>
                    <a:pt x="106495" y="82153"/>
                    <a:pt x="100409" y="76068"/>
                    <a:pt x="91281" y="76068"/>
                  </a:cubicBez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sp>
          <p:nvSpPr>
            <p:cNvPr id="58" name="Freeform 274">
              <a:extLst>
                <a:ext uri="{FF2B5EF4-FFF2-40B4-BE49-F238E27FC236}">
                  <a16:creationId xmlns:a16="http://schemas.microsoft.com/office/drawing/2014/main" id="{5C4F6181-9613-2C4C-A015-435E253C5B1C}"/>
                </a:ext>
              </a:extLst>
            </p:cNvPr>
            <p:cNvSpPr/>
            <p:nvPr/>
          </p:nvSpPr>
          <p:spPr>
            <a:xfrm>
              <a:off x="907816" y="5585974"/>
              <a:ext cx="106494" cy="106494"/>
            </a:xfrm>
            <a:custGeom>
              <a:avLst/>
              <a:gdLst>
                <a:gd name="connsiteX0" fmla="*/ 15214 w 106494"/>
                <a:gd name="connsiteY0" fmla="*/ 30427 h 106494"/>
                <a:gd name="connsiteX1" fmla="*/ 76068 w 106494"/>
                <a:gd name="connsiteY1" fmla="*/ 91281 h 106494"/>
                <a:gd name="connsiteX2" fmla="*/ 91281 w 106494"/>
                <a:gd name="connsiteY2" fmla="*/ 106495 h 106494"/>
                <a:gd name="connsiteX3" fmla="*/ 106495 w 106494"/>
                <a:gd name="connsiteY3" fmla="*/ 91281 h 106494"/>
                <a:gd name="connsiteX4" fmla="*/ 15214 w 106494"/>
                <a:gd name="connsiteY4" fmla="*/ 0 h 106494"/>
                <a:gd name="connsiteX5" fmla="*/ 0 w 106494"/>
                <a:gd name="connsiteY5" fmla="*/ 15214 h 106494"/>
                <a:gd name="connsiteX6" fmla="*/ 15214 w 106494"/>
                <a:gd name="connsiteY6" fmla="*/ 30427 h 106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494" h="106494">
                  <a:moveTo>
                    <a:pt x="15214" y="30427"/>
                  </a:moveTo>
                  <a:cubicBezTo>
                    <a:pt x="48683" y="30427"/>
                    <a:pt x="76068" y="57811"/>
                    <a:pt x="76068" y="91281"/>
                  </a:cubicBezTo>
                  <a:cubicBezTo>
                    <a:pt x="76068" y="100409"/>
                    <a:pt x="82153" y="106495"/>
                    <a:pt x="91281" y="106495"/>
                  </a:cubicBezTo>
                  <a:cubicBezTo>
                    <a:pt x="100409" y="106495"/>
                    <a:pt x="106495" y="100409"/>
                    <a:pt x="106495" y="91281"/>
                  </a:cubicBezTo>
                  <a:cubicBezTo>
                    <a:pt x="106495" y="39555"/>
                    <a:pt x="66940" y="0"/>
                    <a:pt x="15214" y="0"/>
                  </a:cubicBezTo>
                  <a:cubicBezTo>
                    <a:pt x="6085" y="0"/>
                    <a:pt x="0" y="6085"/>
                    <a:pt x="0" y="15214"/>
                  </a:cubicBezTo>
                  <a:cubicBezTo>
                    <a:pt x="0" y="24342"/>
                    <a:pt x="6085" y="30427"/>
                    <a:pt x="15214" y="30427"/>
                  </a:cubicBez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sp>
          <p:nvSpPr>
            <p:cNvPr id="59" name="Freeform 275">
              <a:extLst>
                <a:ext uri="{FF2B5EF4-FFF2-40B4-BE49-F238E27FC236}">
                  <a16:creationId xmlns:a16="http://schemas.microsoft.com/office/drawing/2014/main" id="{F53F4456-1541-F842-85E3-5F4F0BA548A1}"/>
                </a:ext>
              </a:extLst>
            </p:cNvPr>
            <p:cNvSpPr/>
            <p:nvPr/>
          </p:nvSpPr>
          <p:spPr>
            <a:xfrm>
              <a:off x="664400" y="5570761"/>
              <a:ext cx="212989" cy="212989"/>
            </a:xfrm>
            <a:custGeom>
              <a:avLst/>
              <a:gdLst>
                <a:gd name="connsiteX0" fmla="*/ 106495 w 212989"/>
                <a:gd name="connsiteY0" fmla="*/ 182563 h 212989"/>
                <a:gd name="connsiteX1" fmla="*/ 30427 w 212989"/>
                <a:gd name="connsiteY1" fmla="*/ 182563 h 212989"/>
                <a:gd name="connsiteX2" fmla="*/ 30427 w 212989"/>
                <a:gd name="connsiteY2" fmla="*/ 30427 h 212989"/>
                <a:gd name="connsiteX3" fmla="*/ 69982 w 212989"/>
                <a:gd name="connsiteY3" fmla="*/ 30427 h 212989"/>
                <a:gd name="connsiteX4" fmla="*/ 95845 w 212989"/>
                <a:gd name="connsiteY4" fmla="*/ 56290 h 212989"/>
                <a:gd name="connsiteX5" fmla="*/ 106495 w 212989"/>
                <a:gd name="connsiteY5" fmla="*/ 60854 h 212989"/>
                <a:gd name="connsiteX6" fmla="*/ 182563 w 212989"/>
                <a:gd name="connsiteY6" fmla="*/ 60854 h 212989"/>
                <a:gd name="connsiteX7" fmla="*/ 182563 w 212989"/>
                <a:gd name="connsiteY7" fmla="*/ 106495 h 212989"/>
                <a:gd name="connsiteX8" fmla="*/ 197776 w 212989"/>
                <a:gd name="connsiteY8" fmla="*/ 121708 h 212989"/>
                <a:gd name="connsiteX9" fmla="*/ 212990 w 212989"/>
                <a:gd name="connsiteY9" fmla="*/ 106495 h 212989"/>
                <a:gd name="connsiteX10" fmla="*/ 212990 w 212989"/>
                <a:gd name="connsiteY10" fmla="*/ 45641 h 212989"/>
                <a:gd name="connsiteX11" fmla="*/ 197776 w 212989"/>
                <a:gd name="connsiteY11" fmla="*/ 30427 h 212989"/>
                <a:gd name="connsiteX12" fmla="*/ 112580 w 212989"/>
                <a:gd name="connsiteY12" fmla="*/ 30427 h 212989"/>
                <a:gd name="connsiteX13" fmla="*/ 86717 w 212989"/>
                <a:gd name="connsiteY13" fmla="*/ 4564 h 212989"/>
                <a:gd name="connsiteX14" fmla="*/ 76068 w 212989"/>
                <a:gd name="connsiteY14" fmla="*/ 0 h 212989"/>
                <a:gd name="connsiteX15" fmla="*/ 15214 w 212989"/>
                <a:gd name="connsiteY15" fmla="*/ 0 h 212989"/>
                <a:gd name="connsiteX16" fmla="*/ 0 w 212989"/>
                <a:gd name="connsiteY16" fmla="*/ 15214 h 212989"/>
                <a:gd name="connsiteX17" fmla="*/ 0 w 212989"/>
                <a:gd name="connsiteY17" fmla="*/ 197776 h 212989"/>
                <a:gd name="connsiteX18" fmla="*/ 15214 w 212989"/>
                <a:gd name="connsiteY18" fmla="*/ 212990 h 212989"/>
                <a:gd name="connsiteX19" fmla="*/ 106495 w 212989"/>
                <a:gd name="connsiteY19" fmla="*/ 212990 h 212989"/>
                <a:gd name="connsiteX20" fmla="*/ 121708 w 212989"/>
                <a:gd name="connsiteY20" fmla="*/ 197776 h 212989"/>
                <a:gd name="connsiteX21" fmla="*/ 106495 w 212989"/>
                <a:gd name="connsiteY21" fmla="*/ 182563 h 21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2989" h="212989">
                  <a:moveTo>
                    <a:pt x="106495" y="182563"/>
                  </a:moveTo>
                  <a:lnTo>
                    <a:pt x="30427" y="182563"/>
                  </a:lnTo>
                  <a:lnTo>
                    <a:pt x="30427" y="30427"/>
                  </a:lnTo>
                  <a:lnTo>
                    <a:pt x="69982" y="30427"/>
                  </a:lnTo>
                  <a:lnTo>
                    <a:pt x="95845" y="56290"/>
                  </a:lnTo>
                  <a:cubicBezTo>
                    <a:pt x="98888" y="59333"/>
                    <a:pt x="101931" y="60854"/>
                    <a:pt x="106495" y="60854"/>
                  </a:cubicBezTo>
                  <a:lnTo>
                    <a:pt x="182563" y="60854"/>
                  </a:lnTo>
                  <a:lnTo>
                    <a:pt x="182563" y="106495"/>
                  </a:lnTo>
                  <a:cubicBezTo>
                    <a:pt x="182563" y="115623"/>
                    <a:pt x="188648" y="121708"/>
                    <a:pt x="197776" y="121708"/>
                  </a:cubicBezTo>
                  <a:cubicBezTo>
                    <a:pt x="206904" y="121708"/>
                    <a:pt x="212990" y="115623"/>
                    <a:pt x="212990" y="106495"/>
                  </a:cubicBezTo>
                  <a:lnTo>
                    <a:pt x="212990" y="45641"/>
                  </a:lnTo>
                  <a:cubicBezTo>
                    <a:pt x="212990" y="36513"/>
                    <a:pt x="206904" y="30427"/>
                    <a:pt x="197776" y="30427"/>
                  </a:cubicBezTo>
                  <a:lnTo>
                    <a:pt x="112580" y="30427"/>
                  </a:lnTo>
                  <a:lnTo>
                    <a:pt x="86717" y="4564"/>
                  </a:lnTo>
                  <a:cubicBezTo>
                    <a:pt x="83674" y="1521"/>
                    <a:pt x="80632" y="0"/>
                    <a:pt x="76068" y="0"/>
                  </a:cubicBezTo>
                  <a:lnTo>
                    <a:pt x="15214" y="0"/>
                  </a:lnTo>
                  <a:cubicBezTo>
                    <a:pt x="6085" y="0"/>
                    <a:pt x="0" y="6085"/>
                    <a:pt x="0" y="15214"/>
                  </a:cubicBezTo>
                  <a:lnTo>
                    <a:pt x="0" y="197776"/>
                  </a:lnTo>
                  <a:cubicBezTo>
                    <a:pt x="0" y="206904"/>
                    <a:pt x="6085" y="212990"/>
                    <a:pt x="15214" y="212990"/>
                  </a:cubicBezTo>
                  <a:lnTo>
                    <a:pt x="106495" y="212990"/>
                  </a:lnTo>
                  <a:cubicBezTo>
                    <a:pt x="115623" y="212990"/>
                    <a:pt x="121708" y="206904"/>
                    <a:pt x="121708" y="197776"/>
                  </a:cubicBezTo>
                  <a:cubicBezTo>
                    <a:pt x="121708" y="188648"/>
                    <a:pt x="115623" y="182563"/>
                    <a:pt x="106495" y="182563"/>
                  </a:cubicBez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sp>
          <p:nvSpPr>
            <p:cNvPr id="60" name="Freeform 276">
              <a:extLst>
                <a:ext uri="{FF2B5EF4-FFF2-40B4-BE49-F238E27FC236}">
                  <a16:creationId xmlns:a16="http://schemas.microsoft.com/office/drawing/2014/main" id="{9E311913-BD71-2942-9F89-E59960B5BD87}"/>
                </a:ext>
              </a:extLst>
            </p:cNvPr>
            <p:cNvSpPr/>
            <p:nvPr/>
          </p:nvSpPr>
          <p:spPr>
            <a:xfrm>
              <a:off x="816535" y="5722896"/>
              <a:ext cx="212989" cy="212989"/>
            </a:xfrm>
            <a:custGeom>
              <a:avLst/>
              <a:gdLst>
                <a:gd name="connsiteX0" fmla="*/ 197776 w 212989"/>
                <a:gd name="connsiteY0" fmla="*/ 30427 h 212989"/>
                <a:gd name="connsiteX1" fmla="*/ 112580 w 212989"/>
                <a:gd name="connsiteY1" fmla="*/ 30427 h 212989"/>
                <a:gd name="connsiteX2" fmla="*/ 86717 w 212989"/>
                <a:gd name="connsiteY2" fmla="*/ 4564 h 212989"/>
                <a:gd name="connsiteX3" fmla="*/ 76068 w 212989"/>
                <a:gd name="connsiteY3" fmla="*/ 0 h 212989"/>
                <a:gd name="connsiteX4" fmla="*/ 15214 w 212989"/>
                <a:gd name="connsiteY4" fmla="*/ 0 h 212989"/>
                <a:gd name="connsiteX5" fmla="*/ 0 w 212989"/>
                <a:gd name="connsiteY5" fmla="*/ 15214 h 212989"/>
                <a:gd name="connsiteX6" fmla="*/ 0 w 212989"/>
                <a:gd name="connsiteY6" fmla="*/ 197776 h 212989"/>
                <a:gd name="connsiteX7" fmla="*/ 15214 w 212989"/>
                <a:gd name="connsiteY7" fmla="*/ 212990 h 212989"/>
                <a:gd name="connsiteX8" fmla="*/ 197776 w 212989"/>
                <a:gd name="connsiteY8" fmla="*/ 212990 h 212989"/>
                <a:gd name="connsiteX9" fmla="*/ 212990 w 212989"/>
                <a:gd name="connsiteY9" fmla="*/ 197776 h 212989"/>
                <a:gd name="connsiteX10" fmla="*/ 212990 w 212989"/>
                <a:gd name="connsiteY10" fmla="*/ 45641 h 212989"/>
                <a:gd name="connsiteX11" fmla="*/ 197776 w 212989"/>
                <a:gd name="connsiteY11" fmla="*/ 30427 h 212989"/>
                <a:gd name="connsiteX12" fmla="*/ 182563 w 212989"/>
                <a:gd name="connsiteY12" fmla="*/ 182563 h 212989"/>
                <a:gd name="connsiteX13" fmla="*/ 30427 w 212989"/>
                <a:gd name="connsiteY13" fmla="*/ 182563 h 212989"/>
                <a:gd name="connsiteX14" fmla="*/ 30427 w 212989"/>
                <a:gd name="connsiteY14" fmla="*/ 30427 h 212989"/>
                <a:gd name="connsiteX15" fmla="*/ 69982 w 212989"/>
                <a:gd name="connsiteY15" fmla="*/ 30427 h 212989"/>
                <a:gd name="connsiteX16" fmla="*/ 95845 w 212989"/>
                <a:gd name="connsiteY16" fmla="*/ 56290 h 212989"/>
                <a:gd name="connsiteX17" fmla="*/ 106495 w 212989"/>
                <a:gd name="connsiteY17" fmla="*/ 60854 h 212989"/>
                <a:gd name="connsiteX18" fmla="*/ 182563 w 212989"/>
                <a:gd name="connsiteY18" fmla="*/ 60854 h 212989"/>
                <a:gd name="connsiteX19" fmla="*/ 182563 w 212989"/>
                <a:gd name="connsiteY19" fmla="*/ 182563 h 21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2989" h="212989">
                  <a:moveTo>
                    <a:pt x="197776" y="30427"/>
                  </a:moveTo>
                  <a:lnTo>
                    <a:pt x="112580" y="30427"/>
                  </a:lnTo>
                  <a:lnTo>
                    <a:pt x="86717" y="4564"/>
                  </a:lnTo>
                  <a:cubicBezTo>
                    <a:pt x="83674" y="1521"/>
                    <a:pt x="80632" y="0"/>
                    <a:pt x="76068" y="0"/>
                  </a:cubicBezTo>
                  <a:lnTo>
                    <a:pt x="15214" y="0"/>
                  </a:lnTo>
                  <a:cubicBezTo>
                    <a:pt x="6085" y="0"/>
                    <a:pt x="0" y="6085"/>
                    <a:pt x="0" y="15214"/>
                  </a:cubicBezTo>
                  <a:lnTo>
                    <a:pt x="0" y="197776"/>
                  </a:lnTo>
                  <a:cubicBezTo>
                    <a:pt x="0" y="206904"/>
                    <a:pt x="6085" y="212990"/>
                    <a:pt x="15214" y="212990"/>
                  </a:cubicBezTo>
                  <a:lnTo>
                    <a:pt x="197776" y="212990"/>
                  </a:lnTo>
                  <a:cubicBezTo>
                    <a:pt x="206904" y="212990"/>
                    <a:pt x="212990" y="206904"/>
                    <a:pt x="212990" y="197776"/>
                  </a:cubicBezTo>
                  <a:lnTo>
                    <a:pt x="212990" y="45641"/>
                  </a:lnTo>
                  <a:cubicBezTo>
                    <a:pt x="212990" y="36512"/>
                    <a:pt x="206904" y="30427"/>
                    <a:pt x="197776" y="30427"/>
                  </a:cubicBezTo>
                  <a:close/>
                  <a:moveTo>
                    <a:pt x="182563" y="182563"/>
                  </a:moveTo>
                  <a:lnTo>
                    <a:pt x="30427" y="182563"/>
                  </a:lnTo>
                  <a:lnTo>
                    <a:pt x="30427" y="30427"/>
                  </a:lnTo>
                  <a:lnTo>
                    <a:pt x="69982" y="30427"/>
                  </a:lnTo>
                  <a:lnTo>
                    <a:pt x="95845" y="56290"/>
                  </a:lnTo>
                  <a:cubicBezTo>
                    <a:pt x="98888" y="59333"/>
                    <a:pt x="101931" y="60854"/>
                    <a:pt x="106495" y="60854"/>
                  </a:cubicBezTo>
                  <a:lnTo>
                    <a:pt x="182563" y="60854"/>
                  </a:lnTo>
                  <a:lnTo>
                    <a:pt x="182563" y="182563"/>
                  </a:ln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grpSp>
      <p:sp>
        <p:nvSpPr>
          <p:cNvPr id="30" name="Rectangle 2"/>
          <p:cNvSpPr/>
          <p:nvPr/>
        </p:nvSpPr>
        <p:spPr>
          <a:xfrm>
            <a:off x="4116328" y="6412619"/>
            <a:ext cx="6424904" cy="181653"/>
          </a:xfrm>
          <a:prstGeom prst="rect">
            <a:avLst/>
          </a:prstGeom>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CA" sz="675" b="0" i="0" u="none" strike="noStrike" kern="1200" cap="none" spc="0" normalizeH="0" baseline="0" noProof="0" dirty="0">
                <a:ln>
                  <a:noFill/>
                </a:ln>
                <a:solidFill>
                  <a:srgbClr val="202020"/>
                </a:solidFill>
                <a:effectLst/>
                <a:uLnTx/>
                <a:uFillTx/>
                <a:latin typeface="Arial" panose="020B0604020202020204"/>
                <a:ea typeface="+mn-ea"/>
                <a:cs typeface="+mn-cs"/>
                <a:sym typeface="Arial"/>
              </a:rPr>
              <a:t>*</a:t>
            </a:r>
            <a:r>
              <a:rPr kumimoji="0" lang="en-US" sz="675" b="0" i="0" u="none" strike="noStrike" kern="1200" cap="none" spc="0" normalizeH="0" baseline="0" noProof="0" dirty="0">
                <a:ln>
                  <a:noFill/>
                </a:ln>
                <a:solidFill>
                  <a:srgbClr val="202020"/>
                </a:solidFill>
                <a:effectLst/>
                <a:uLnTx/>
                <a:uFillTx/>
                <a:latin typeface="Arial" panose="020B0604020202020204"/>
                <a:ea typeface="+mn-ea"/>
                <a:cs typeface="+mn-cs"/>
                <a:sym typeface="Arial"/>
                <a:hlinkClick r:id="rId2"/>
              </a:rPr>
              <a:t>New Dark Web Audit Reveals 15 Billion Stolen Logins From 100,000 Breaches (forbes.com)</a:t>
            </a:r>
            <a:endParaRPr kumimoji="0" lang="en-US" sz="675" b="0" i="0" u="none" strike="noStrike" kern="1200" cap="none" spc="0" normalizeH="0" baseline="0" noProof="0" dirty="0">
              <a:ln>
                <a:noFill/>
              </a:ln>
              <a:solidFill>
                <a:srgbClr val="202020"/>
              </a:solidFill>
              <a:effectLst/>
              <a:uLnTx/>
              <a:uFillTx/>
              <a:latin typeface="Arial" panose="020B0604020202020204"/>
              <a:ea typeface="+mn-ea"/>
              <a:cs typeface="+mn-cs"/>
              <a:sym typeface="Arial"/>
            </a:endParaRPr>
          </a:p>
        </p:txBody>
      </p:sp>
    </p:spTree>
    <p:extLst>
      <p:ext uri="{BB962C8B-B14F-4D97-AF65-F5344CB8AC3E}">
        <p14:creationId xmlns:p14="http://schemas.microsoft.com/office/powerpoint/2010/main" val="22797144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7209367" y="1570402"/>
            <a:ext cx="4500032" cy="1841402"/>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s-CO" sz="2133" b="1" i="0" u="none" strike="noStrike" kern="1200" cap="none" spc="0" normalizeH="0" baseline="0" noProof="0" dirty="0">
                <a:ln>
                  <a:noFill/>
                </a:ln>
                <a:solidFill>
                  <a:srgbClr val="00968F"/>
                </a:solidFill>
                <a:effectLst/>
                <a:uLnTx/>
                <a:uFillTx/>
                <a:latin typeface="Arial" panose="020B0604020202020204"/>
                <a:ea typeface="+mn-ea"/>
                <a:cs typeface="+mn-cs"/>
                <a:sym typeface="Arial"/>
              </a:rPr>
              <a:t>Definición y prueba del plan de respuesta a incidentes</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s-CO" sz="1200" b="0" i="0" u="none" strike="noStrike" kern="1200" cap="none" spc="0" normalizeH="0" baseline="0" noProof="0" dirty="0">
                <a:ln>
                  <a:noFill/>
                </a:ln>
                <a:solidFill>
                  <a:srgbClr val="202020"/>
                </a:solidFill>
                <a:effectLst/>
                <a:uLnTx/>
                <a:uFillTx/>
                <a:latin typeface="Arial" panose="020B0604020202020204"/>
                <a:ea typeface="+mn-ea"/>
                <a:cs typeface="+mn-cs"/>
                <a:sym typeface="Arial"/>
              </a:rPr>
              <a:t>Un plan de respuesta a incidentes con un equipo capacitado provee eficiencia, velocidad y calidad en la respuesta ante un </a:t>
            </a:r>
            <a:r>
              <a:rPr kumimoji="0" lang="es-CO" sz="1200" b="0" i="0" u="none" strike="noStrike" kern="1200" cap="none" spc="0" normalizeH="0" baseline="0" noProof="0" dirty="0" err="1">
                <a:ln>
                  <a:noFill/>
                </a:ln>
                <a:solidFill>
                  <a:srgbClr val="202020"/>
                </a:solidFill>
                <a:effectLst/>
                <a:uLnTx/>
                <a:uFillTx/>
                <a:latin typeface="Arial" panose="020B0604020202020204"/>
                <a:ea typeface="+mn-ea"/>
                <a:cs typeface="+mn-cs"/>
                <a:sym typeface="Arial"/>
              </a:rPr>
              <a:t>ciberincidente</a:t>
            </a:r>
            <a:r>
              <a:rPr kumimoji="0" lang="es-CO" sz="1200" b="0" i="0" u="none" strike="noStrike" kern="1200" cap="none" spc="0" normalizeH="0" baseline="0" noProof="0" dirty="0">
                <a:ln>
                  <a:noFill/>
                </a:ln>
                <a:solidFill>
                  <a:srgbClr val="202020"/>
                </a:solidFill>
                <a:effectLst/>
                <a:uLnTx/>
                <a:uFillTx/>
                <a:latin typeface="Arial" panose="020B0604020202020204"/>
                <a:ea typeface="+mn-ea"/>
                <a:cs typeface="+mn-cs"/>
                <a:sym typeface="Arial"/>
              </a:rPr>
              <a:t>. Cuando estos planes son utilizados en conjunto con copias de respaldo y planes de continuidad del negocio, impactan significativamente en la mitigación de los impactos en la operación de la compañía, limitando la pérdida. </a:t>
            </a:r>
          </a:p>
        </p:txBody>
      </p:sp>
      <p:sp>
        <p:nvSpPr>
          <p:cNvPr id="38" name="Rectangle 37"/>
          <p:cNvSpPr/>
          <p:nvPr/>
        </p:nvSpPr>
        <p:spPr>
          <a:xfrm>
            <a:off x="7209367" y="4063161"/>
            <a:ext cx="4500032" cy="1513171"/>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s-CO" sz="2133" b="1" i="0" u="none" strike="noStrike" kern="1200" cap="none" spc="0" normalizeH="0" baseline="0" noProof="0" dirty="0" err="1">
                <a:ln>
                  <a:noFill/>
                </a:ln>
                <a:solidFill>
                  <a:srgbClr val="00968F"/>
                </a:solidFill>
                <a:effectLst/>
                <a:uLnTx/>
                <a:uFillTx/>
                <a:latin typeface="Arial" panose="020B0604020202020204"/>
                <a:ea typeface="+mn-ea"/>
                <a:cs typeface="+mn-cs"/>
                <a:sym typeface="Arial"/>
              </a:rPr>
              <a:t>Endpoints</a:t>
            </a:r>
            <a:r>
              <a:rPr kumimoji="0" lang="es-CO" sz="2133" b="1" i="0" u="none" strike="noStrike" kern="1200" cap="none" spc="0" normalizeH="0" baseline="0" noProof="0" dirty="0">
                <a:ln>
                  <a:noFill/>
                </a:ln>
                <a:solidFill>
                  <a:srgbClr val="00968F"/>
                </a:solidFill>
                <a:effectLst/>
                <a:uLnTx/>
                <a:uFillTx/>
                <a:latin typeface="Arial" panose="020B0604020202020204"/>
                <a:ea typeface="+mn-ea"/>
                <a:cs typeface="+mn-cs"/>
                <a:sym typeface="Arial"/>
              </a:rPr>
              <a:t> seguros</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s-CO" sz="1200" b="0" i="0" u="none" strike="noStrike" kern="1200" cap="none" spc="0" normalizeH="0" baseline="0" noProof="0" dirty="0">
                <a:ln>
                  <a:noFill/>
                </a:ln>
                <a:solidFill>
                  <a:srgbClr val="202020"/>
                </a:solidFill>
                <a:effectLst/>
                <a:uLnTx/>
                <a:uFillTx/>
                <a:latin typeface="Arial" panose="020B0604020202020204"/>
                <a:ea typeface="+mn-ea"/>
                <a:cs typeface="+mn-cs"/>
                <a:sym typeface="Arial"/>
              </a:rPr>
              <a:t>Soluciones avanzadas de anti-malware en las estaciones de trabajo, servidores y dispositivos móviles detectan programas maliciosos y evitan su propagación. La tecnología permite a las organizaciones responder de manera remota a los ataques e, incluso, evitar pérdidas de información. El tiempo cuando un simple antivirus era suficiente ya pasó. </a:t>
            </a:r>
          </a:p>
        </p:txBody>
      </p:sp>
      <p:sp>
        <p:nvSpPr>
          <p:cNvPr id="40" name="Rectangle 39"/>
          <p:cNvSpPr/>
          <p:nvPr/>
        </p:nvSpPr>
        <p:spPr>
          <a:xfrm>
            <a:off x="1409700" y="1570402"/>
            <a:ext cx="4572000" cy="1656736"/>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s-CO" sz="2133" b="1" i="0" u="none" strike="noStrike" kern="1200" cap="none" spc="0" normalizeH="0" baseline="0" noProof="0" dirty="0">
                <a:ln>
                  <a:noFill/>
                </a:ln>
                <a:solidFill>
                  <a:srgbClr val="00968F"/>
                </a:solidFill>
                <a:effectLst/>
                <a:uLnTx/>
                <a:uFillTx/>
                <a:latin typeface="Arial" panose="020B0604020202020204"/>
                <a:ea typeface="+mn-ea"/>
                <a:cs typeface="+mn-cs"/>
                <a:sym typeface="Arial"/>
              </a:rPr>
              <a:t>Parcheo de sistemas y aplicaciones</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s-CO" sz="1200" b="0" i="0" u="none" strike="noStrike" kern="1200" cap="none" spc="0" normalizeH="0" baseline="0" noProof="0" dirty="0">
                <a:ln>
                  <a:noFill/>
                </a:ln>
                <a:solidFill>
                  <a:srgbClr val="202020"/>
                </a:solidFill>
                <a:effectLst/>
                <a:uLnTx/>
                <a:uFillTx/>
                <a:latin typeface="Arial" panose="020B0604020202020204"/>
                <a:ea typeface="+mn-ea"/>
                <a:cs typeface="+mn-cs"/>
                <a:sym typeface="Arial"/>
              </a:rPr>
              <a:t>Vulnerabilidades sin parchar siguen siendo unas de las principales causas de intrusiones a los sistemas. Cientos de vulnerabilidades son reveladas cada mes por parte de múltiples aplicaciones y sistemas. Cuando no se cuentan con procesos regulares de parcheo los atacantes explotarán esas vulnerabilidades. </a:t>
            </a:r>
          </a:p>
        </p:txBody>
      </p:sp>
      <p:sp>
        <p:nvSpPr>
          <p:cNvPr id="41" name="Rectangle 40"/>
          <p:cNvSpPr/>
          <p:nvPr/>
        </p:nvSpPr>
        <p:spPr>
          <a:xfrm>
            <a:off x="1409700" y="4004168"/>
            <a:ext cx="4572000" cy="2026067"/>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s-CO" sz="2133" b="1" i="0" u="none" strike="noStrike" kern="1200" cap="none" spc="0" normalizeH="0" baseline="0" noProof="0" dirty="0">
                <a:ln>
                  <a:noFill/>
                </a:ln>
                <a:solidFill>
                  <a:srgbClr val="00968F"/>
                </a:solidFill>
                <a:effectLst/>
                <a:uLnTx/>
                <a:uFillTx/>
                <a:latin typeface="Arial" panose="020B0604020202020204"/>
                <a:ea typeface="+mn-ea"/>
                <a:cs typeface="+mn-cs"/>
                <a:sym typeface="Arial"/>
              </a:rPr>
              <a:t>Protección de cuentas privilegiadas</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s-CO" sz="1200" b="0" i="0" u="none" strike="noStrike" kern="1200" cap="none" spc="0" normalizeH="0" baseline="0" noProof="0" dirty="0">
                <a:ln>
                  <a:noFill/>
                </a:ln>
                <a:solidFill>
                  <a:srgbClr val="202020"/>
                </a:solidFill>
                <a:effectLst/>
                <a:uLnTx/>
                <a:uFillTx/>
                <a:latin typeface="Arial" panose="020B0604020202020204"/>
                <a:ea typeface="+mn-ea"/>
                <a:cs typeface="+mn-cs"/>
                <a:sym typeface="Arial"/>
              </a:rPr>
              <a:t>Las cuentas privilegiadas son la llave de la red. Cuando los atacantes adquieren estas cuentas, la probabilidad de causar un daño con impacto severo se eleva de manera significativa. Las prácticas para limitar el número de cuentas privilegiadas, el uso de contraseñas reforzadas, la autenticación de múltiple factor y el monitoreo de estas cuentas, es crítico para la protección de las redes. </a:t>
            </a:r>
          </a:p>
        </p:txBody>
      </p:sp>
      <p:grpSp>
        <p:nvGrpSpPr>
          <p:cNvPr id="26" name="Graphic 2040">
            <a:extLst>
              <a:ext uri="{FF2B5EF4-FFF2-40B4-BE49-F238E27FC236}">
                <a16:creationId xmlns:a16="http://schemas.microsoft.com/office/drawing/2014/main" id="{CDE9AA1F-BBE1-2A45-BCE0-F66F638F1806}"/>
              </a:ext>
            </a:extLst>
          </p:cNvPr>
          <p:cNvGrpSpPr/>
          <p:nvPr/>
        </p:nvGrpSpPr>
        <p:grpSpPr>
          <a:xfrm>
            <a:off x="457200" y="1552785"/>
            <a:ext cx="775662" cy="759016"/>
            <a:chOff x="9266587" y="2748437"/>
            <a:chExt cx="365125" cy="365125"/>
          </a:xfrm>
          <a:solidFill>
            <a:schemeClr val="accent1"/>
          </a:solidFill>
        </p:grpSpPr>
        <p:sp>
          <p:nvSpPr>
            <p:cNvPr id="27" name="Freeform 430">
              <a:extLst>
                <a:ext uri="{FF2B5EF4-FFF2-40B4-BE49-F238E27FC236}">
                  <a16:creationId xmlns:a16="http://schemas.microsoft.com/office/drawing/2014/main" id="{A0857C71-B476-0748-83A7-16E42678F635}"/>
                </a:ext>
              </a:extLst>
            </p:cNvPr>
            <p:cNvSpPr/>
            <p:nvPr/>
          </p:nvSpPr>
          <p:spPr>
            <a:xfrm>
              <a:off x="9266587" y="2748437"/>
              <a:ext cx="365125" cy="365125"/>
            </a:xfrm>
            <a:custGeom>
              <a:avLst/>
              <a:gdLst>
                <a:gd name="connsiteX0" fmla="*/ 317963 w 365125"/>
                <a:gd name="connsiteY0" fmla="*/ 226682 h 365125"/>
                <a:gd name="connsiteX1" fmla="*/ 349911 w 365125"/>
                <a:gd name="connsiteY1" fmla="*/ 216032 h 365125"/>
                <a:gd name="connsiteX2" fmla="*/ 365125 w 365125"/>
                <a:gd name="connsiteY2" fmla="*/ 182563 h 365125"/>
                <a:gd name="connsiteX3" fmla="*/ 319484 w 365125"/>
                <a:gd name="connsiteY3" fmla="*/ 136922 h 365125"/>
                <a:gd name="connsiteX4" fmla="*/ 310356 w 365125"/>
                <a:gd name="connsiteY4" fmla="*/ 136922 h 365125"/>
                <a:gd name="connsiteX5" fmla="*/ 304271 w 365125"/>
                <a:gd name="connsiteY5" fmla="*/ 123230 h 365125"/>
                <a:gd name="connsiteX6" fmla="*/ 311878 w 365125"/>
                <a:gd name="connsiteY6" fmla="*/ 117144 h 365125"/>
                <a:gd name="connsiteX7" fmla="*/ 311878 w 365125"/>
                <a:gd name="connsiteY7" fmla="*/ 53247 h 365125"/>
                <a:gd name="connsiteX8" fmla="*/ 247981 w 365125"/>
                <a:gd name="connsiteY8" fmla="*/ 53247 h 365125"/>
                <a:gd name="connsiteX9" fmla="*/ 241895 w 365125"/>
                <a:gd name="connsiteY9" fmla="*/ 59333 h 365125"/>
                <a:gd name="connsiteX10" fmla="*/ 228203 w 365125"/>
                <a:gd name="connsiteY10" fmla="*/ 53247 h 365125"/>
                <a:gd name="connsiteX11" fmla="*/ 228203 w 365125"/>
                <a:gd name="connsiteY11" fmla="*/ 45641 h 365125"/>
                <a:gd name="connsiteX12" fmla="*/ 182563 w 365125"/>
                <a:gd name="connsiteY12" fmla="*/ 0 h 365125"/>
                <a:gd name="connsiteX13" fmla="*/ 136922 w 365125"/>
                <a:gd name="connsiteY13" fmla="*/ 45641 h 365125"/>
                <a:gd name="connsiteX14" fmla="*/ 136922 w 365125"/>
                <a:gd name="connsiteY14" fmla="*/ 54769 h 365125"/>
                <a:gd name="connsiteX15" fmla="*/ 123230 w 365125"/>
                <a:gd name="connsiteY15" fmla="*/ 59333 h 365125"/>
                <a:gd name="connsiteX16" fmla="*/ 118666 w 365125"/>
                <a:gd name="connsiteY16" fmla="*/ 53247 h 365125"/>
                <a:gd name="connsiteX17" fmla="*/ 54769 w 365125"/>
                <a:gd name="connsiteY17" fmla="*/ 53247 h 365125"/>
                <a:gd name="connsiteX18" fmla="*/ 54769 w 365125"/>
                <a:gd name="connsiteY18" fmla="*/ 117144 h 365125"/>
                <a:gd name="connsiteX19" fmla="*/ 59333 w 365125"/>
                <a:gd name="connsiteY19" fmla="*/ 121708 h 365125"/>
                <a:gd name="connsiteX20" fmla="*/ 54769 w 365125"/>
                <a:gd name="connsiteY20" fmla="*/ 136922 h 365125"/>
                <a:gd name="connsiteX21" fmla="*/ 45641 w 365125"/>
                <a:gd name="connsiteY21" fmla="*/ 136922 h 365125"/>
                <a:gd name="connsiteX22" fmla="*/ 0 w 365125"/>
                <a:gd name="connsiteY22" fmla="*/ 182563 h 365125"/>
                <a:gd name="connsiteX23" fmla="*/ 45641 w 365125"/>
                <a:gd name="connsiteY23" fmla="*/ 228203 h 365125"/>
                <a:gd name="connsiteX24" fmla="*/ 54769 w 365125"/>
                <a:gd name="connsiteY24" fmla="*/ 228203 h 365125"/>
                <a:gd name="connsiteX25" fmla="*/ 60854 w 365125"/>
                <a:gd name="connsiteY25" fmla="*/ 241895 h 365125"/>
                <a:gd name="connsiteX26" fmla="*/ 53247 w 365125"/>
                <a:gd name="connsiteY26" fmla="*/ 247981 h 365125"/>
                <a:gd name="connsiteX27" fmla="*/ 39555 w 365125"/>
                <a:gd name="connsiteY27" fmla="*/ 279929 h 365125"/>
                <a:gd name="connsiteX28" fmla="*/ 53247 w 365125"/>
                <a:gd name="connsiteY28" fmla="*/ 311878 h 365125"/>
                <a:gd name="connsiteX29" fmla="*/ 117144 w 365125"/>
                <a:gd name="connsiteY29" fmla="*/ 311878 h 365125"/>
                <a:gd name="connsiteX30" fmla="*/ 123230 w 365125"/>
                <a:gd name="connsiteY30" fmla="*/ 305792 h 365125"/>
                <a:gd name="connsiteX31" fmla="*/ 136922 w 365125"/>
                <a:gd name="connsiteY31" fmla="*/ 311878 h 365125"/>
                <a:gd name="connsiteX32" fmla="*/ 136922 w 365125"/>
                <a:gd name="connsiteY32" fmla="*/ 319484 h 365125"/>
                <a:gd name="connsiteX33" fmla="*/ 182563 w 365125"/>
                <a:gd name="connsiteY33" fmla="*/ 365125 h 365125"/>
                <a:gd name="connsiteX34" fmla="*/ 228203 w 365125"/>
                <a:gd name="connsiteY34" fmla="*/ 319484 h 365125"/>
                <a:gd name="connsiteX35" fmla="*/ 228203 w 365125"/>
                <a:gd name="connsiteY35" fmla="*/ 310356 h 365125"/>
                <a:gd name="connsiteX36" fmla="*/ 241895 w 365125"/>
                <a:gd name="connsiteY36" fmla="*/ 304271 h 365125"/>
                <a:gd name="connsiteX37" fmla="*/ 247981 w 365125"/>
                <a:gd name="connsiteY37" fmla="*/ 310356 h 365125"/>
                <a:gd name="connsiteX38" fmla="*/ 311878 w 365125"/>
                <a:gd name="connsiteY38" fmla="*/ 310356 h 365125"/>
                <a:gd name="connsiteX39" fmla="*/ 311878 w 365125"/>
                <a:gd name="connsiteY39" fmla="*/ 246459 h 365125"/>
                <a:gd name="connsiteX40" fmla="*/ 305792 w 365125"/>
                <a:gd name="connsiteY40" fmla="*/ 240374 h 365125"/>
                <a:gd name="connsiteX41" fmla="*/ 311878 w 365125"/>
                <a:gd name="connsiteY41" fmla="*/ 226682 h 365125"/>
                <a:gd name="connsiteX42" fmla="*/ 317963 w 365125"/>
                <a:gd name="connsiteY42" fmla="*/ 226682 h 365125"/>
                <a:gd name="connsiteX43" fmla="*/ 301228 w 365125"/>
                <a:gd name="connsiteY43" fmla="*/ 196255 h 365125"/>
                <a:gd name="connsiteX44" fmla="*/ 286015 w 365125"/>
                <a:gd name="connsiteY44" fmla="*/ 208426 h 365125"/>
                <a:gd name="connsiteX45" fmla="*/ 273844 w 365125"/>
                <a:gd name="connsiteY45" fmla="*/ 235810 h 365125"/>
                <a:gd name="connsiteX46" fmla="*/ 275365 w 365125"/>
                <a:gd name="connsiteY46" fmla="*/ 255587 h 365125"/>
                <a:gd name="connsiteX47" fmla="*/ 289057 w 365125"/>
                <a:gd name="connsiteY47" fmla="*/ 269280 h 365125"/>
                <a:gd name="connsiteX48" fmla="*/ 289057 w 365125"/>
                <a:gd name="connsiteY48" fmla="*/ 290579 h 365125"/>
                <a:gd name="connsiteX49" fmla="*/ 267758 w 365125"/>
                <a:gd name="connsiteY49" fmla="*/ 290579 h 365125"/>
                <a:gd name="connsiteX50" fmla="*/ 254066 w 365125"/>
                <a:gd name="connsiteY50" fmla="*/ 276886 h 365125"/>
                <a:gd name="connsiteX51" fmla="*/ 235810 w 365125"/>
                <a:gd name="connsiteY51" fmla="*/ 273844 h 365125"/>
                <a:gd name="connsiteX52" fmla="*/ 206904 w 365125"/>
                <a:gd name="connsiteY52" fmla="*/ 286015 h 365125"/>
                <a:gd name="connsiteX53" fmla="*/ 196255 w 365125"/>
                <a:gd name="connsiteY53" fmla="*/ 301228 h 365125"/>
                <a:gd name="connsiteX54" fmla="*/ 196255 w 365125"/>
                <a:gd name="connsiteY54" fmla="*/ 319484 h 365125"/>
                <a:gd name="connsiteX55" fmla="*/ 181041 w 365125"/>
                <a:gd name="connsiteY55" fmla="*/ 334698 h 365125"/>
                <a:gd name="connsiteX56" fmla="*/ 165828 w 365125"/>
                <a:gd name="connsiteY56" fmla="*/ 319484 h 365125"/>
                <a:gd name="connsiteX57" fmla="*/ 165828 w 365125"/>
                <a:gd name="connsiteY57" fmla="*/ 301228 h 365125"/>
                <a:gd name="connsiteX58" fmla="*/ 153657 w 365125"/>
                <a:gd name="connsiteY58" fmla="*/ 286015 h 365125"/>
                <a:gd name="connsiteX59" fmla="*/ 126272 w 365125"/>
                <a:gd name="connsiteY59" fmla="*/ 273844 h 365125"/>
                <a:gd name="connsiteX60" fmla="*/ 117144 w 365125"/>
                <a:gd name="connsiteY60" fmla="*/ 270801 h 365125"/>
                <a:gd name="connsiteX61" fmla="*/ 106495 w 365125"/>
                <a:gd name="connsiteY61" fmla="*/ 275365 h 365125"/>
                <a:gd name="connsiteX62" fmla="*/ 92803 w 365125"/>
                <a:gd name="connsiteY62" fmla="*/ 289057 h 365125"/>
                <a:gd name="connsiteX63" fmla="*/ 71504 w 365125"/>
                <a:gd name="connsiteY63" fmla="*/ 289057 h 365125"/>
                <a:gd name="connsiteX64" fmla="*/ 66940 w 365125"/>
                <a:gd name="connsiteY64" fmla="*/ 278408 h 365125"/>
                <a:gd name="connsiteX65" fmla="*/ 71504 w 365125"/>
                <a:gd name="connsiteY65" fmla="*/ 267758 h 365125"/>
                <a:gd name="connsiteX66" fmla="*/ 86717 w 365125"/>
                <a:gd name="connsiteY66" fmla="*/ 254066 h 365125"/>
                <a:gd name="connsiteX67" fmla="*/ 89760 w 365125"/>
                <a:gd name="connsiteY67" fmla="*/ 235810 h 365125"/>
                <a:gd name="connsiteX68" fmla="*/ 77589 w 365125"/>
                <a:gd name="connsiteY68" fmla="*/ 206904 h 365125"/>
                <a:gd name="connsiteX69" fmla="*/ 62376 w 365125"/>
                <a:gd name="connsiteY69" fmla="*/ 196255 h 365125"/>
                <a:gd name="connsiteX70" fmla="*/ 45641 w 365125"/>
                <a:gd name="connsiteY70" fmla="*/ 196255 h 365125"/>
                <a:gd name="connsiteX71" fmla="*/ 30427 w 365125"/>
                <a:gd name="connsiteY71" fmla="*/ 181041 h 365125"/>
                <a:gd name="connsiteX72" fmla="*/ 45641 w 365125"/>
                <a:gd name="connsiteY72" fmla="*/ 165828 h 365125"/>
                <a:gd name="connsiteX73" fmla="*/ 65418 w 365125"/>
                <a:gd name="connsiteY73" fmla="*/ 165828 h 365125"/>
                <a:gd name="connsiteX74" fmla="*/ 80632 w 365125"/>
                <a:gd name="connsiteY74" fmla="*/ 155178 h 365125"/>
                <a:gd name="connsiteX75" fmla="*/ 91281 w 365125"/>
                <a:gd name="connsiteY75" fmla="*/ 129315 h 365125"/>
                <a:gd name="connsiteX76" fmla="*/ 89760 w 365125"/>
                <a:gd name="connsiteY76" fmla="*/ 109538 h 365125"/>
                <a:gd name="connsiteX77" fmla="*/ 76068 w 365125"/>
                <a:gd name="connsiteY77" fmla="*/ 95845 h 365125"/>
                <a:gd name="connsiteX78" fmla="*/ 76068 w 365125"/>
                <a:gd name="connsiteY78" fmla="*/ 74546 h 365125"/>
                <a:gd name="connsiteX79" fmla="*/ 95845 w 365125"/>
                <a:gd name="connsiteY79" fmla="*/ 74546 h 365125"/>
                <a:gd name="connsiteX80" fmla="*/ 108016 w 365125"/>
                <a:gd name="connsiteY80" fmla="*/ 88239 h 365125"/>
                <a:gd name="connsiteX81" fmla="*/ 127794 w 365125"/>
                <a:gd name="connsiteY81" fmla="*/ 91281 h 365125"/>
                <a:gd name="connsiteX82" fmla="*/ 156699 w 365125"/>
                <a:gd name="connsiteY82" fmla="*/ 80632 h 365125"/>
                <a:gd name="connsiteX83" fmla="*/ 167349 w 365125"/>
                <a:gd name="connsiteY83" fmla="*/ 65418 h 365125"/>
                <a:gd name="connsiteX84" fmla="*/ 167349 w 365125"/>
                <a:gd name="connsiteY84" fmla="*/ 45641 h 365125"/>
                <a:gd name="connsiteX85" fmla="*/ 182563 w 365125"/>
                <a:gd name="connsiteY85" fmla="*/ 30427 h 365125"/>
                <a:gd name="connsiteX86" fmla="*/ 197776 w 365125"/>
                <a:gd name="connsiteY86" fmla="*/ 45641 h 365125"/>
                <a:gd name="connsiteX87" fmla="*/ 197776 w 365125"/>
                <a:gd name="connsiteY87" fmla="*/ 63897 h 365125"/>
                <a:gd name="connsiteX88" fmla="*/ 209947 w 365125"/>
                <a:gd name="connsiteY88" fmla="*/ 79110 h 365125"/>
                <a:gd name="connsiteX89" fmla="*/ 237331 w 365125"/>
                <a:gd name="connsiteY89" fmla="*/ 91281 h 365125"/>
                <a:gd name="connsiteX90" fmla="*/ 257109 w 365125"/>
                <a:gd name="connsiteY90" fmla="*/ 89760 h 365125"/>
                <a:gd name="connsiteX91" fmla="*/ 270801 w 365125"/>
                <a:gd name="connsiteY91" fmla="*/ 76068 h 365125"/>
                <a:gd name="connsiteX92" fmla="*/ 292100 w 365125"/>
                <a:gd name="connsiteY92" fmla="*/ 76068 h 365125"/>
                <a:gd name="connsiteX93" fmla="*/ 292100 w 365125"/>
                <a:gd name="connsiteY93" fmla="*/ 95845 h 365125"/>
                <a:gd name="connsiteX94" fmla="*/ 276886 w 365125"/>
                <a:gd name="connsiteY94" fmla="*/ 109538 h 365125"/>
                <a:gd name="connsiteX95" fmla="*/ 273844 w 365125"/>
                <a:gd name="connsiteY95" fmla="*/ 127794 h 365125"/>
                <a:gd name="connsiteX96" fmla="*/ 286015 w 365125"/>
                <a:gd name="connsiteY96" fmla="*/ 156699 h 365125"/>
                <a:gd name="connsiteX97" fmla="*/ 301228 w 365125"/>
                <a:gd name="connsiteY97" fmla="*/ 167349 h 365125"/>
                <a:gd name="connsiteX98" fmla="*/ 319484 w 365125"/>
                <a:gd name="connsiteY98" fmla="*/ 167349 h 365125"/>
                <a:gd name="connsiteX99" fmla="*/ 334698 w 365125"/>
                <a:gd name="connsiteY99" fmla="*/ 182563 h 365125"/>
                <a:gd name="connsiteX100" fmla="*/ 330134 w 365125"/>
                <a:gd name="connsiteY100" fmla="*/ 193212 h 365125"/>
                <a:gd name="connsiteX101" fmla="*/ 319484 w 365125"/>
                <a:gd name="connsiteY101" fmla="*/ 196255 h 365125"/>
                <a:gd name="connsiteX102" fmla="*/ 301228 w 365125"/>
                <a:gd name="connsiteY102" fmla="*/ 196255 h 36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65125" h="365125">
                  <a:moveTo>
                    <a:pt x="317963" y="226682"/>
                  </a:moveTo>
                  <a:cubicBezTo>
                    <a:pt x="330134" y="228203"/>
                    <a:pt x="340783" y="223639"/>
                    <a:pt x="349911" y="216032"/>
                  </a:cubicBezTo>
                  <a:cubicBezTo>
                    <a:pt x="359040" y="206904"/>
                    <a:pt x="365125" y="196255"/>
                    <a:pt x="365125" y="182563"/>
                  </a:cubicBezTo>
                  <a:cubicBezTo>
                    <a:pt x="365125" y="156699"/>
                    <a:pt x="345347" y="136922"/>
                    <a:pt x="319484" y="136922"/>
                  </a:cubicBezTo>
                  <a:lnTo>
                    <a:pt x="310356" y="136922"/>
                  </a:lnTo>
                  <a:cubicBezTo>
                    <a:pt x="308835" y="132358"/>
                    <a:pt x="307314" y="127794"/>
                    <a:pt x="304271" y="123230"/>
                  </a:cubicBezTo>
                  <a:lnTo>
                    <a:pt x="311878" y="117144"/>
                  </a:lnTo>
                  <a:cubicBezTo>
                    <a:pt x="330134" y="98888"/>
                    <a:pt x="330134" y="71504"/>
                    <a:pt x="311878" y="53247"/>
                  </a:cubicBezTo>
                  <a:cubicBezTo>
                    <a:pt x="293621" y="34991"/>
                    <a:pt x="264716" y="34991"/>
                    <a:pt x="247981" y="53247"/>
                  </a:cubicBezTo>
                  <a:lnTo>
                    <a:pt x="241895" y="59333"/>
                  </a:lnTo>
                  <a:cubicBezTo>
                    <a:pt x="237331" y="57811"/>
                    <a:pt x="232767" y="54769"/>
                    <a:pt x="228203" y="53247"/>
                  </a:cubicBezTo>
                  <a:lnTo>
                    <a:pt x="228203" y="45641"/>
                  </a:lnTo>
                  <a:cubicBezTo>
                    <a:pt x="228203" y="19778"/>
                    <a:pt x="208426" y="0"/>
                    <a:pt x="182563" y="0"/>
                  </a:cubicBezTo>
                  <a:cubicBezTo>
                    <a:pt x="156699" y="0"/>
                    <a:pt x="136922" y="19778"/>
                    <a:pt x="136922" y="45641"/>
                  </a:cubicBezTo>
                  <a:lnTo>
                    <a:pt x="136922" y="54769"/>
                  </a:lnTo>
                  <a:cubicBezTo>
                    <a:pt x="132358" y="54769"/>
                    <a:pt x="127794" y="56290"/>
                    <a:pt x="123230" y="59333"/>
                  </a:cubicBezTo>
                  <a:lnTo>
                    <a:pt x="118666" y="53247"/>
                  </a:lnTo>
                  <a:cubicBezTo>
                    <a:pt x="100409" y="34991"/>
                    <a:pt x="73025" y="34991"/>
                    <a:pt x="54769" y="53247"/>
                  </a:cubicBezTo>
                  <a:cubicBezTo>
                    <a:pt x="36513" y="71504"/>
                    <a:pt x="36513" y="98888"/>
                    <a:pt x="54769" y="117144"/>
                  </a:cubicBezTo>
                  <a:lnTo>
                    <a:pt x="59333" y="121708"/>
                  </a:lnTo>
                  <a:cubicBezTo>
                    <a:pt x="57811" y="127794"/>
                    <a:pt x="56290" y="132358"/>
                    <a:pt x="54769" y="136922"/>
                  </a:cubicBezTo>
                  <a:lnTo>
                    <a:pt x="45641" y="136922"/>
                  </a:lnTo>
                  <a:cubicBezTo>
                    <a:pt x="19778" y="136922"/>
                    <a:pt x="0" y="156699"/>
                    <a:pt x="0" y="182563"/>
                  </a:cubicBezTo>
                  <a:cubicBezTo>
                    <a:pt x="0" y="208426"/>
                    <a:pt x="19778" y="228203"/>
                    <a:pt x="45641" y="228203"/>
                  </a:cubicBezTo>
                  <a:lnTo>
                    <a:pt x="54769" y="228203"/>
                  </a:lnTo>
                  <a:cubicBezTo>
                    <a:pt x="56290" y="232767"/>
                    <a:pt x="57811" y="237331"/>
                    <a:pt x="60854" y="241895"/>
                  </a:cubicBezTo>
                  <a:lnTo>
                    <a:pt x="53247" y="247981"/>
                  </a:lnTo>
                  <a:cubicBezTo>
                    <a:pt x="44119" y="257109"/>
                    <a:pt x="39555" y="267758"/>
                    <a:pt x="39555" y="279929"/>
                  </a:cubicBezTo>
                  <a:cubicBezTo>
                    <a:pt x="39555" y="292100"/>
                    <a:pt x="44119" y="302749"/>
                    <a:pt x="53247" y="311878"/>
                  </a:cubicBezTo>
                  <a:cubicBezTo>
                    <a:pt x="71504" y="330134"/>
                    <a:pt x="98888" y="330134"/>
                    <a:pt x="117144" y="311878"/>
                  </a:cubicBezTo>
                  <a:lnTo>
                    <a:pt x="123230" y="305792"/>
                  </a:lnTo>
                  <a:cubicBezTo>
                    <a:pt x="127794" y="307314"/>
                    <a:pt x="132358" y="310356"/>
                    <a:pt x="136922" y="311878"/>
                  </a:cubicBezTo>
                  <a:lnTo>
                    <a:pt x="136922" y="319484"/>
                  </a:lnTo>
                  <a:cubicBezTo>
                    <a:pt x="136922" y="345347"/>
                    <a:pt x="156699" y="365125"/>
                    <a:pt x="182563" y="365125"/>
                  </a:cubicBezTo>
                  <a:cubicBezTo>
                    <a:pt x="208426" y="365125"/>
                    <a:pt x="228203" y="345347"/>
                    <a:pt x="228203" y="319484"/>
                  </a:cubicBezTo>
                  <a:lnTo>
                    <a:pt x="228203" y="310356"/>
                  </a:lnTo>
                  <a:cubicBezTo>
                    <a:pt x="232767" y="308835"/>
                    <a:pt x="237331" y="307314"/>
                    <a:pt x="241895" y="304271"/>
                  </a:cubicBezTo>
                  <a:lnTo>
                    <a:pt x="247981" y="310356"/>
                  </a:lnTo>
                  <a:cubicBezTo>
                    <a:pt x="266237" y="328613"/>
                    <a:pt x="293621" y="328613"/>
                    <a:pt x="311878" y="310356"/>
                  </a:cubicBezTo>
                  <a:cubicBezTo>
                    <a:pt x="330134" y="292100"/>
                    <a:pt x="330134" y="264716"/>
                    <a:pt x="311878" y="246459"/>
                  </a:cubicBezTo>
                  <a:lnTo>
                    <a:pt x="305792" y="240374"/>
                  </a:lnTo>
                  <a:cubicBezTo>
                    <a:pt x="307314" y="235810"/>
                    <a:pt x="310356" y="231246"/>
                    <a:pt x="311878" y="226682"/>
                  </a:cubicBezTo>
                  <a:lnTo>
                    <a:pt x="317963" y="226682"/>
                  </a:lnTo>
                  <a:close/>
                  <a:moveTo>
                    <a:pt x="301228" y="196255"/>
                  </a:moveTo>
                  <a:cubicBezTo>
                    <a:pt x="293621" y="196255"/>
                    <a:pt x="287536" y="200819"/>
                    <a:pt x="286015" y="208426"/>
                  </a:cubicBezTo>
                  <a:cubicBezTo>
                    <a:pt x="282972" y="219075"/>
                    <a:pt x="279929" y="228203"/>
                    <a:pt x="273844" y="235810"/>
                  </a:cubicBezTo>
                  <a:cubicBezTo>
                    <a:pt x="269280" y="241895"/>
                    <a:pt x="270801" y="249502"/>
                    <a:pt x="275365" y="255587"/>
                  </a:cubicBezTo>
                  <a:lnTo>
                    <a:pt x="289057" y="269280"/>
                  </a:lnTo>
                  <a:cubicBezTo>
                    <a:pt x="295143" y="275365"/>
                    <a:pt x="295143" y="284493"/>
                    <a:pt x="289057" y="290579"/>
                  </a:cubicBezTo>
                  <a:cubicBezTo>
                    <a:pt x="282972" y="296664"/>
                    <a:pt x="273844" y="296664"/>
                    <a:pt x="267758" y="290579"/>
                  </a:cubicBezTo>
                  <a:lnTo>
                    <a:pt x="254066" y="276886"/>
                  </a:lnTo>
                  <a:cubicBezTo>
                    <a:pt x="249502" y="272322"/>
                    <a:pt x="241895" y="270801"/>
                    <a:pt x="235810" y="273844"/>
                  </a:cubicBezTo>
                  <a:cubicBezTo>
                    <a:pt x="226682" y="279929"/>
                    <a:pt x="216032" y="282972"/>
                    <a:pt x="206904" y="286015"/>
                  </a:cubicBezTo>
                  <a:cubicBezTo>
                    <a:pt x="200819" y="287536"/>
                    <a:pt x="196255" y="293621"/>
                    <a:pt x="196255" y="301228"/>
                  </a:cubicBezTo>
                  <a:lnTo>
                    <a:pt x="196255" y="319484"/>
                  </a:lnTo>
                  <a:cubicBezTo>
                    <a:pt x="196255" y="328613"/>
                    <a:pt x="190169" y="334698"/>
                    <a:pt x="181041" y="334698"/>
                  </a:cubicBezTo>
                  <a:cubicBezTo>
                    <a:pt x="171913" y="334698"/>
                    <a:pt x="165828" y="328613"/>
                    <a:pt x="165828" y="319484"/>
                  </a:cubicBezTo>
                  <a:lnTo>
                    <a:pt x="165828" y="301228"/>
                  </a:lnTo>
                  <a:cubicBezTo>
                    <a:pt x="165828" y="293621"/>
                    <a:pt x="161264" y="287536"/>
                    <a:pt x="153657" y="286015"/>
                  </a:cubicBezTo>
                  <a:cubicBezTo>
                    <a:pt x="143007" y="282972"/>
                    <a:pt x="133879" y="279929"/>
                    <a:pt x="126272" y="273844"/>
                  </a:cubicBezTo>
                  <a:cubicBezTo>
                    <a:pt x="123230" y="272322"/>
                    <a:pt x="120187" y="270801"/>
                    <a:pt x="117144" y="270801"/>
                  </a:cubicBezTo>
                  <a:cubicBezTo>
                    <a:pt x="112580" y="270801"/>
                    <a:pt x="109538" y="272322"/>
                    <a:pt x="106495" y="275365"/>
                  </a:cubicBezTo>
                  <a:lnTo>
                    <a:pt x="92803" y="289057"/>
                  </a:lnTo>
                  <a:cubicBezTo>
                    <a:pt x="86717" y="295143"/>
                    <a:pt x="77589" y="295143"/>
                    <a:pt x="71504" y="289057"/>
                  </a:cubicBezTo>
                  <a:cubicBezTo>
                    <a:pt x="68461" y="286015"/>
                    <a:pt x="66940" y="282972"/>
                    <a:pt x="66940" y="278408"/>
                  </a:cubicBezTo>
                  <a:cubicBezTo>
                    <a:pt x="66940" y="273844"/>
                    <a:pt x="68461" y="270801"/>
                    <a:pt x="71504" y="267758"/>
                  </a:cubicBezTo>
                  <a:lnTo>
                    <a:pt x="86717" y="254066"/>
                  </a:lnTo>
                  <a:cubicBezTo>
                    <a:pt x="92803" y="249502"/>
                    <a:pt x="92803" y="241895"/>
                    <a:pt x="89760" y="235810"/>
                  </a:cubicBezTo>
                  <a:cubicBezTo>
                    <a:pt x="83674" y="226682"/>
                    <a:pt x="80632" y="216032"/>
                    <a:pt x="77589" y="206904"/>
                  </a:cubicBezTo>
                  <a:cubicBezTo>
                    <a:pt x="76068" y="200819"/>
                    <a:pt x="69982" y="196255"/>
                    <a:pt x="62376" y="196255"/>
                  </a:cubicBezTo>
                  <a:lnTo>
                    <a:pt x="45641" y="196255"/>
                  </a:lnTo>
                  <a:cubicBezTo>
                    <a:pt x="36513" y="196255"/>
                    <a:pt x="30427" y="190169"/>
                    <a:pt x="30427" y="181041"/>
                  </a:cubicBezTo>
                  <a:cubicBezTo>
                    <a:pt x="30427" y="171913"/>
                    <a:pt x="36513" y="165828"/>
                    <a:pt x="45641" y="165828"/>
                  </a:cubicBezTo>
                  <a:lnTo>
                    <a:pt x="65418" y="165828"/>
                  </a:lnTo>
                  <a:cubicBezTo>
                    <a:pt x="71504" y="165828"/>
                    <a:pt x="77589" y="161264"/>
                    <a:pt x="80632" y="155178"/>
                  </a:cubicBezTo>
                  <a:cubicBezTo>
                    <a:pt x="83674" y="146050"/>
                    <a:pt x="85196" y="136922"/>
                    <a:pt x="91281" y="129315"/>
                  </a:cubicBezTo>
                  <a:cubicBezTo>
                    <a:pt x="95845" y="123230"/>
                    <a:pt x="94324" y="115623"/>
                    <a:pt x="89760" y="109538"/>
                  </a:cubicBezTo>
                  <a:lnTo>
                    <a:pt x="76068" y="95845"/>
                  </a:lnTo>
                  <a:cubicBezTo>
                    <a:pt x="69982" y="89760"/>
                    <a:pt x="69982" y="80632"/>
                    <a:pt x="76068" y="74546"/>
                  </a:cubicBezTo>
                  <a:cubicBezTo>
                    <a:pt x="82153" y="68461"/>
                    <a:pt x="91281" y="68461"/>
                    <a:pt x="95845" y="74546"/>
                  </a:cubicBezTo>
                  <a:lnTo>
                    <a:pt x="108016" y="88239"/>
                  </a:lnTo>
                  <a:cubicBezTo>
                    <a:pt x="114102" y="92803"/>
                    <a:pt x="121708" y="94324"/>
                    <a:pt x="127794" y="91281"/>
                  </a:cubicBezTo>
                  <a:cubicBezTo>
                    <a:pt x="136922" y="85196"/>
                    <a:pt x="146050" y="83674"/>
                    <a:pt x="156699" y="80632"/>
                  </a:cubicBezTo>
                  <a:cubicBezTo>
                    <a:pt x="162785" y="79110"/>
                    <a:pt x="167349" y="73025"/>
                    <a:pt x="167349" y="65418"/>
                  </a:cubicBezTo>
                  <a:lnTo>
                    <a:pt x="167349" y="45641"/>
                  </a:lnTo>
                  <a:cubicBezTo>
                    <a:pt x="167349" y="36513"/>
                    <a:pt x="173434" y="30427"/>
                    <a:pt x="182563" y="30427"/>
                  </a:cubicBezTo>
                  <a:cubicBezTo>
                    <a:pt x="191691" y="30427"/>
                    <a:pt x="197776" y="36513"/>
                    <a:pt x="197776" y="45641"/>
                  </a:cubicBezTo>
                  <a:lnTo>
                    <a:pt x="197776" y="63897"/>
                  </a:lnTo>
                  <a:cubicBezTo>
                    <a:pt x="197776" y="71504"/>
                    <a:pt x="202340" y="77589"/>
                    <a:pt x="209947" y="79110"/>
                  </a:cubicBezTo>
                  <a:cubicBezTo>
                    <a:pt x="220596" y="82153"/>
                    <a:pt x="229724" y="85196"/>
                    <a:pt x="237331" y="91281"/>
                  </a:cubicBezTo>
                  <a:cubicBezTo>
                    <a:pt x="243417" y="95845"/>
                    <a:pt x="251023" y="94324"/>
                    <a:pt x="257109" y="89760"/>
                  </a:cubicBezTo>
                  <a:lnTo>
                    <a:pt x="270801" y="76068"/>
                  </a:lnTo>
                  <a:cubicBezTo>
                    <a:pt x="276886" y="69982"/>
                    <a:pt x="286015" y="69982"/>
                    <a:pt x="292100" y="76068"/>
                  </a:cubicBezTo>
                  <a:cubicBezTo>
                    <a:pt x="298185" y="82153"/>
                    <a:pt x="298185" y="91281"/>
                    <a:pt x="292100" y="95845"/>
                  </a:cubicBezTo>
                  <a:lnTo>
                    <a:pt x="276886" y="109538"/>
                  </a:lnTo>
                  <a:cubicBezTo>
                    <a:pt x="272322" y="114102"/>
                    <a:pt x="270801" y="121708"/>
                    <a:pt x="273844" y="127794"/>
                  </a:cubicBezTo>
                  <a:cubicBezTo>
                    <a:pt x="279929" y="136922"/>
                    <a:pt x="282972" y="147571"/>
                    <a:pt x="286015" y="156699"/>
                  </a:cubicBezTo>
                  <a:cubicBezTo>
                    <a:pt x="287536" y="162785"/>
                    <a:pt x="293621" y="167349"/>
                    <a:pt x="301228" y="167349"/>
                  </a:cubicBezTo>
                  <a:lnTo>
                    <a:pt x="319484" y="167349"/>
                  </a:lnTo>
                  <a:cubicBezTo>
                    <a:pt x="328613" y="167349"/>
                    <a:pt x="334698" y="173434"/>
                    <a:pt x="334698" y="182563"/>
                  </a:cubicBezTo>
                  <a:cubicBezTo>
                    <a:pt x="334698" y="187127"/>
                    <a:pt x="333177" y="190169"/>
                    <a:pt x="330134" y="193212"/>
                  </a:cubicBezTo>
                  <a:cubicBezTo>
                    <a:pt x="328613" y="194733"/>
                    <a:pt x="325570" y="196255"/>
                    <a:pt x="319484" y="196255"/>
                  </a:cubicBezTo>
                  <a:lnTo>
                    <a:pt x="301228" y="196255"/>
                  </a:ln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sp>
          <p:nvSpPr>
            <p:cNvPr id="30" name="Freeform 431">
              <a:extLst>
                <a:ext uri="{FF2B5EF4-FFF2-40B4-BE49-F238E27FC236}">
                  <a16:creationId xmlns:a16="http://schemas.microsoft.com/office/drawing/2014/main" id="{FD87805C-392D-8C4F-9602-AA2DC9642C6A}"/>
                </a:ext>
              </a:extLst>
            </p:cNvPr>
            <p:cNvSpPr/>
            <p:nvPr/>
          </p:nvSpPr>
          <p:spPr>
            <a:xfrm>
              <a:off x="9388295" y="2870145"/>
              <a:ext cx="121708" cy="121708"/>
            </a:xfrm>
            <a:custGeom>
              <a:avLst/>
              <a:gdLst>
                <a:gd name="connsiteX0" fmla="*/ 60854 w 121708"/>
                <a:gd name="connsiteY0" fmla="*/ 0 h 121708"/>
                <a:gd name="connsiteX1" fmla="*/ 0 w 121708"/>
                <a:gd name="connsiteY1" fmla="*/ 60854 h 121708"/>
                <a:gd name="connsiteX2" fmla="*/ 60854 w 121708"/>
                <a:gd name="connsiteY2" fmla="*/ 121708 h 121708"/>
                <a:gd name="connsiteX3" fmla="*/ 121708 w 121708"/>
                <a:gd name="connsiteY3" fmla="*/ 60854 h 121708"/>
                <a:gd name="connsiteX4" fmla="*/ 60854 w 121708"/>
                <a:gd name="connsiteY4" fmla="*/ 0 h 121708"/>
                <a:gd name="connsiteX5" fmla="*/ 60854 w 121708"/>
                <a:gd name="connsiteY5" fmla="*/ 91281 h 121708"/>
                <a:gd name="connsiteX6" fmla="*/ 30427 w 121708"/>
                <a:gd name="connsiteY6" fmla="*/ 60854 h 121708"/>
                <a:gd name="connsiteX7" fmla="*/ 60854 w 121708"/>
                <a:gd name="connsiteY7" fmla="*/ 30427 h 121708"/>
                <a:gd name="connsiteX8" fmla="*/ 91281 w 121708"/>
                <a:gd name="connsiteY8" fmla="*/ 60854 h 121708"/>
                <a:gd name="connsiteX9" fmla="*/ 60854 w 121708"/>
                <a:gd name="connsiteY9" fmla="*/ 91281 h 121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708" h="121708">
                  <a:moveTo>
                    <a:pt x="60854" y="0"/>
                  </a:moveTo>
                  <a:cubicBezTo>
                    <a:pt x="27384" y="0"/>
                    <a:pt x="0" y="27384"/>
                    <a:pt x="0" y="60854"/>
                  </a:cubicBezTo>
                  <a:cubicBezTo>
                    <a:pt x="0" y="94324"/>
                    <a:pt x="27384" y="121708"/>
                    <a:pt x="60854" y="121708"/>
                  </a:cubicBezTo>
                  <a:cubicBezTo>
                    <a:pt x="94324" y="121708"/>
                    <a:pt x="121708" y="94324"/>
                    <a:pt x="121708" y="60854"/>
                  </a:cubicBezTo>
                  <a:cubicBezTo>
                    <a:pt x="121708" y="27384"/>
                    <a:pt x="94324" y="0"/>
                    <a:pt x="60854" y="0"/>
                  </a:cubicBezTo>
                  <a:close/>
                  <a:moveTo>
                    <a:pt x="60854" y="91281"/>
                  </a:moveTo>
                  <a:cubicBezTo>
                    <a:pt x="44119" y="91281"/>
                    <a:pt x="30427" y="77589"/>
                    <a:pt x="30427" y="60854"/>
                  </a:cubicBezTo>
                  <a:cubicBezTo>
                    <a:pt x="30427" y="44119"/>
                    <a:pt x="44119" y="30427"/>
                    <a:pt x="60854" y="30427"/>
                  </a:cubicBezTo>
                  <a:cubicBezTo>
                    <a:pt x="77589" y="30427"/>
                    <a:pt x="91281" y="44119"/>
                    <a:pt x="91281" y="60854"/>
                  </a:cubicBezTo>
                  <a:cubicBezTo>
                    <a:pt x="91281" y="77589"/>
                    <a:pt x="77589" y="91281"/>
                    <a:pt x="60854" y="91281"/>
                  </a:cubicBez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grpSp>
      <p:grpSp>
        <p:nvGrpSpPr>
          <p:cNvPr id="33" name="Graphic 2174">
            <a:extLst>
              <a:ext uri="{FF2B5EF4-FFF2-40B4-BE49-F238E27FC236}">
                <a16:creationId xmlns:a16="http://schemas.microsoft.com/office/drawing/2014/main" id="{60479C99-477D-4E42-9EAC-40B1F628BFD8}"/>
              </a:ext>
            </a:extLst>
          </p:cNvPr>
          <p:cNvGrpSpPr/>
          <p:nvPr/>
        </p:nvGrpSpPr>
        <p:grpSpPr>
          <a:xfrm>
            <a:off x="6357433" y="1552785"/>
            <a:ext cx="501505" cy="606756"/>
            <a:chOff x="3550810" y="3674745"/>
            <a:chExt cx="304270" cy="365125"/>
          </a:xfrm>
          <a:solidFill>
            <a:schemeClr val="accent1"/>
          </a:solidFill>
        </p:grpSpPr>
        <p:sp>
          <p:nvSpPr>
            <p:cNvPr id="34" name="Freeform 318">
              <a:extLst>
                <a:ext uri="{FF2B5EF4-FFF2-40B4-BE49-F238E27FC236}">
                  <a16:creationId xmlns:a16="http://schemas.microsoft.com/office/drawing/2014/main" id="{92F0F3AC-6D3B-5E47-8072-51EA4A3F95AE}"/>
                </a:ext>
              </a:extLst>
            </p:cNvPr>
            <p:cNvSpPr/>
            <p:nvPr/>
          </p:nvSpPr>
          <p:spPr>
            <a:xfrm>
              <a:off x="3687731" y="3872521"/>
              <a:ext cx="106494" cy="30427"/>
            </a:xfrm>
            <a:custGeom>
              <a:avLst/>
              <a:gdLst>
                <a:gd name="connsiteX0" fmla="*/ 15214 w 106494"/>
                <a:gd name="connsiteY0" fmla="*/ 30427 h 30427"/>
                <a:gd name="connsiteX1" fmla="*/ 91281 w 106494"/>
                <a:gd name="connsiteY1" fmla="*/ 30427 h 30427"/>
                <a:gd name="connsiteX2" fmla="*/ 106495 w 106494"/>
                <a:gd name="connsiteY2" fmla="*/ 15214 h 30427"/>
                <a:gd name="connsiteX3" fmla="*/ 91281 w 106494"/>
                <a:gd name="connsiteY3" fmla="*/ 0 h 30427"/>
                <a:gd name="connsiteX4" fmla="*/ 15214 w 106494"/>
                <a:gd name="connsiteY4" fmla="*/ 0 h 30427"/>
                <a:gd name="connsiteX5" fmla="*/ 0 w 106494"/>
                <a:gd name="connsiteY5" fmla="*/ 15214 h 30427"/>
                <a:gd name="connsiteX6" fmla="*/ 15214 w 106494"/>
                <a:gd name="connsiteY6" fmla="*/ 30427 h 30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494" h="30427">
                  <a:moveTo>
                    <a:pt x="15214" y="30427"/>
                  </a:moveTo>
                  <a:lnTo>
                    <a:pt x="91281" y="30427"/>
                  </a:lnTo>
                  <a:cubicBezTo>
                    <a:pt x="100409" y="30427"/>
                    <a:pt x="106495" y="24342"/>
                    <a:pt x="106495" y="15214"/>
                  </a:cubicBezTo>
                  <a:cubicBezTo>
                    <a:pt x="106495" y="6085"/>
                    <a:pt x="100409" y="0"/>
                    <a:pt x="91281" y="0"/>
                  </a:cubicBezTo>
                  <a:lnTo>
                    <a:pt x="15214" y="0"/>
                  </a:lnTo>
                  <a:cubicBezTo>
                    <a:pt x="6085" y="0"/>
                    <a:pt x="0" y="6085"/>
                    <a:pt x="0" y="15214"/>
                  </a:cubicBezTo>
                  <a:cubicBezTo>
                    <a:pt x="0" y="24342"/>
                    <a:pt x="6085" y="30427"/>
                    <a:pt x="15214" y="30427"/>
                  </a:cubicBez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sp>
          <p:nvSpPr>
            <p:cNvPr id="36" name="Freeform 319">
              <a:extLst>
                <a:ext uri="{FF2B5EF4-FFF2-40B4-BE49-F238E27FC236}">
                  <a16:creationId xmlns:a16="http://schemas.microsoft.com/office/drawing/2014/main" id="{1D4B6D08-AD3B-0747-B18A-C96B3069568D}"/>
                </a:ext>
              </a:extLst>
            </p:cNvPr>
            <p:cNvSpPr/>
            <p:nvPr/>
          </p:nvSpPr>
          <p:spPr>
            <a:xfrm>
              <a:off x="3687731" y="3750812"/>
              <a:ext cx="106494" cy="30427"/>
            </a:xfrm>
            <a:custGeom>
              <a:avLst/>
              <a:gdLst>
                <a:gd name="connsiteX0" fmla="*/ 15214 w 106494"/>
                <a:gd name="connsiteY0" fmla="*/ 30427 h 30427"/>
                <a:gd name="connsiteX1" fmla="*/ 91281 w 106494"/>
                <a:gd name="connsiteY1" fmla="*/ 30427 h 30427"/>
                <a:gd name="connsiteX2" fmla="*/ 106495 w 106494"/>
                <a:gd name="connsiteY2" fmla="*/ 15214 h 30427"/>
                <a:gd name="connsiteX3" fmla="*/ 91281 w 106494"/>
                <a:gd name="connsiteY3" fmla="*/ 0 h 30427"/>
                <a:gd name="connsiteX4" fmla="*/ 15214 w 106494"/>
                <a:gd name="connsiteY4" fmla="*/ 0 h 30427"/>
                <a:gd name="connsiteX5" fmla="*/ 0 w 106494"/>
                <a:gd name="connsiteY5" fmla="*/ 15214 h 30427"/>
                <a:gd name="connsiteX6" fmla="*/ 15214 w 106494"/>
                <a:gd name="connsiteY6" fmla="*/ 30427 h 30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494" h="30427">
                  <a:moveTo>
                    <a:pt x="15214" y="30427"/>
                  </a:moveTo>
                  <a:lnTo>
                    <a:pt x="91281" y="30427"/>
                  </a:lnTo>
                  <a:cubicBezTo>
                    <a:pt x="100409" y="30427"/>
                    <a:pt x="106495" y="24342"/>
                    <a:pt x="106495" y="15214"/>
                  </a:cubicBezTo>
                  <a:cubicBezTo>
                    <a:pt x="106495" y="6085"/>
                    <a:pt x="100409" y="0"/>
                    <a:pt x="91281" y="0"/>
                  </a:cubicBezTo>
                  <a:lnTo>
                    <a:pt x="15214" y="0"/>
                  </a:lnTo>
                  <a:cubicBezTo>
                    <a:pt x="6085" y="0"/>
                    <a:pt x="0" y="6085"/>
                    <a:pt x="0" y="15214"/>
                  </a:cubicBezTo>
                  <a:cubicBezTo>
                    <a:pt x="0" y="24342"/>
                    <a:pt x="6085" y="30427"/>
                    <a:pt x="15214" y="30427"/>
                  </a:cubicBez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sp>
          <p:nvSpPr>
            <p:cNvPr id="37" name="Freeform 320">
              <a:extLst>
                <a:ext uri="{FF2B5EF4-FFF2-40B4-BE49-F238E27FC236}">
                  <a16:creationId xmlns:a16="http://schemas.microsoft.com/office/drawing/2014/main" id="{16E6546A-7719-9341-87C7-10EECF10A603}"/>
                </a:ext>
              </a:extLst>
            </p:cNvPr>
            <p:cNvSpPr/>
            <p:nvPr/>
          </p:nvSpPr>
          <p:spPr>
            <a:xfrm>
              <a:off x="3687731" y="3811666"/>
              <a:ext cx="76067" cy="30427"/>
            </a:xfrm>
            <a:custGeom>
              <a:avLst/>
              <a:gdLst>
                <a:gd name="connsiteX0" fmla="*/ 15214 w 76067"/>
                <a:gd name="connsiteY0" fmla="*/ 30427 h 30427"/>
                <a:gd name="connsiteX1" fmla="*/ 60854 w 76067"/>
                <a:gd name="connsiteY1" fmla="*/ 30427 h 30427"/>
                <a:gd name="connsiteX2" fmla="*/ 76068 w 76067"/>
                <a:gd name="connsiteY2" fmla="*/ 15214 h 30427"/>
                <a:gd name="connsiteX3" fmla="*/ 60854 w 76067"/>
                <a:gd name="connsiteY3" fmla="*/ 0 h 30427"/>
                <a:gd name="connsiteX4" fmla="*/ 15214 w 76067"/>
                <a:gd name="connsiteY4" fmla="*/ 0 h 30427"/>
                <a:gd name="connsiteX5" fmla="*/ 0 w 76067"/>
                <a:gd name="connsiteY5" fmla="*/ 15214 h 30427"/>
                <a:gd name="connsiteX6" fmla="*/ 15214 w 76067"/>
                <a:gd name="connsiteY6" fmla="*/ 30427 h 30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067" h="30427">
                  <a:moveTo>
                    <a:pt x="15214" y="30427"/>
                  </a:moveTo>
                  <a:lnTo>
                    <a:pt x="60854" y="30427"/>
                  </a:lnTo>
                  <a:cubicBezTo>
                    <a:pt x="69982" y="30427"/>
                    <a:pt x="76068" y="24342"/>
                    <a:pt x="76068" y="15214"/>
                  </a:cubicBezTo>
                  <a:cubicBezTo>
                    <a:pt x="76068" y="6085"/>
                    <a:pt x="69982" y="0"/>
                    <a:pt x="60854" y="0"/>
                  </a:cubicBezTo>
                  <a:lnTo>
                    <a:pt x="15214" y="0"/>
                  </a:lnTo>
                  <a:cubicBezTo>
                    <a:pt x="6085" y="0"/>
                    <a:pt x="0" y="6085"/>
                    <a:pt x="0" y="15214"/>
                  </a:cubicBezTo>
                  <a:cubicBezTo>
                    <a:pt x="0" y="24342"/>
                    <a:pt x="6085" y="30427"/>
                    <a:pt x="15214" y="30427"/>
                  </a:cubicBez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sp>
          <p:nvSpPr>
            <p:cNvPr id="39" name="Freeform 321">
              <a:extLst>
                <a:ext uri="{FF2B5EF4-FFF2-40B4-BE49-F238E27FC236}">
                  <a16:creationId xmlns:a16="http://schemas.microsoft.com/office/drawing/2014/main" id="{0E6D37E8-1FF9-BD4A-8922-9C514F2F08B5}"/>
                </a:ext>
              </a:extLst>
            </p:cNvPr>
            <p:cNvSpPr/>
            <p:nvPr/>
          </p:nvSpPr>
          <p:spPr>
            <a:xfrm>
              <a:off x="3687731" y="3933375"/>
              <a:ext cx="60854" cy="30427"/>
            </a:xfrm>
            <a:custGeom>
              <a:avLst/>
              <a:gdLst>
                <a:gd name="connsiteX0" fmla="*/ 15214 w 60854"/>
                <a:gd name="connsiteY0" fmla="*/ 30427 h 30427"/>
                <a:gd name="connsiteX1" fmla="*/ 45641 w 60854"/>
                <a:gd name="connsiteY1" fmla="*/ 30427 h 30427"/>
                <a:gd name="connsiteX2" fmla="*/ 60854 w 60854"/>
                <a:gd name="connsiteY2" fmla="*/ 15214 h 30427"/>
                <a:gd name="connsiteX3" fmla="*/ 45641 w 60854"/>
                <a:gd name="connsiteY3" fmla="*/ 0 h 30427"/>
                <a:gd name="connsiteX4" fmla="*/ 15214 w 60854"/>
                <a:gd name="connsiteY4" fmla="*/ 0 h 30427"/>
                <a:gd name="connsiteX5" fmla="*/ 0 w 60854"/>
                <a:gd name="connsiteY5" fmla="*/ 15214 h 30427"/>
                <a:gd name="connsiteX6" fmla="*/ 15214 w 60854"/>
                <a:gd name="connsiteY6" fmla="*/ 30427 h 30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854" h="30427">
                  <a:moveTo>
                    <a:pt x="15214" y="30427"/>
                  </a:moveTo>
                  <a:lnTo>
                    <a:pt x="45641" y="30427"/>
                  </a:lnTo>
                  <a:cubicBezTo>
                    <a:pt x="54769" y="30427"/>
                    <a:pt x="60854" y="24342"/>
                    <a:pt x="60854" y="15214"/>
                  </a:cubicBezTo>
                  <a:cubicBezTo>
                    <a:pt x="60854" y="6085"/>
                    <a:pt x="54769" y="0"/>
                    <a:pt x="45641" y="0"/>
                  </a:cubicBezTo>
                  <a:lnTo>
                    <a:pt x="15214" y="0"/>
                  </a:lnTo>
                  <a:cubicBezTo>
                    <a:pt x="6085" y="0"/>
                    <a:pt x="0" y="6085"/>
                    <a:pt x="0" y="15214"/>
                  </a:cubicBezTo>
                  <a:cubicBezTo>
                    <a:pt x="0" y="24342"/>
                    <a:pt x="6085" y="30427"/>
                    <a:pt x="15214" y="30427"/>
                  </a:cubicBez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sp>
          <p:nvSpPr>
            <p:cNvPr id="42" name="Freeform 322">
              <a:extLst>
                <a:ext uri="{FF2B5EF4-FFF2-40B4-BE49-F238E27FC236}">
                  <a16:creationId xmlns:a16="http://schemas.microsoft.com/office/drawing/2014/main" id="{A3527E4B-59A5-CB4E-A07F-C0904C1416BF}"/>
                </a:ext>
              </a:extLst>
            </p:cNvPr>
            <p:cNvSpPr/>
            <p:nvPr/>
          </p:nvSpPr>
          <p:spPr>
            <a:xfrm>
              <a:off x="3611664" y="3872521"/>
              <a:ext cx="45640" cy="30427"/>
            </a:xfrm>
            <a:custGeom>
              <a:avLst/>
              <a:gdLst>
                <a:gd name="connsiteX0" fmla="*/ 15214 w 45640"/>
                <a:gd name="connsiteY0" fmla="*/ 30427 h 30427"/>
                <a:gd name="connsiteX1" fmla="*/ 30427 w 45640"/>
                <a:gd name="connsiteY1" fmla="*/ 30427 h 30427"/>
                <a:gd name="connsiteX2" fmla="*/ 45641 w 45640"/>
                <a:gd name="connsiteY2" fmla="*/ 15214 h 30427"/>
                <a:gd name="connsiteX3" fmla="*/ 30427 w 45640"/>
                <a:gd name="connsiteY3" fmla="*/ 0 h 30427"/>
                <a:gd name="connsiteX4" fmla="*/ 15214 w 45640"/>
                <a:gd name="connsiteY4" fmla="*/ 0 h 30427"/>
                <a:gd name="connsiteX5" fmla="*/ 0 w 45640"/>
                <a:gd name="connsiteY5" fmla="*/ 15214 h 30427"/>
                <a:gd name="connsiteX6" fmla="*/ 15214 w 45640"/>
                <a:gd name="connsiteY6" fmla="*/ 30427 h 30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640" h="30427">
                  <a:moveTo>
                    <a:pt x="15214" y="30427"/>
                  </a:moveTo>
                  <a:lnTo>
                    <a:pt x="30427" y="30427"/>
                  </a:lnTo>
                  <a:cubicBezTo>
                    <a:pt x="39555" y="30427"/>
                    <a:pt x="45641" y="24342"/>
                    <a:pt x="45641" y="15214"/>
                  </a:cubicBezTo>
                  <a:cubicBezTo>
                    <a:pt x="45641" y="6085"/>
                    <a:pt x="39555" y="0"/>
                    <a:pt x="30427" y="0"/>
                  </a:cubicBezTo>
                  <a:lnTo>
                    <a:pt x="15214" y="0"/>
                  </a:lnTo>
                  <a:cubicBezTo>
                    <a:pt x="6085" y="0"/>
                    <a:pt x="0" y="6085"/>
                    <a:pt x="0" y="15214"/>
                  </a:cubicBezTo>
                  <a:cubicBezTo>
                    <a:pt x="0" y="24342"/>
                    <a:pt x="6085" y="30427"/>
                    <a:pt x="15214" y="30427"/>
                  </a:cubicBez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sp>
          <p:nvSpPr>
            <p:cNvPr id="56" name="Freeform 323">
              <a:extLst>
                <a:ext uri="{FF2B5EF4-FFF2-40B4-BE49-F238E27FC236}">
                  <a16:creationId xmlns:a16="http://schemas.microsoft.com/office/drawing/2014/main" id="{2EF81FF9-C467-9F46-9B54-468819D522D7}"/>
                </a:ext>
              </a:extLst>
            </p:cNvPr>
            <p:cNvSpPr/>
            <p:nvPr/>
          </p:nvSpPr>
          <p:spPr>
            <a:xfrm>
              <a:off x="3611664" y="3750812"/>
              <a:ext cx="45640" cy="30427"/>
            </a:xfrm>
            <a:custGeom>
              <a:avLst/>
              <a:gdLst>
                <a:gd name="connsiteX0" fmla="*/ 15214 w 45640"/>
                <a:gd name="connsiteY0" fmla="*/ 30427 h 30427"/>
                <a:gd name="connsiteX1" fmla="*/ 30427 w 45640"/>
                <a:gd name="connsiteY1" fmla="*/ 30427 h 30427"/>
                <a:gd name="connsiteX2" fmla="*/ 45641 w 45640"/>
                <a:gd name="connsiteY2" fmla="*/ 15214 h 30427"/>
                <a:gd name="connsiteX3" fmla="*/ 30427 w 45640"/>
                <a:gd name="connsiteY3" fmla="*/ 0 h 30427"/>
                <a:gd name="connsiteX4" fmla="*/ 15214 w 45640"/>
                <a:gd name="connsiteY4" fmla="*/ 0 h 30427"/>
                <a:gd name="connsiteX5" fmla="*/ 0 w 45640"/>
                <a:gd name="connsiteY5" fmla="*/ 15214 h 30427"/>
                <a:gd name="connsiteX6" fmla="*/ 15214 w 45640"/>
                <a:gd name="connsiteY6" fmla="*/ 30427 h 30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640" h="30427">
                  <a:moveTo>
                    <a:pt x="15214" y="30427"/>
                  </a:moveTo>
                  <a:lnTo>
                    <a:pt x="30427" y="30427"/>
                  </a:lnTo>
                  <a:cubicBezTo>
                    <a:pt x="39555" y="30427"/>
                    <a:pt x="45641" y="24342"/>
                    <a:pt x="45641" y="15214"/>
                  </a:cubicBezTo>
                  <a:cubicBezTo>
                    <a:pt x="45641" y="6085"/>
                    <a:pt x="39555" y="0"/>
                    <a:pt x="30427" y="0"/>
                  </a:cubicBezTo>
                  <a:lnTo>
                    <a:pt x="15214" y="0"/>
                  </a:lnTo>
                  <a:cubicBezTo>
                    <a:pt x="6085" y="0"/>
                    <a:pt x="0" y="6085"/>
                    <a:pt x="0" y="15214"/>
                  </a:cubicBezTo>
                  <a:cubicBezTo>
                    <a:pt x="0" y="24342"/>
                    <a:pt x="6085" y="30427"/>
                    <a:pt x="15214" y="30427"/>
                  </a:cubicBez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sp>
          <p:nvSpPr>
            <p:cNvPr id="57" name="Freeform 324">
              <a:extLst>
                <a:ext uri="{FF2B5EF4-FFF2-40B4-BE49-F238E27FC236}">
                  <a16:creationId xmlns:a16="http://schemas.microsoft.com/office/drawing/2014/main" id="{F92D067E-F7E6-1445-A5AF-11A0E2203003}"/>
                </a:ext>
              </a:extLst>
            </p:cNvPr>
            <p:cNvSpPr/>
            <p:nvPr/>
          </p:nvSpPr>
          <p:spPr>
            <a:xfrm>
              <a:off x="3550810" y="3674745"/>
              <a:ext cx="304270" cy="365125"/>
            </a:xfrm>
            <a:custGeom>
              <a:avLst/>
              <a:gdLst>
                <a:gd name="connsiteX0" fmla="*/ 289057 w 304270"/>
                <a:gd name="connsiteY0" fmla="*/ 0 h 365125"/>
                <a:gd name="connsiteX1" fmla="*/ 15214 w 304270"/>
                <a:gd name="connsiteY1" fmla="*/ 0 h 365125"/>
                <a:gd name="connsiteX2" fmla="*/ 0 w 304270"/>
                <a:gd name="connsiteY2" fmla="*/ 15214 h 365125"/>
                <a:gd name="connsiteX3" fmla="*/ 0 w 304270"/>
                <a:gd name="connsiteY3" fmla="*/ 349911 h 365125"/>
                <a:gd name="connsiteX4" fmla="*/ 15214 w 304270"/>
                <a:gd name="connsiteY4" fmla="*/ 365125 h 365125"/>
                <a:gd name="connsiteX5" fmla="*/ 289057 w 304270"/>
                <a:gd name="connsiteY5" fmla="*/ 365125 h 365125"/>
                <a:gd name="connsiteX6" fmla="*/ 304271 w 304270"/>
                <a:gd name="connsiteY6" fmla="*/ 349911 h 365125"/>
                <a:gd name="connsiteX7" fmla="*/ 304271 w 304270"/>
                <a:gd name="connsiteY7" fmla="*/ 15214 h 365125"/>
                <a:gd name="connsiteX8" fmla="*/ 289057 w 304270"/>
                <a:gd name="connsiteY8" fmla="*/ 0 h 365125"/>
                <a:gd name="connsiteX9" fmla="*/ 273844 w 304270"/>
                <a:gd name="connsiteY9" fmla="*/ 334698 h 365125"/>
                <a:gd name="connsiteX10" fmla="*/ 30427 w 304270"/>
                <a:gd name="connsiteY10" fmla="*/ 334698 h 365125"/>
                <a:gd name="connsiteX11" fmla="*/ 30427 w 304270"/>
                <a:gd name="connsiteY11" fmla="*/ 30427 h 365125"/>
                <a:gd name="connsiteX12" fmla="*/ 273844 w 304270"/>
                <a:gd name="connsiteY12" fmla="*/ 30427 h 365125"/>
                <a:gd name="connsiteX13" fmla="*/ 273844 w 304270"/>
                <a:gd name="connsiteY13" fmla="*/ 334698 h 36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4270" h="365125">
                  <a:moveTo>
                    <a:pt x="289057" y="0"/>
                  </a:moveTo>
                  <a:lnTo>
                    <a:pt x="15214" y="0"/>
                  </a:lnTo>
                  <a:cubicBezTo>
                    <a:pt x="6085" y="0"/>
                    <a:pt x="0" y="6085"/>
                    <a:pt x="0" y="15214"/>
                  </a:cubicBezTo>
                  <a:lnTo>
                    <a:pt x="0" y="349911"/>
                  </a:lnTo>
                  <a:cubicBezTo>
                    <a:pt x="0" y="359040"/>
                    <a:pt x="6085" y="365125"/>
                    <a:pt x="15214" y="365125"/>
                  </a:cubicBezTo>
                  <a:lnTo>
                    <a:pt x="289057" y="365125"/>
                  </a:lnTo>
                  <a:cubicBezTo>
                    <a:pt x="298185" y="365125"/>
                    <a:pt x="304271" y="359040"/>
                    <a:pt x="304271" y="349911"/>
                  </a:cubicBezTo>
                  <a:lnTo>
                    <a:pt x="304271" y="15214"/>
                  </a:lnTo>
                  <a:cubicBezTo>
                    <a:pt x="304271" y="6085"/>
                    <a:pt x="298185" y="0"/>
                    <a:pt x="289057" y="0"/>
                  </a:cubicBezTo>
                  <a:close/>
                  <a:moveTo>
                    <a:pt x="273844" y="334698"/>
                  </a:moveTo>
                  <a:lnTo>
                    <a:pt x="30427" y="334698"/>
                  </a:lnTo>
                  <a:lnTo>
                    <a:pt x="30427" y="30427"/>
                  </a:lnTo>
                  <a:lnTo>
                    <a:pt x="273844" y="30427"/>
                  </a:lnTo>
                  <a:lnTo>
                    <a:pt x="273844" y="334698"/>
                  </a:ln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sp>
          <p:nvSpPr>
            <p:cNvPr id="58" name="Freeform 325">
              <a:extLst>
                <a:ext uri="{FF2B5EF4-FFF2-40B4-BE49-F238E27FC236}">
                  <a16:creationId xmlns:a16="http://schemas.microsoft.com/office/drawing/2014/main" id="{AC134D0A-32B0-F24C-9AEF-E4CDD90D169E}"/>
                </a:ext>
              </a:extLst>
            </p:cNvPr>
            <p:cNvSpPr/>
            <p:nvPr/>
          </p:nvSpPr>
          <p:spPr>
            <a:xfrm>
              <a:off x="3611664" y="3933375"/>
              <a:ext cx="45640" cy="30427"/>
            </a:xfrm>
            <a:custGeom>
              <a:avLst/>
              <a:gdLst>
                <a:gd name="connsiteX0" fmla="*/ 15214 w 45640"/>
                <a:gd name="connsiteY0" fmla="*/ 30427 h 30427"/>
                <a:gd name="connsiteX1" fmla="*/ 30427 w 45640"/>
                <a:gd name="connsiteY1" fmla="*/ 30427 h 30427"/>
                <a:gd name="connsiteX2" fmla="*/ 45641 w 45640"/>
                <a:gd name="connsiteY2" fmla="*/ 15214 h 30427"/>
                <a:gd name="connsiteX3" fmla="*/ 30427 w 45640"/>
                <a:gd name="connsiteY3" fmla="*/ 0 h 30427"/>
                <a:gd name="connsiteX4" fmla="*/ 15214 w 45640"/>
                <a:gd name="connsiteY4" fmla="*/ 0 h 30427"/>
                <a:gd name="connsiteX5" fmla="*/ 0 w 45640"/>
                <a:gd name="connsiteY5" fmla="*/ 15214 h 30427"/>
                <a:gd name="connsiteX6" fmla="*/ 15214 w 45640"/>
                <a:gd name="connsiteY6" fmla="*/ 30427 h 30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640" h="30427">
                  <a:moveTo>
                    <a:pt x="15214" y="30427"/>
                  </a:moveTo>
                  <a:lnTo>
                    <a:pt x="30427" y="30427"/>
                  </a:lnTo>
                  <a:cubicBezTo>
                    <a:pt x="39555" y="30427"/>
                    <a:pt x="45641" y="24342"/>
                    <a:pt x="45641" y="15214"/>
                  </a:cubicBezTo>
                  <a:cubicBezTo>
                    <a:pt x="45641" y="6085"/>
                    <a:pt x="39555" y="0"/>
                    <a:pt x="30427" y="0"/>
                  </a:cubicBezTo>
                  <a:lnTo>
                    <a:pt x="15214" y="0"/>
                  </a:lnTo>
                  <a:cubicBezTo>
                    <a:pt x="6085" y="0"/>
                    <a:pt x="0" y="6085"/>
                    <a:pt x="0" y="15214"/>
                  </a:cubicBezTo>
                  <a:cubicBezTo>
                    <a:pt x="0" y="24342"/>
                    <a:pt x="6085" y="30427"/>
                    <a:pt x="15214" y="30427"/>
                  </a:cubicBez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sp>
          <p:nvSpPr>
            <p:cNvPr id="59" name="Freeform 326">
              <a:extLst>
                <a:ext uri="{FF2B5EF4-FFF2-40B4-BE49-F238E27FC236}">
                  <a16:creationId xmlns:a16="http://schemas.microsoft.com/office/drawing/2014/main" id="{AD0C0E9B-296B-BE4B-A035-DD9C35C08B55}"/>
                </a:ext>
              </a:extLst>
            </p:cNvPr>
            <p:cNvSpPr/>
            <p:nvPr/>
          </p:nvSpPr>
          <p:spPr>
            <a:xfrm>
              <a:off x="3611664" y="3811666"/>
              <a:ext cx="45640" cy="30427"/>
            </a:xfrm>
            <a:custGeom>
              <a:avLst/>
              <a:gdLst>
                <a:gd name="connsiteX0" fmla="*/ 15214 w 45640"/>
                <a:gd name="connsiteY0" fmla="*/ 30427 h 30427"/>
                <a:gd name="connsiteX1" fmla="*/ 30427 w 45640"/>
                <a:gd name="connsiteY1" fmla="*/ 30427 h 30427"/>
                <a:gd name="connsiteX2" fmla="*/ 45641 w 45640"/>
                <a:gd name="connsiteY2" fmla="*/ 15214 h 30427"/>
                <a:gd name="connsiteX3" fmla="*/ 30427 w 45640"/>
                <a:gd name="connsiteY3" fmla="*/ 0 h 30427"/>
                <a:gd name="connsiteX4" fmla="*/ 15214 w 45640"/>
                <a:gd name="connsiteY4" fmla="*/ 0 h 30427"/>
                <a:gd name="connsiteX5" fmla="*/ 0 w 45640"/>
                <a:gd name="connsiteY5" fmla="*/ 15214 h 30427"/>
                <a:gd name="connsiteX6" fmla="*/ 15214 w 45640"/>
                <a:gd name="connsiteY6" fmla="*/ 30427 h 30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640" h="30427">
                  <a:moveTo>
                    <a:pt x="15214" y="30427"/>
                  </a:moveTo>
                  <a:lnTo>
                    <a:pt x="30427" y="30427"/>
                  </a:lnTo>
                  <a:cubicBezTo>
                    <a:pt x="39555" y="30427"/>
                    <a:pt x="45641" y="24342"/>
                    <a:pt x="45641" y="15214"/>
                  </a:cubicBezTo>
                  <a:cubicBezTo>
                    <a:pt x="45641" y="6085"/>
                    <a:pt x="39555" y="0"/>
                    <a:pt x="30427" y="0"/>
                  </a:cubicBezTo>
                  <a:lnTo>
                    <a:pt x="15214" y="0"/>
                  </a:lnTo>
                  <a:cubicBezTo>
                    <a:pt x="6085" y="0"/>
                    <a:pt x="0" y="6085"/>
                    <a:pt x="0" y="15214"/>
                  </a:cubicBezTo>
                  <a:cubicBezTo>
                    <a:pt x="0" y="24342"/>
                    <a:pt x="6085" y="30427"/>
                    <a:pt x="15214" y="30427"/>
                  </a:cubicBez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grpSp>
      <p:grpSp>
        <p:nvGrpSpPr>
          <p:cNvPr id="63" name="Graphic 2356">
            <a:extLst>
              <a:ext uri="{FF2B5EF4-FFF2-40B4-BE49-F238E27FC236}">
                <a16:creationId xmlns:a16="http://schemas.microsoft.com/office/drawing/2014/main" id="{CF235D03-3BF3-EB44-B6A6-9262B5E5FF61}"/>
              </a:ext>
            </a:extLst>
          </p:cNvPr>
          <p:cNvGrpSpPr/>
          <p:nvPr/>
        </p:nvGrpSpPr>
        <p:grpSpPr>
          <a:xfrm>
            <a:off x="6281110" y="3985626"/>
            <a:ext cx="603997" cy="627387"/>
            <a:chOff x="9275308" y="5569451"/>
            <a:chExt cx="365125" cy="365125"/>
          </a:xfrm>
          <a:solidFill>
            <a:schemeClr val="accent1"/>
          </a:solidFill>
        </p:grpSpPr>
        <p:sp>
          <p:nvSpPr>
            <p:cNvPr id="64" name="Freeform 270">
              <a:extLst>
                <a:ext uri="{FF2B5EF4-FFF2-40B4-BE49-F238E27FC236}">
                  <a16:creationId xmlns:a16="http://schemas.microsoft.com/office/drawing/2014/main" id="{DCDD78E8-3520-B04F-B142-AA363BE53B04}"/>
                </a:ext>
              </a:extLst>
            </p:cNvPr>
            <p:cNvSpPr/>
            <p:nvPr/>
          </p:nvSpPr>
          <p:spPr>
            <a:xfrm>
              <a:off x="9442656" y="5630305"/>
              <a:ext cx="30427" cy="30427"/>
            </a:xfrm>
            <a:custGeom>
              <a:avLst/>
              <a:gdLst>
                <a:gd name="connsiteX0" fmla="*/ 30427 w 30427"/>
                <a:gd name="connsiteY0" fmla="*/ 15214 h 30427"/>
                <a:gd name="connsiteX1" fmla="*/ 15214 w 30427"/>
                <a:gd name="connsiteY1" fmla="*/ 30427 h 30427"/>
                <a:gd name="connsiteX2" fmla="*/ 0 w 30427"/>
                <a:gd name="connsiteY2" fmla="*/ 15214 h 30427"/>
                <a:gd name="connsiteX3" fmla="*/ 15214 w 30427"/>
                <a:gd name="connsiteY3" fmla="*/ 0 h 30427"/>
                <a:gd name="connsiteX4" fmla="*/ 30427 w 30427"/>
                <a:gd name="connsiteY4" fmla="*/ 15214 h 30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27" h="30427">
                  <a:moveTo>
                    <a:pt x="30427" y="15214"/>
                  </a:moveTo>
                  <a:cubicBezTo>
                    <a:pt x="30427" y="23616"/>
                    <a:pt x="23616" y="30427"/>
                    <a:pt x="15214" y="30427"/>
                  </a:cubicBezTo>
                  <a:cubicBezTo>
                    <a:pt x="6811" y="30427"/>
                    <a:pt x="0" y="23616"/>
                    <a:pt x="0" y="15214"/>
                  </a:cubicBezTo>
                  <a:cubicBezTo>
                    <a:pt x="0" y="6811"/>
                    <a:pt x="6811" y="0"/>
                    <a:pt x="15214" y="0"/>
                  </a:cubicBezTo>
                  <a:cubicBezTo>
                    <a:pt x="23616" y="0"/>
                    <a:pt x="30427" y="6811"/>
                    <a:pt x="30427" y="15214"/>
                  </a:cubicBez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sp>
          <p:nvSpPr>
            <p:cNvPr id="65" name="Freeform 271">
              <a:extLst>
                <a:ext uri="{FF2B5EF4-FFF2-40B4-BE49-F238E27FC236}">
                  <a16:creationId xmlns:a16="http://schemas.microsoft.com/office/drawing/2014/main" id="{AEE8590C-1DDC-5D4A-97A3-1004571D3085}"/>
                </a:ext>
              </a:extLst>
            </p:cNvPr>
            <p:cNvSpPr/>
            <p:nvPr/>
          </p:nvSpPr>
          <p:spPr>
            <a:xfrm>
              <a:off x="9275308" y="5569451"/>
              <a:ext cx="365125" cy="365125"/>
            </a:xfrm>
            <a:custGeom>
              <a:avLst/>
              <a:gdLst>
                <a:gd name="connsiteX0" fmla="*/ 319484 w 365125"/>
                <a:gd name="connsiteY0" fmla="*/ 0 h 365125"/>
                <a:gd name="connsiteX1" fmla="*/ 45641 w 365125"/>
                <a:gd name="connsiteY1" fmla="*/ 0 h 365125"/>
                <a:gd name="connsiteX2" fmla="*/ 0 w 365125"/>
                <a:gd name="connsiteY2" fmla="*/ 45641 h 365125"/>
                <a:gd name="connsiteX3" fmla="*/ 0 w 365125"/>
                <a:gd name="connsiteY3" fmla="*/ 258630 h 365125"/>
                <a:gd name="connsiteX4" fmla="*/ 45641 w 365125"/>
                <a:gd name="connsiteY4" fmla="*/ 304271 h 365125"/>
                <a:gd name="connsiteX5" fmla="*/ 167349 w 365125"/>
                <a:gd name="connsiteY5" fmla="*/ 304271 h 365125"/>
                <a:gd name="connsiteX6" fmla="*/ 167349 w 365125"/>
                <a:gd name="connsiteY6" fmla="*/ 334698 h 365125"/>
                <a:gd name="connsiteX7" fmla="*/ 91281 w 365125"/>
                <a:gd name="connsiteY7" fmla="*/ 334698 h 365125"/>
                <a:gd name="connsiteX8" fmla="*/ 76068 w 365125"/>
                <a:gd name="connsiteY8" fmla="*/ 349911 h 365125"/>
                <a:gd name="connsiteX9" fmla="*/ 91281 w 365125"/>
                <a:gd name="connsiteY9" fmla="*/ 365125 h 365125"/>
                <a:gd name="connsiteX10" fmla="*/ 273844 w 365125"/>
                <a:gd name="connsiteY10" fmla="*/ 365125 h 365125"/>
                <a:gd name="connsiteX11" fmla="*/ 289057 w 365125"/>
                <a:gd name="connsiteY11" fmla="*/ 349911 h 365125"/>
                <a:gd name="connsiteX12" fmla="*/ 273844 w 365125"/>
                <a:gd name="connsiteY12" fmla="*/ 334698 h 365125"/>
                <a:gd name="connsiteX13" fmla="*/ 197776 w 365125"/>
                <a:gd name="connsiteY13" fmla="*/ 334698 h 365125"/>
                <a:gd name="connsiteX14" fmla="*/ 197776 w 365125"/>
                <a:gd name="connsiteY14" fmla="*/ 304271 h 365125"/>
                <a:gd name="connsiteX15" fmla="*/ 319484 w 365125"/>
                <a:gd name="connsiteY15" fmla="*/ 304271 h 365125"/>
                <a:gd name="connsiteX16" fmla="*/ 365125 w 365125"/>
                <a:gd name="connsiteY16" fmla="*/ 258630 h 365125"/>
                <a:gd name="connsiteX17" fmla="*/ 365125 w 365125"/>
                <a:gd name="connsiteY17" fmla="*/ 45641 h 365125"/>
                <a:gd name="connsiteX18" fmla="*/ 319484 w 365125"/>
                <a:gd name="connsiteY18" fmla="*/ 0 h 365125"/>
                <a:gd name="connsiteX19" fmla="*/ 334698 w 365125"/>
                <a:gd name="connsiteY19" fmla="*/ 258630 h 365125"/>
                <a:gd name="connsiteX20" fmla="*/ 319484 w 365125"/>
                <a:gd name="connsiteY20" fmla="*/ 273844 h 365125"/>
                <a:gd name="connsiteX21" fmla="*/ 45641 w 365125"/>
                <a:gd name="connsiteY21" fmla="*/ 273844 h 365125"/>
                <a:gd name="connsiteX22" fmla="*/ 30427 w 365125"/>
                <a:gd name="connsiteY22" fmla="*/ 258630 h 365125"/>
                <a:gd name="connsiteX23" fmla="*/ 30427 w 365125"/>
                <a:gd name="connsiteY23" fmla="*/ 243417 h 365125"/>
                <a:gd name="connsiteX24" fmla="*/ 334698 w 365125"/>
                <a:gd name="connsiteY24" fmla="*/ 243417 h 365125"/>
                <a:gd name="connsiteX25" fmla="*/ 334698 w 365125"/>
                <a:gd name="connsiteY25" fmla="*/ 258630 h 365125"/>
                <a:gd name="connsiteX26" fmla="*/ 334698 w 365125"/>
                <a:gd name="connsiteY26" fmla="*/ 212990 h 365125"/>
                <a:gd name="connsiteX27" fmla="*/ 30427 w 365125"/>
                <a:gd name="connsiteY27" fmla="*/ 212990 h 365125"/>
                <a:gd name="connsiteX28" fmla="*/ 30427 w 365125"/>
                <a:gd name="connsiteY28" fmla="*/ 45641 h 365125"/>
                <a:gd name="connsiteX29" fmla="*/ 45641 w 365125"/>
                <a:gd name="connsiteY29" fmla="*/ 30427 h 365125"/>
                <a:gd name="connsiteX30" fmla="*/ 319484 w 365125"/>
                <a:gd name="connsiteY30" fmla="*/ 30427 h 365125"/>
                <a:gd name="connsiteX31" fmla="*/ 334698 w 365125"/>
                <a:gd name="connsiteY31" fmla="*/ 45641 h 365125"/>
                <a:gd name="connsiteX32" fmla="*/ 334698 w 365125"/>
                <a:gd name="connsiteY32" fmla="*/ 212990 h 36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65125" h="365125">
                  <a:moveTo>
                    <a:pt x="319484" y="0"/>
                  </a:moveTo>
                  <a:lnTo>
                    <a:pt x="45641" y="0"/>
                  </a:lnTo>
                  <a:cubicBezTo>
                    <a:pt x="19778" y="0"/>
                    <a:pt x="0" y="19778"/>
                    <a:pt x="0" y="45641"/>
                  </a:cubicBezTo>
                  <a:lnTo>
                    <a:pt x="0" y="258630"/>
                  </a:lnTo>
                  <a:cubicBezTo>
                    <a:pt x="0" y="284493"/>
                    <a:pt x="19778" y="304271"/>
                    <a:pt x="45641" y="304271"/>
                  </a:cubicBezTo>
                  <a:lnTo>
                    <a:pt x="167349" y="304271"/>
                  </a:lnTo>
                  <a:lnTo>
                    <a:pt x="167349" y="334698"/>
                  </a:lnTo>
                  <a:lnTo>
                    <a:pt x="91281" y="334698"/>
                  </a:lnTo>
                  <a:cubicBezTo>
                    <a:pt x="82153" y="334698"/>
                    <a:pt x="76068" y="340783"/>
                    <a:pt x="76068" y="349911"/>
                  </a:cubicBezTo>
                  <a:cubicBezTo>
                    <a:pt x="76068" y="359040"/>
                    <a:pt x="82153" y="365125"/>
                    <a:pt x="91281" y="365125"/>
                  </a:cubicBezTo>
                  <a:lnTo>
                    <a:pt x="273844" y="365125"/>
                  </a:lnTo>
                  <a:cubicBezTo>
                    <a:pt x="282972" y="365125"/>
                    <a:pt x="289057" y="359040"/>
                    <a:pt x="289057" y="349911"/>
                  </a:cubicBezTo>
                  <a:cubicBezTo>
                    <a:pt x="289057" y="340783"/>
                    <a:pt x="282972" y="334698"/>
                    <a:pt x="273844" y="334698"/>
                  </a:cubicBezTo>
                  <a:lnTo>
                    <a:pt x="197776" y="334698"/>
                  </a:lnTo>
                  <a:lnTo>
                    <a:pt x="197776" y="304271"/>
                  </a:lnTo>
                  <a:lnTo>
                    <a:pt x="319484" y="304271"/>
                  </a:lnTo>
                  <a:cubicBezTo>
                    <a:pt x="345347" y="304271"/>
                    <a:pt x="365125" y="284493"/>
                    <a:pt x="365125" y="258630"/>
                  </a:cubicBezTo>
                  <a:lnTo>
                    <a:pt x="365125" y="45641"/>
                  </a:lnTo>
                  <a:cubicBezTo>
                    <a:pt x="365125" y="19778"/>
                    <a:pt x="345347" y="0"/>
                    <a:pt x="319484" y="0"/>
                  </a:cubicBezTo>
                  <a:close/>
                  <a:moveTo>
                    <a:pt x="334698" y="258630"/>
                  </a:moveTo>
                  <a:cubicBezTo>
                    <a:pt x="334698" y="267758"/>
                    <a:pt x="328613" y="273844"/>
                    <a:pt x="319484" y="273844"/>
                  </a:cubicBezTo>
                  <a:lnTo>
                    <a:pt x="45641" y="273844"/>
                  </a:lnTo>
                  <a:cubicBezTo>
                    <a:pt x="36513" y="273844"/>
                    <a:pt x="30427" y="267758"/>
                    <a:pt x="30427" y="258630"/>
                  </a:cubicBezTo>
                  <a:lnTo>
                    <a:pt x="30427" y="243417"/>
                  </a:lnTo>
                  <a:lnTo>
                    <a:pt x="334698" y="243417"/>
                  </a:lnTo>
                  <a:lnTo>
                    <a:pt x="334698" y="258630"/>
                  </a:lnTo>
                  <a:close/>
                  <a:moveTo>
                    <a:pt x="334698" y="212990"/>
                  </a:moveTo>
                  <a:lnTo>
                    <a:pt x="30427" y="212990"/>
                  </a:lnTo>
                  <a:lnTo>
                    <a:pt x="30427" y="45641"/>
                  </a:lnTo>
                  <a:cubicBezTo>
                    <a:pt x="30427" y="36513"/>
                    <a:pt x="36513" y="30427"/>
                    <a:pt x="45641" y="30427"/>
                  </a:cubicBezTo>
                  <a:lnTo>
                    <a:pt x="319484" y="30427"/>
                  </a:lnTo>
                  <a:cubicBezTo>
                    <a:pt x="328613" y="30427"/>
                    <a:pt x="334698" y="36513"/>
                    <a:pt x="334698" y="45641"/>
                  </a:cubicBezTo>
                  <a:lnTo>
                    <a:pt x="334698" y="212990"/>
                  </a:ln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grpSp>
      <p:grpSp>
        <p:nvGrpSpPr>
          <p:cNvPr id="66" name="Graphic 1900">
            <a:extLst>
              <a:ext uri="{FF2B5EF4-FFF2-40B4-BE49-F238E27FC236}">
                <a16:creationId xmlns:a16="http://schemas.microsoft.com/office/drawing/2014/main" id="{C02500CF-0AAF-6B4C-84C5-05BC34241C63}"/>
              </a:ext>
            </a:extLst>
          </p:cNvPr>
          <p:cNvGrpSpPr/>
          <p:nvPr/>
        </p:nvGrpSpPr>
        <p:grpSpPr>
          <a:xfrm>
            <a:off x="485776" y="4064045"/>
            <a:ext cx="654453" cy="601899"/>
            <a:chOff x="11201975" y="1802895"/>
            <a:chExt cx="334697" cy="334697"/>
          </a:xfrm>
          <a:solidFill>
            <a:schemeClr val="accent1"/>
          </a:solidFill>
        </p:grpSpPr>
        <p:sp>
          <p:nvSpPr>
            <p:cNvPr id="67" name="Freeform 595">
              <a:extLst>
                <a:ext uri="{FF2B5EF4-FFF2-40B4-BE49-F238E27FC236}">
                  <a16:creationId xmlns:a16="http://schemas.microsoft.com/office/drawing/2014/main" id="{6B0E7FE1-7BC6-C34B-BBC7-6FEC37B70FAC}"/>
                </a:ext>
              </a:extLst>
            </p:cNvPr>
            <p:cNvSpPr/>
            <p:nvPr/>
          </p:nvSpPr>
          <p:spPr>
            <a:xfrm>
              <a:off x="11263550" y="1833322"/>
              <a:ext cx="212559" cy="258630"/>
            </a:xfrm>
            <a:custGeom>
              <a:avLst/>
              <a:gdLst>
                <a:gd name="connsiteX0" fmla="*/ 197055 w 212559"/>
                <a:gd name="connsiteY0" fmla="*/ 258630 h 258630"/>
                <a:gd name="connsiteX1" fmla="*/ 212268 w 212559"/>
                <a:gd name="connsiteY1" fmla="*/ 246459 h 258630"/>
                <a:gd name="connsiteX2" fmla="*/ 201619 w 212559"/>
                <a:gd name="connsiteY2" fmla="*/ 228203 h 258630"/>
                <a:gd name="connsiteX3" fmla="*/ 163585 w 212559"/>
                <a:gd name="connsiteY3" fmla="*/ 219075 h 258630"/>
                <a:gd name="connsiteX4" fmla="*/ 152936 w 212559"/>
                <a:gd name="connsiteY4" fmla="*/ 203861 h 258630"/>
                <a:gd name="connsiteX5" fmla="*/ 152936 w 212559"/>
                <a:gd name="connsiteY5" fmla="*/ 196255 h 258630"/>
                <a:gd name="connsiteX6" fmla="*/ 198576 w 212559"/>
                <a:gd name="connsiteY6" fmla="*/ 106495 h 258630"/>
                <a:gd name="connsiteX7" fmla="*/ 198576 w 212559"/>
                <a:gd name="connsiteY7" fmla="*/ 91281 h 258630"/>
                <a:gd name="connsiteX8" fmla="*/ 107295 w 212559"/>
                <a:gd name="connsiteY8" fmla="*/ 0 h 258630"/>
                <a:gd name="connsiteX9" fmla="*/ 14492 w 212559"/>
                <a:gd name="connsiteY9" fmla="*/ 91281 h 258630"/>
                <a:gd name="connsiteX10" fmla="*/ 14492 w 212559"/>
                <a:gd name="connsiteY10" fmla="*/ 106495 h 258630"/>
                <a:gd name="connsiteX11" fmla="*/ 60133 w 212559"/>
                <a:gd name="connsiteY11" fmla="*/ 196255 h 258630"/>
                <a:gd name="connsiteX12" fmla="*/ 60133 w 212559"/>
                <a:gd name="connsiteY12" fmla="*/ 203861 h 258630"/>
                <a:gd name="connsiteX13" fmla="*/ 49484 w 212559"/>
                <a:gd name="connsiteY13" fmla="*/ 219075 h 258630"/>
                <a:gd name="connsiteX14" fmla="*/ 11450 w 212559"/>
                <a:gd name="connsiteY14" fmla="*/ 228203 h 258630"/>
                <a:gd name="connsiteX15" fmla="*/ 800 w 212559"/>
                <a:gd name="connsiteY15" fmla="*/ 246459 h 258630"/>
                <a:gd name="connsiteX16" fmla="*/ 19056 w 212559"/>
                <a:gd name="connsiteY16" fmla="*/ 257109 h 258630"/>
                <a:gd name="connsiteX17" fmla="*/ 58612 w 212559"/>
                <a:gd name="connsiteY17" fmla="*/ 247981 h 258630"/>
                <a:gd name="connsiteX18" fmla="*/ 92081 w 212559"/>
                <a:gd name="connsiteY18" fmla="*/ 203861 h 258630"/>
                <a:gd name="connsiteX19" fmla="*/ 92081 w 212559"/>
                <a:gd name="connsiteY19" fmla="*/ 188648 h 258630"/>
                <a:gd name="connsiteX20" fmla="*/ 85996 w 212559"/>
                <a:gd name="connsiteY20" fmla="*/ 176477 h 258630"/>
                <a:gd name="connsiteX21" fmla="*/ 44919 w 212559"/>
                <a:gd name="connsiteY21" fmla="*/ 106495 h 258630"/>
                <a:gd name="connsiteX22" fmla="*/ 44919 w 212559"/>
                <a:gd name="connsiteY22" fmla="*/ 91281 h 258630"/>
                <a:gd name="connsiteX23" fmla="*/ 105774 w 212559"/>
                <a:gd name="connsiteY23" fmla="*/ 30427 h 258630"/>
                <a:gd name="connsiteX24" fmla="*/ 166628 w 212559"/>
                <a:gd name="connsiteY24" fmla="*/ 91281 h 258630"/>
                <a:gd name="connsiteX25" fmla="*/ 166628 w 212559"/>
                <a:gd name="connsiteY25" fmla="*/ 106495 h 258630"/>
                <a:gd name="connsiteX26" fmla="*/ 127073 w 212559"/>
                <a:gd name="connsiteY26" fmla="*/ 176477 h 258630"/>
                <a:gd name="connsiteX27" fmla="*/ 120987 w 212559"/>
                <a:gd name="connsiteY27" fmla="*/ 188648 h 258630"/>
                <a:gd name="connsiteX28" fmla="*/ 120987 w 212559"/>
                <a:gd name="connsiteY28" fmla="*/ 203861 h 258630"/>
                <a:gd name="connsiteX29" fmla="*/ 155978 w 212559"/>
                <a:gd name="connsiteY29" fmla="*/ 249502 h 258630"/>
                <a:gd name="connsiteX30" fmla="*/ 194012 w 212559"/>
                <a:gd name="connsiteY30" fmla="*/ 258630 h 258630"/>
                <a:gd name="connsiteX31" fmla="*/ 197055 w 212559"/>
                <a:gd name="connsiteY31" fmla="*/ 258630 h 258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12559" h="258630">
                  <a:moveTo>
                    <a:pt x="197055" y="258630"/>
                  </a:moveTo>
                  <a:cubicBezTo>
                    <a:pt x="204662" y="258630"/>
                    <a:pt x="210747" y="254066"/>
                    <a:pt x="212268" y="246459"/>
                  </a:cubicBezTo>
                  <a:cubicBezTo>
                    <a:pt x="213790" y="238853"/>
                    <a:pt x="209226" y="229724"/>
                    <a:pt x="201619" y="228203"/>
                  </a:cubicBezTo>
                  <a:lnTo>
                    <a:pt x="163585" y="219075"/>
                  </a:lnTo>
                  <a:cubicBezTo>
                    <a:pt x="157500" y="217554"/>
                    <a:pt x="152936" y="211468"/>
                    <a:pt x="152936" y="203861"/>
                  </a:cubicBezTo>
                  <a:lnTo>
                    <a:pt x="152936" y="196255"/>
                  </a:lnTo>
                  <a:cubicBezTo>
                    <a:pt x="180320" y="174956"/>
                    <a:pt x="197055" y="143007"/>
                    <a:pt x="198576" y="106495"/>
                  </a:cubicBezTo>
                  <a:lnTo>
                    <a:pt x="198576" y="91281"/>
                  </a:lnTo>
                  <a:cubicBezTo>
                    <a:pt x="198576" y="39555"/>
                    <a:pt x="159021" y="0"/>
                    <a:pt x="107295" y="0"/>
                  </a:cubicBezTo>
                  <a:cubicBezTo>
                    <a:pt x="55569" y="0"/>
                    <a:pt x="14492" y="39555"/>
                    <a:pt x="14492" y="91281"/>
                  </a:cubicBezTo>
                  <a:lnTo>
                    <a:pt x="14492" y="106495"/>
                  </a:lnTo>
                  <a:cubicBezTo>
                    <a:pt x="16014" y="141486"/>
                    <a:pt x="32749" y="174956"/>
                    <a:pt x="60133" y="196255"/>
                  </a:cubicBezTo>
                  <a:lnTo>
                    <a:pt x="60133" y="203861"/>
                  </a:lnTo>
                  <a:cubicBezTo>
                    <a:pt x="60133" y="211468"/>
                    <a:pt x="55569" y="217554"/>
                    <a:pt x="49484" y="219075"/>
                  </a:cubicBezTo>
                  <a:lnTo>
                    <a:pt x="11450" y="228203"/>
                  </a:lnTo>
                  <a:cubicBezTo>
                    <a:pt x="3843" y="229724"/>
                    <a:pt x="-2243" y="238853"/>
                    <a:pt x="800" y="246459"/>
                  </a:cubicBezTo>
                  <a:cubicBezTo>
                    <a:pt x="2322" y="254066"/>
                    <a:pt x="11450" y="260152"/>
                    <a:pt x="19056" y="257109"/>
                  </a:cubicBezTo>
                  <a:lnTo>
                    <a:pt x="58612" y="247981"/>
                  </a:lnTo>
                  <a:cubicBezTo>
                    <a:pt x="78389" y="241895"/>
                    <a:pt x="92081" y="223639"/>
                    <a:pt x="92081" y="203861"/>
                  </a:cubicBezTo>
                  <a:lnTo>
                    <a:pt x="92081" y="188648"/>
                  </a:lnTo>
                  <a:cubicBezTo>
                    <a:pt x="92081" y="184084"/>
                    <a:pt x="89039" y="179520"/>
                    <a:pt x="85996" y="176477"/>
                  </a:cubicBezTo>
                  <a:cubicBezTo>
                    <a:pt x="60133" y="159742"/>
                    <a:pt x="46441" y="135401"/>
                    <a:pt x="44919" y="106495"/>
                  </a:cubicBezTo>
                  <a:lnTo>
                    <a:pt x="44919" y="91281"/>
                  </a:lnTo>
                  <a:cubicBezTo>
                    <a:pt x="44919" y="57811"/>
                    <a:pt x="72304" y="30427"/>
                    <a:pt x="105774" y="30427"/>
                  </a:cubicBezTo>
                  <a:cubicBezTo>
                    <a:pt x="139243" y="30427"/>
                    <a:pt x="166628" y="57811"/>
                    <a:pt x="166628" y="91281"/>
                  </a:cubicBezTo>
                  <a:lnTo>
                    <a:pt x="166628" y="106495"/>
                  </a:lnTo>
                  <a:cubicBezTo>
                    <a:pt x="165106" y="135401"/>
                    <a:pt x="151414" y="161264"/>
                    <a:pt x="127073" y="176477"/>
                  </a:cubicBezTo>
                  <a:cubicBezTo>
                    <a:pt x="122509" y="179520"/>
                    <a:pt x="120987" y="184084"/>
                    <a:pt x="120987" y="188648"/>
                  </a:cubicBezTo>
                  <a:lnTo>
                    <a:pt x="120987" y="203861"/>
                  </a:lnTo>
                  <a:cubicBezTo>
                    <a:pt x="120987" y="226682"/>
                    <a:pt x="134679" y="244938"/>
                    <a:pt x="155978" y="249502"/>
                  </a:cubicBezTo>
                  <a:lnTo>
                    <a:pt x="194012" y="258630"/>
                  </a:lnTo>
                  <a:cubicBezTo>
                    <a:pt x="194012" y="258630"/>
                    <a:pt x="195534" y="258630"/>
                    <a:pt x="197055" y="258630"/>
                  </a:cubicBez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sp>
          <p:nvSpPr>
            <p:cNvPr id="68" name="Freeform 596">
              <a:extLst>
                <a:ext uri="{FF2B5EF4-FFF2-40B4-BE49-F238E27FC236}">
                  <a16:creationId xmlns:a16="http://schemas.microsoft.com/office/drawing/2014/main" id="{55B4E3A2-FCC4-EA4E-A048-AA89DA1C5DC6}"/>
                </a:ext>
              </a:extLst>
            </p:cNvPr>
            <p:cNvSpPr/>
            <p:nvPr/>
          </p:nvSpPr>
          <p:spPr>
            <a:xfrm>
              <a:off x="11201975" y="2046312"/>
              <a:ext cx="91281" cy="91281"/>
            </a:xfrm>
            <a:custGeom>
              <a:avLst/>
              <a:gdLst>
                <a:gd name="connsiteX0" fmla="*/ 76068 w 91281"/>
                <a:gd name="connsiteY0" fmla="*/ 60854 h 91281"/>
                <a:gd name="connsiteX1" fmla="*/ 30427 w 91281"/>
                <a:gd name="connsiteY1" fmla="*/ 60854 h 91281"/>
                <a:gd name="connsiteX2" fmla="*/ 30427 w 91281"/>
                <a:gd name="connsiteY2" fmla="*/ 15214 h 91281"/>
                <a:gd name="connsiteX3" fmla="*/ 15214 w 91281"/>
                <a:gd name="connsiteY3" fmla="*/ 0 h 91281"/>
                <a:gd name="connsiteX4" fmla="*/ 0 w 91281"/>
                <a:gd name="connsiteY4" fmla="*/ 15214 h 91281"/>
                <a:gd name="connsiteX5" fmla="*/ 0 w 91281"/>
                <a:gd name="connsiteY5" fmla="*/ 76068 h 91281"/>
                <a:gd name="connsiteX6" fmla="*/ 15214 w 91281"/>
                <a:gd name="connsiteY6" fmla="*/ 91281 h 91281"/>
                <a:gd name="connsiteX7" fmla="*/ 76068 w 91281"/>
                <a:gd name="connsiteY7" fmla="*/ 91281 h 91281"/>
                <a:gd name="connsiteX8" fmla="*/ 91281 w 91281"/>
                <a:gd name="connsiteY8" fmla="*/ 76068 h 91281"/>
                <a:gd name="connsiteX9" fmla="*/ 76068 w 91281"/>
                <a:gd name="connsiteY9" fmla="*/ 60854 h 9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281" h="91281">
                  <a:moveTo>
                    <a:pt x="76068" y="60854"/>
                  </a:moveTo>
                  <a:lnTo>
                    <a:pt x="30427" y="60854"/>
                  </a:lnTo>
                  <a:lnTo>
                    <a:pt x="30427" y="15214"/>
                  </a:lnTo>
                  <a:cubicBezTo>
                    <a:pt x="30427" y="6085"/>
                    <a:pt x="24342" y="0"/>
                    <a:pt x="15214" y="0"/>
                  </a:cubicBezTo>
                  <a:cubicBezTo>
                    <a:pt x="6085" y="0"/>
                    <a:pt x="0" y="6085"/>
                    <a:pt x="0" y="15214"/>
                  </a:cubicBezTo>
                  <a:lnTo>
                    <a:pt x="0" y="76068"/>
                  </a:lnTo>
                  <a:cubicBezTo>
                    <a:pt x="0" y="85196"/>
                    <a:pt x="6085" y="91281"/>
                    <a:pt x="15214" y="91281"/>
                  </a:cubicBezTo>
                  <a:lnTo>
                    <a:pt x="76068" y="91281"/>
                  </a:lnTo>
                  <a:cubicBezTo>
                    <a:pt x="85196" y="91281"/>
                    <a:pt x="91281" y="85196"/>
                    <a:pt x="91281" y="76068"/>
                  </a:cubicBezTo>
                  <a:cubicBezTo>
                    <a:pt x="91281" y="66940"/>
                    <a:pt x="85196" y="60854"/>
                    <a:pt x="76068" y="60854"/>
                  </a:cubicBez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sp>
          <p:nvSpPr>
            <p:cNvPr id="69" name="Freeform 597">
              <a:extLst>
                <a:ext uri="{FF2B5EF4-FFF2-40B4-BE49-F238E27FC236}">
                  <a16:creationId xmlns:a16="http://schemas.microsoft.com/office/drawing/2014/main" id="{C89BB88A-20A9-B948-9905-592983E1EE9F}"/>
                </a:ext>
              </a:extLst>
            </p:cNvPr>
            <p:cNvSpPr/>
            <p:nvPr/>
          </p:nvSpPr>
          <p:spPr>
            <a:xfrm>
              <a:off x="11201975" y="1802895"/>
              <a:ext cx="91281" cy="91281"/>
            </a:xfrm>
            <a:custGeom>
              <a:avLst/>
              <a:gdLst>
                <a:gd name="connsiteX0" fmla="*/ 15214 w 91281"/>
                <a:gd name="connsiteY0" fmla="*/ 91281 h 91281"/>
                <a:gd name="connsiteX1" fmla="*/ 30427 w 91281"/>
                <a:gd name="connsiteY1" fmla="*/ 76068 h 91281"/>
                <a:gd name="connsiteX2" fmla="*/ 30427 w 91281"/>
                <a:gd name="connsiteY2" fmla="*/ 30427 h 91281"/>
                <a:gd name="connsiteX3" fmla="*/ 76068 w 91281"/>
                <a:gd name="connsiteY3" fmla="*/ 30427 h 91281"/>
                <a:gd name="connsiteX4" fmla="*/ 91281 w 91281"/>
                <a:gd name="connsiteY4" fmla="*/ 15214 h 91281"/>
                <a:gd name="connsiteX5" fmla="*/ 76068 w 91281"/>
                <a:gd name="connsiteY5" fmla="*/ 0 h 91281"/>
                <a:gd name="connsiteX6" fmla="*/ 15214 w 91281"/>
                <a:gd name="connsiteY6" fmla="*/ 0 h 91281"/>
                <a:gd name="connsiteX7" fmla="*/ 0 w 91281"/>
                <a:gd name="connsiteY7" fmla="*/ 15214 h 91281"/>
                <a:gd name="connsiteX8" fmla="*/ 0 w 91281"/>
                <a:gd name="connsiteY8" fmla="*/ 76068 h 91281"/>
                <a:gd name="connsiteX9" fmla="*/ 15214 w 91281"/>
                <a:gd name="connsiteY9" fmla="*/ 91281 h 9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281" h="91281">
                  <a:moveTo>
                    <a:pt x="15214" y="91281"/>
                  </a:moveTo>
                  <a:cubicBezTo>
                    <a:pt x="24342" y="91281"/>
                    <a:pt x="30427" y="85196"/>
                    <a:pt x="30427" y="76068"/>
                  </a:cubicBezTo>
                  <a:lnTo>
                    <a:pt x="30427" y="30427"/>
                  </a:lnTo>
                  <a:lnTo>
                    <a:pt x="76068" y="30427"/>
                  </a:lnTo>
                  <a:cubicBezTo>
                    <a:pt x="85196" y="30427"/>
                    <a:pt x="91281" y="24342"/>
                    <a:pt x="91281" y="15214"/>
                  </a:cubicBezTo>
                  <a:cubicBezTo>
                    <a:pt x="91281" y="6085"/>
                    <a:pt x="85196" y="0"/>
                    <a:pt x="76068" y="0"/>
                  </a:cubicBezTo>
                  <a:lnTo>
                    <a:pt x="15214" y="0"/>
                  </a:lnTo>
                  <a:cubicBezTo>
                    <a:pt x="6085" y="0"/>
                    <a:pt x="0" y="6085"/>
                    <a:pt x="0" y="15214"/>
                  </a:cubicBezTo>
                  <a:lnTo>
                    <a:pt x="0" y="76068"/>
                  </a:lnTo>
                  <a:cubicBezTo>
                    <a:pt x="0" y="85196"/>
                    <a:pt x="6085" y="91281"/>
                    <a:pt x="15214" y="91281"/>
                  </a:cubicBez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sp>
          <p:nvSpPr>
            <p:cNvPr id="70" name="Freeform 598">
              <a:extLst>
                <a:ext uri="{FF2B5EF4-FFF2-40B4-BE49-F238E27FC236}">
                  <a16:creationId xmlns:a16="http://schemas.microsoft.com/office/drawing/2014/main" id="{2E652F67-7EBF-0649-B238-3B4E8A1461D4}"/>
                </a:ext>
              </a:extLst>
            </p:cNvPr>
            <p:cNvSpPr/>
            <p:nvPr/>
          </p:nvSpPr>
          <p:spPr>
            <a:xfrm>
              <a:off x="11445392" y="1802895"/>
              <a:ext cx="91281" cy="91281"/>
            </a:xfrm>
            <a:custGeom>
              <a:avLst/>
              <a:gdLst>
                <a:gd name="connsiteX0" fmla="*/ 76068 w 91281"/>
                <a:gd name="connsiteY0" fmla="*/ 0 h 91281"/>
                <a:gd name="connsiteX1" fmla="*/ 15214 w 91281"/>
                <a:gd name="connsiteY1" fmla="*/ 0 h 91281"/>
                <a:gd name="connsiteX2" fmla="*/ 0 w 91281"/>
                <a:gd name="connsiteY2" fmla="*/ 15214 h 91281"/>
                <a:gd name="connsiteX3" fmla="*/ 15214 w 91281"/>
                <a:gd name="connsiteY3" fmla="*/ 30427 h 91281"/>
                <a:gd name="connsiteX4" fmla="*/ 60854 w 91281"/>
                <a:gd name="connsiteY4" fmla="*/ 30427 h 91281"/>
                <a:gd name="connsiteX5" fmla="*/ 60854 w 91281"/>
                <a:gd name="connsiteY5" fmla="*/ 76068 h 91281"/>
                <a:gd name="connsiteX6" fmla="*/ 76068 w 91281"/>
                <a:gd name="connsiteY6" fmla="*/ 91281 h 91281"/>
                <a:gd name="connsiteX7" fmla="*/ 91281 w 91281"/>
                <a:gd name="connsiteY7" fmla="*/ 76068 h 91281"/>
                <a:gd name="connsiteX8" fmla="*/ 91281 w 91281"/>
                <a:gd name="connsiteY8" fmla="*/ 15214 h 91281"/>
                <a:gd name="connsiteX9" fmla="*/ 76068 w 91281"/>
                <a:gd name="connsiteY9" fmla="*/ 0 h 9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281" h="91281">
                  <a:moveTo>
                    <a:pt x="76068" y="0"/>
                  </a:moveTo>
                  <a:lnTo>
                    <a:pt x="15214" y="0"/>
                  </a:lnTo>
                  <a:cubicBezTo>
                    <a:pt x="6085" y="0"/>
                    <a:pt x="0" y="6085"/>
                    <a:pt x="0" y="15214"/>
                  </a:cubicBezTo>
                  <a:cubicBezTo>
                    <a:pt x="0" y="24342"/>
                    <a:pt x="6085" y="30427"/>
                    <a:pt x="15214" y="30427"/>
                  </a:cubicBezTo>
                  <a:lnTo>
                    <a:pt x="60854" y="30427"/>
                  </a:lnTo>
                  <a:lnTo>
                    <a:pt x="60854" y="76068"/>
                  </a:lnTo>
                  <a:cubicBezTo>
                    <a:pt x="60854" y="85196"/>
                    <a:pt x="66940" y="91281"/>
                    <a:pt x="76068" y="91281"/>
                  </a:cubicBezTo>
                  <a:cubicBezTo>
                    <a:pt x="85196" y="91281"/>
                    <a:pt x="91281" y="85196"/>
                    <a:pt x="91281" y="76068"/>
                  </a:cubicBezTo>
                  <a:lnTo>
                    <a:pt x="91281" y="15214"/>
                  </a:lnTo>
                  <a:cubicBezTo>
                    <a:pt x="91281" y="6085"/>
                    <a:pt x="85196" y="0"/>
                    <a:pt x="76068" y="0"/>
                  </a:cubicBez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sp>
          <p:nvSpPr>
            <p:cNvPr id="71" name="Freeform 599">
              <a:extLst>
                <a:ext uri="{FF2B5EF4-FFF2-40B4-BE49-F238E27FC236}">
                  <a16:creationId xmlns:a16="http://schemas.microsoft.com/office/drawing/2014/main" id="{F3A05391-D12C-C144-AAA2-ADD0A7385566}"/>
                </a:ext>
              </a:extLst>
            </p:cNvPr>
            <p:cNvSpPr/>
            <p:nvPr/>
          </p:nvSpPr>
          <p:spPr>
            <a:xfrm>
              <a:off x="11445392" y="2046312"/>
              <a:ext cx="91281" cy="91281"/>
            </a:xfrm>
            <a:custGeom>
              <a:avLst/>
              <a:gdLst>
                <a:gd name="connsiteX0" fmla="*/ 76068 w 91281"/>
                <a:gd name="connsiteY0" fmla="*/ 0 h 91281"/>
                <a:gd name="connsiteX1" fmla="*/ 60854 w 91281"/>
                <a:gd name="connsiteY1" fmla="*/ 15214 h 91281"/>
                <a:gd name="connsiteX2" fmla="*/ 60854 w 91281"/>
                <a:gd name="connsiteY2" fmla="*/ 60854 h 91281"/>
                <a:gd name="connsiteX3" fmla="*/ 15214 w 91281"/>
                <a:gd name="connsiteY3" fmla="*/ 60854 h 91281"/>
                <a:gd name="connsiteX4" fmla="*/ 0 w 91281"/>
                <a:gd name="connsiteY4" fmla="*/ 76068 h 91281"/>
                <a:gd name="connsiteX5" fmla="*/ 15214 w 91281"/>
                <a:gd name="connsiteY5" fmla="*/ 91281 h 91281"/>
                <a:gd name="connsiteX6" fmla="*/ 76068 w 91281"/>
                <a:gd name="connsiteY6" fmla="*/ 91281 h 91281"/>
                <a:gd name="connsiteX7" fmla="*/ 91281 w 91281"/>
                <a:gd name="connsiteY7" fmla="*/ 76068 h 91281"/>
                <a:gd name="connsiteX8" fmla="*/ 91281 w 91281"/>
                <a:gd name="connsiteY8" fmla="*/ 15214 h 91281"/>
                <a:gd name="connsiteX9" fmla="*/ 76068 w 91281"/>
                <a:gd name="connsiteY9" fmla="*/ 0 h 9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281" h="91281">
                  <a:moveTo>
                    <a:pt x="76068" y="0"/>
                  </a:moveTo>
                  <a:cubicBezTo>
                    <a:pt x="66940" y="0"/>
                    <a:pt x="60854" y="6085"/>
                    <a:pt x="60854" y="15214"/>
                  </a:cubicBezTo>
                  <a:lnTo>
                    <a:pt x="60854" y="60854"/>
                  </a:lnTo>
                  <a:lnTo>
                    <a:pt x="15214" y="60854"/>
                  </a:lnTo>
                  <a:cubicBezTo>
                    <a:pt x="6085" y="60854"/>
                    <a:pt x="0" y="66940"/>
                    <a:pt x="0" y="76068"/>
                  </a:cubicBezTo>
                  <a:cubicBezTo>
                    <a:pt x="0" y="85196"/>
                    <a:pt x="6085" y="91281"/>
                    <a:pt x="15214" y="91281"/>
                  </a:cubicBezTo>
                  <a:lnTo>
                    <a:pt x="76068" y="91281"/>
                  </a:lnTo>
                  <a:cubicBezTo>
                    <a:pt x="85196" y="91281"/>
                    <a:pt x="91281" y="85196"/>
                    <a:pt x="91281" y="76068"/>
                  </a:cubicBezTo>
                  <a:lnTo>
                    <a:pt x="91281" y="15214"/>
                  </a:lnTo>
                  <a:cubicBezTo>
                    <a:pt x="91281" y="6085"/>
                    <a:pt x="85196" y="0"/>
                    <a:pt x="76068" y="0"/>
                  </a:cubicBez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grpSp>
      <p:sp>
        <p:nvSpPr>
          <p:cNvPr id="32" name="Título 3"/>
          <p:cNvSpPr>
            <a:spLocks noGrp="1"/>
          </p:cNvSpPr>
          <p:nvPr>
            <p:ph type="title"/>
          </p:nvPr>
        </p:nvSpPr>
        <p:spPr>
          <a:xfrm>
            <a:off x="457200" y="355601"/>
            <a:ext cx="11252199" cy="791966"/>
          </a:xfrm>
        </p:spPr>
        <p:txBody>
          <a:bodyPr/>
          <a:lstStyle/>
          <a:p>
            <a:r>
              <a:rPr lang="es-CO" dirty="0"/>
              <a:t>¿Cuáles son los principales controles que las compañías (re)aseguradoras están revisando?</a:t>
            </a:r>
          </a:p>
        </p:txBody>
      </p:sp>
    </p:spTree>
    <p:extLst>
      <p:ext uri="{BB962C8B-B14F-4D97-AF65-F5344CB8AC3E}">
        <p14:creationId xmlns:p14="http://schemas.microsoft.com/office/powerpoint/2010/main" val="101706558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7209367" y="1503363"/>
            <a:ext cx="4500032" cy="1513171"/>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s-CO" sz="2133" b="1" i="0" u="none" strike="noStrike" kern="1200" cap="none" spc="0" normalizeH="0" baseline="0" noProof="0" dirty="0">
                <a:ln>
                  <a:noFill/>
                </a:ln>
                <a:solidFill>
                  <a:srgbClr val="00968F"/>
                </a:solidFill>
                <a:effectLst/>
                <a:uLnTx/>
                <a:uFillTx/>
                <a:latin typeface="Arial" panose="020B0604020202020204"/>
                <a:ea typeface="+mn-ea"/>
                <a:cs typeface="+mn-cs"/>
                <a:sym typeface="Arial"/>
              </a:rPr>
              <a:t>Monitoreo y registro de redes</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s-CO" sz="1200" b="0" i="0" u="none" strike="noStrike" kern="1200" cap="none" spc="0" normalizeH="0" baseline="0" noProof="0" dirty="0">
                <a:ln>
                  <a:noFill/>
                </a:ln>
                <a:solidFill>
                  <a:srgbClr val="202020"/>
                </a:solidFill>
                <a:effectLst/>
                <a:uLnTx/>
                <a:uFillTx/>
                <a:latin typeface="Arial" panose="020B0604020202020204"/>
                <a:ea typeface="+mn-ea"/>
                <a:cs typeface="+mn-cs"/>
                <a:sym typeface="Arial"/>
              </a:rPr>
              <a:t>El monitoreo y registro de la actividad en la red permite a las organizaciones identificar posibles </a:t>
            </a:r>
            <a:r>
              <a:rPr kumimoji="0" lang="es-CO" sz="1200" b="0" i="0" u="none" strike="noStrike" kern="1200" cap="none" spc="0" normalizeH="0" baseline="0" noProof="0" dirty="0" err="1">
                <a:ln>
                  <a:noFill/>
                </a:ln>
                <a:solidFill>
                  <a:srgbClr val="202020"/>
                </a:solidFill>
                <a:effectLst/>
                <a:uLnTx/>
                <a:uFillTx/>
                <a:latin typeface="Arial" panose="020B0604020202020204"/>
                <a:ea typeface="+mn-ea"/>
                <a:cs typeface="+mn-cs"/>
                <a:sym typeface="Arial"/>
              </a:rPr>
              <a:t>ciberincidentes</a:t>
            </a:r>
            <a:r>
              <a:rPr kumimoji="0" lang="es-CO" sz="1200" b="0" i="0" u="none" strike="noStrike" kern="1200" cap="none" spc="0" normalizeH="0" baseline="0" noProof="0" dirty="0">
                <a:ln>
                  <a:noFill/>
                </a:ln>
                <a:solidFill>
                  <a:srgbClr val="202020"/>
                </a:solidFill>
                <a:effectLst/>
                <a:uLnTx/>
                <a:uFillTx/>
                <a:latin typeface="Arial" panose="020B0604020202020204"/>
                <a:ea typeface="+mn-ea"/>
                <a:cs typeface="+mn-cs"/>
                <a:sym typeface="Arial"/>
              </a:rPr>
              <a:t>. De esta manera las acciones de los atacantes pueden ser detectadas y contenidas en una etapa temprana. Tecnología automatizada combinada con monitoreo de red, es necesaria para observar la actividad en la red y detectar actividad anómala. </a:t>
            </a:r>
          </a:p>
        </p:txBody>
      </p:sp>
      <p:sp>
        <p:nvSpPr>
          <p:cNvPr id="38" name="Rectangle 37"/>
          <p:cNvSpPr/>
          <p:nvPr/>
        </p:nvSpPr>
        <p:spPr>
          <a:xfrm>
            <a:off x="7209367" y="4016978"/>
            <a:ext cx="4500032" cy="1841402"/>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s-CO" sz="2133" b="1" i="0" u="none" strike="noStrike" kern="1200" cap="none" spc="0" normalizeH="0" baseline="0" noProof="0" dirty="0">
                <a:ln>
                  <a:noFill/>
                </a:ln>
                <a:solidFill>
                  <a:srgbClr val="00968F"/>
                </a:solidFill>
                <a:effectLst/>
                <a:uLnTx/>
                <a:uFillTx/>
                <a:latin typeface="Arial" panose="020B0604020202020204"/>
                <a:ea typeface="+mn-ea"/>
                <a:cs typeface="+mn-cs"/>
                <a:sym typeface="Arial"/>
              </a:rPr>
              <a:t>Configuración segura (</a:t>
            </a:r>
            <a:r>
              <a:rPr kumimoji="0" lang="es-CO" sz="2133" b="1" i="0" u="none" strike="noStrike" kern="1200" cap="none" spc="0" normalizeH="0" baseline="0" noProof="0" dirty="0" err="1">
                <a:ln>
                  <a:noFill/>
                </a:ln>
                <a:solidFill>
                  <a:srgbClr val="00968F"/>
                </a:solidFill>
                <a:effectLst/>
                <a:uLnTx/>
                <a:uFillTx/>
                <a:latin typeface="Arial" panose="020B0604020202020204"/>
                <a:ea typeface="+mn-ea"/>
                <a:cs typeface="+mn-cs"/>
                <a:sym typeface="Arial"/>
              </a:rPr>
              <a:t>Hardened</a:t>
            </a:r>
            <a:r>
              <a:rPr kumimoji="0" lang="es-CO" sz="2133" b="1" i="0" u="none" strike="noStrike" kern="1200" cap="none" spc="0" normalizeH="0" baseline="0" noProof="0" dirty="0">
                <a:ln>
                  <a:noFill/>
                </a:ln>
                <a:solidFill>
                  <a:srgbClr val="00968F"/>
                </a:solidFill>
                <a:effectLst/>
                <a:uLnTx/>
                <a:uFillTx/>
                <a:latin typeface="Arial" panose="020B0604020202020204"/>
                <a:ea typeface="+mn-ea"/>
                <a:cs typeface="+mn-cs"/>
                <a:sym typeface="Arial"/>
              </a:rPr>
              <a:t> </a:t>
            </a:r>
            <a:r>
              <a:rPr kumimoji="0" lang="es-CO" sz="2133" b="1" i="0" u="none" strike="noStrike" kern="1200" cap="none" spc="0" normalizeH="0" baseline="0" noProof="0" dirty="0" err="1">
                <a:ln>
                  <a:noFill/>
                </a:ln>
                <a:solidFill>
                  <a:srgbClr val="00968F"/>
                </a:solidFill>
                <a:effectLst/>
                <a:uLnTx/>
                <a:uFillTx/>
                <a:latin typeface="Arial" panose="020B0604020202020204"/>
                <a:ea typeface="+mn-ea"/>
                <a:cs typeface="+mn-cs"/>
                <a:sym typeface="Arial"/>
              </a:rPr>
              <a:t>Device</a:t>
            </a:r>
            <a:r>
              <a:rPr kumimoji="0" lang="es-CO" sz="2133" b="1" i="0" u="none" strike="noStrike" kern="1200" cap="none" spc="0" normalizeH="0" baseline="0" noProof="0" dirty="0">
                <a:ln>
                  <a:noFill/>
                </a:ln>
                <a:solidFill>
                  <a:srgbClr val="00968F"/>
                </a:solidFill>
                <a:effectLst/>
                <a:uLnTx/>
                <a:uFillTx/>
                <a:latin typeface="Arial" panose="020B0604020202020204"/>
                <a:ea typeface="+mn-ea"/>
                <a:cs typeface="+mn-cs"/>
                <a:sym typeface="Arial"/>
              </a:rPr>
              <a:t> </a:t>
            </a:r>
            <a:r>
              <a:rPr kumimoji="0" lang="es-CO" sz="2133" b="1" i="0" u="none" strike="noStrike" kern="1200" cap="none" spc="0" normalizeH="0" baseline="0" noProof="0" dirty="0" err="1">
                <a:ln>
                  <a:noFill/>
                </a:ln>
                <a:solidFill>
                  <a:srgbClr val="00968F"/>
                </a:solidFill>
                <a:effectLst/>
                <a:uLnTx/>
                <a:uFillTx/>
                <a:latin typeface="Arial" panose="020B0604020202020204"/>
                <a:ea typeface="+mn-ea"/>
                <a:cs typeface="+mn-cs"/>
                <a:sym typeface="Arial"/>
              </a:rPr>
              <a:t>Configuration</a:t>
            </a:r>
            <a:r>
              <a:rPr kumimoji="0" lang="es-CO" sz="2133" b="1" i="0" u="none" strike="noStrike" kern="1200" cap="none" spc="0" normalizeH="0" baseline="0" noProof="0" dirty="0">
                <a:ln>
                  <a:noFill/>
                </a:ln>
                <a:solidFill>
                  <a:srgbClr val="00968F"/>
                </a:solidFill>
                <a:effectLst/>
                <a:uLnTx/>
                <a:uFillTx/>
                <a:latin typeface="Arial" panose="020B0604020202020204"/>
                <a:ea typeface="+mn-ea"/>
                <a:cs typeface="+mn-cs"/>
                <a:sym typeface="Arial"/>
              </a:rPr>
              <a:t>)</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s-CO" sz="1200" b="0" i="0" u="none" strike="noStrike" kern="1200" cap="none" spc="0" normalizeH="0" baseline="0" noProof="0" dirty="0">
                <a:ln>
                  <a:noFill/>
                </a:ln>
                <a:solidFill>
                  <a:srgbClr val="202020"/>
                </a:solidFill>
                <a:effectLst/>
                <a:uLnTx/>
                <a:uFillTx/>
                <a:latin typeface="Arial" panose="020B0604020202020204"/>
                <a:ea typeface="+mn-ea"/>
                <a:cs typeface="+mn-cs"/>
                <a:sym typeface="Arial"/>
              </a:rPr>
              <a:t>Los atacantes explotan los dispositivos con configuraciones predeterminadas o mal configurados. Definir líneas base de seguridad para fortalecer los dispositivos, administrar continuamente configuraciones seguras y cambiar los procesos de control, es esencial para evitar que los atacantes alcancen su objetivo. </a:t>
            </a:r>
          </a:p>
        </p:txBody>
      </p:sp>
      <p:sp>
        <p:nvSpPr>
          <p:cNvPr id="40" name="Rectangle 39"/>
          <p:cNvSpPr/>
          <p:nvPr/>
        </p:nvSpPr>
        <p:spPr>
          <a:xfrm>
            <a:off x="1409700" y="1503363"/>
            <a:ext cx="4572000" cy="1697837"/>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s-CO" sz="2133" b="1" i="0" u="none" strike="noStrike" kern="1200" cap="none" spc="0" normalizeH="0" baseline="0" noProof="0" dirty="0">
                <a:ln>
                  <a:noFill/>
                </a:ln>
                <a:solidFill>
                  <a:srgbClr val="00968F"/>
                </a:solidFill>
                <a:effectLst/>
                <a:uLnTx/>
                <a:uFillTx/>
                <a:latin typeface="Arial" panose="020B0604020202020204"/>
                <a:ea typeface="+mn-ea"/>
                <a:cs typeface="+mn-cs"/>
                <a:sym typeface="Arial"/>
              </a:rPr>
              <a:t>Protección de redes</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s-CO" sz="1200" b="0" i="0" u="none" strike="noStrike" kern="1200" cap="none" spc="0" normalizeH="0" baseline="0" noProof="0" dirty="0">
                <a:ln>
                  <a:noFill/>
                </a:ln>
                <a:solidFill>
                  <a:srgbClr val="202020"/>
                </a:solidFill>
                <a:effectLst/>
                <a:uLnTx/>
                <a:uFillTx/>
                <a:latin typeface="Arial" panose="020B0604020202020204"/>
                <a:ea typeface="+mn-ea"/>
                <a:cs typeface="+mn-cs"/>
                <a:sym typeface="Arial"/>
              </a:rPr>
              <a:t>Todas las organizaciones que han sido víctimas de una violación de seguridad utilizan firewalls para proteger sus redes, pero esta tecnología es usualmente subutilizada o anticuada. Este es el momento de asegurar unas herramientas eficientes, con reglas bien definidas, realizar segmentación de redes, utilizar sistemas de detección de intrusos, sistemas de prevención de fuga de datos, etc. </a:t>
            </a:r>
          </a:p>
        </p:txBody>
      </p:sp>
      <p:sp>
        <p:nvSpPr>
          <p:cNvPr id="41" name="Rectangle 40"/>
          <p:cNvSpPr/>
          <p:nvPr/>
        </p:nvSpPr>
        <p:spPr>
          <a:xfrm>
            <a:off x="1409700" y="4016978"/>
            <a:ext cx="4572000" cy="1841402"/>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s-CO" sz="2133" b="1" i="0" u="none" strike="noStrike" kern="1200" cap="none" spc="0" normalizeH="0" baseline="0" noProof="0" dirty="0">
                <a:ln>
                  <a:noFill/>
                </a:ln>
                <a:solidFill>
                  <a:srgbClr val="00968F"/>
                </a:solidFill>
                <a:effectLst/>
                <a:uLnTx/>
                <a:uFillTx/>
                <a:latin typeface="Arial" panose="020B0604020202020204"/>
                <a:ea typeface="+mn-ea"/>
                <a:cs typeface="+mn-cs"/>
                <a:sym typeface="Arial"/>
              </a:rPr>
              <a:t>Entrenamiento a empleados sobre </a:t>
            </a:r>
            <a:r>
              <a:rPr kumimoji="0" lang="es-CO" sz="2133" b="1" i="0" u="none" strike="noStrike" kern="1200" cap="none" spc="0" normalizeH="0" baseline="0" noProof="0" dirty="0" err="1">
                <a:ln>
                  <a:noFill/>
                </a:ln>
                <a:solidFill>
                  <a:srgbClr val="00968F"/>
                </a:solidFill>
                <a:effectLst/>
                <a:uLnTx/>
                <a:uFillTx/>
                <a:latin typeface="Arial" panose="020B0604020202020204"/>
                <a:ea typeface="+mn-ea"/>
                <a:cs typeface="+mn-cs"/>
                <a:sym typeface="Arial"/>
              </a:rPr>
              <a:t>Phishing</a:t>
            </a:r>
            <a:endParaRPr kumimoji="0" lang="es-CO" sz="2133" b="1" i="0" u="none" strike="noStrike" kern="1200" cap="none" spc="0" normalizeH="0" baseline="0" noProof="0" dirty="0">
              <a:ln>
                <a:noFill/>
              </a:ln>
              <a:solidFill>
                <a:srgbClr val="00968F"/>
              </a:solidFill>
              <a:effectLst/>
              <a:uLnTx/>
              <a:uFillTx/>
              <a:latin typeface="Arial" panose="020B0604020202020204"/>
              <a:ea typeface="+mn-ea"/>
              <a:cs typeface="+mn-cs"/>
              <a:sym typeface="Arial"/>
            </a:endParaRP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s-CO" sz="1200" b="0" i="0" u="none" strike="noStrike" kern="1200" cap="none" spc="0" normalizeH="0" baseline="0" noProof="0" dirty="0">
                <a:ln>
                  <a:noFill/>
                </a:ln>
                <a:solidFill>
                  <a:srgbClr val="202020"/>
                </a:solidFill>
                <a:effectLst/>
                <a:uLnTx/>
                <a:uFillTx/>
                <a:latin typeface="Arial" panose="020B0604020202020204"/>
                <a:ea typeface="+mn-ea"/>
                <a:cs typeface="+mn-cs"/>
                <a:sym typeface="Arial"/>
              </a:rPr>
              <a:t>Recientemente, los atacantes han utilizado el estrés generado por la pandemia para aprovecharse de las personas y utilizarlas como difusores de </a:t>
            </a:r>
            <a:r>
              <a:rPr kumimoji="0" lang="es-CO" sz="1200" b="0" i="0" u="none" strike="noStrike" kern="1200" cap="none" spc="0" normalizeH="0" baseline="0" noProof="0" dirty="0" err="1">
                <a:ln>
                  <a:noFill/>
                </a:ln>
                <a:solidFill>
                  <a:srgbClr val="202020"/>
                </a:solidFill>
                <a:effectLst/>
                <a:uLnTx/>
                <a:uFillTx/>
                <a:latin typeface="Arial" panose="020B0604020202020204"/>
                <a:ea typeface="+mn-ea"/>
                <a:cs typeface="+mn-cs"/>
                <a:sym typeface="Arial"/>
              </a:rPr>
              <a:t>ransomware</a:t>
            </a:r>
            <a:r>
              <a:rPr kumimoji="0" lang="es-CO" sz="1200" b="0" i="0" u="none" strike="noStrike" kern="1200" cap="none" spc="0" normalizeH="0" baseline="0" noProof="0" dirty="0">
                <a:ln>
                  <a:noFill/>
                </a:ln>
                <a:solidFill>
                  <a:srgbClr val="202020"/>
                </a:solidFill>
                <a:effectLst/>
                <a:uLnTx/>
                <a:uFillTx/>
                <a:latin typeface="Arial" panose="020B0604020202020204"/>
                <a:ea typeface="+mn-ea"/>
                <a:cs typeface="+mn-cs"/>
                <a:sym typeface="Arial"/>
              </a:rPr>
              <a:t>. Siempre existirán factores que permitan explotar el factor humano, por esto, el entrenamiento y las campañas de </a:t>
            </a:r>
            <a:r>
              <a:rPr kumimoji="0" lang="es-CO" sz="1200" b="0" i="0" u="none" strike="noStrike" kern="1200" cap="none" spc="0" normalizeH="0" baseline="0" noProof="0" dirty="0" err="1">
                <a:ln>
                  <a:noFill/>
                </a:ln>
                <a:solidFill>
                  <a:srgbClr val="202020"/>
                </a:solidFill>
                <a:effectLst/>
                <a:uLnTx/>
                <a:uFillTx/>
                <a:latin typeface="Arial" panose="020B0604020202020204"/>
                <a:ea typeface="+mn-ea"/>
                <a:cs typeface="+mn-cs"/>
                <a:sym typeface="Arial"/>
              </a:rPr>
              <a:t>ethical</a:t>
            </a:r>
            <a:r>
              <a:rPr kumimoji="0" lang="es-CO" sz="1200" b="0" i="0" u="none" strike="noStrike" kern="1200" cap="none" spc="0" normalizeH="0" baseline="0" noProof="0" dirty="0">
                <a:ln>
                  <a:noFill/>
                </a:ln>
                <a:solidFill>
                  <a:srgbClr val="202020"/>
                </a:solidFill>
                <a:effectLst/>
                <a:uLnTx/>
                <a:uFillTx/>
                <a:latin typeface="Arial" panose="020B0604020202020204"/>
                <a:ea typeface="+mn-ea"/>
                <a:cs typeface="+mn-cs"/>
                <a:sym typeface="Arial"/>
              </a:rPr>
              <a:t> </a:t>
            </a:r>
            <a:r>
              <a:rPr kumimoji="0" lang="es-CO" sz="1200" b="0" i="0" u="none" strike="noStrike" kern="1200" cap="none" spc="0" normalizeH="0" baseline="0" noProof="0" dirty="0" err="1">
                <a:ln>
                  <a:noFill/>
                </a:ln>
                <a:solidFill>
                  <a:srgbClr val="202020"/>
                </a:solidFill>
                <a:effectLst/>
                <a:uLnTx/>
                <a:uFillTx/>
                <a:latin typeface="Arial" panose="020B0604020202020204"/>
                <a:ea typeface="+mn-ea"/>
                <a:cs typeface="+mn-cs"/>
                <a:sym typeface="Arial"/>
              </a:rPr>
              <a:t>phishing</a:t>
            </a:r>
            <a:r>
              <a:rPr kumimoji="0" lang="es-CO" sz="1200" b="0" i="0" u="none" strike="noStrike" kern="1200" cap="none" spc="0" normalizeH="0" baseline="0" noProof="0" dirty="0">
                <a:ln>
                  <a:noFill/>
                </a:ln>
                <a:solidFill>
                  <a:srgbClr val="202020"/>
                </a:solidFill>
                <a:effectLst/>
                <a:uLnTx/>
                <a:uFillTx/>
                <a:latin typeface="Arial" panose="020B0604020202020204"/>
                <a:ea typeface="+mn-ea"/>
                <a:cs typeface="+mn-cs"/>
                <a:sym typeface="Arial"/>
              </a:rPr>
              <a:t> son esenciales para garantizar que las personas se mantengan alerta y vigilantes. </a:t>
            </a:r>
          </a:p>
        </p:txBody>
      </p:sp>
      <p:grpSp>
        <p:nvGrpSpPr>
          <p:cNvPr id="26" name="Graphic 2596">
            <a:extLst>
              <a:ext uri="{FF2B5EF4-FFF2-40B4-BE49-F238E27FC236}">
                <a16:creationId xmlns:a16="http://schemas.microsoft.com/office/drawing/2014/main" id="{2E04E489-9DDE-554F-B292-E3C632A1D28F}"/>
              </a:ext>
            </a:extLst>
          </p:cNvPr>
          <p:cNvGrpSpPr/>
          <p:nvPr/>
        </p:nvGrpSpPr>
        <p:grpSpPr>
          <a:xfrm>
            <a:off x="6244647" y="1551289"/>
            <a:ext cx="701772" cy="569048"/>
            <a:chOff x="8301482" y="5580220"/>
            <a:chExt cx="365125" cy="365125"/>
          </a:xfrm>
          <a:solidFill>
            <a:schemeClr val="accent1"/>
          </a:solidFill>
        </p:grpSpPr>
        <p:sp>
          <p:nvSpPr>
            <p:cNvPr id="27" name="Freeform 130">
              <a:extLst>
                <a:ext uri="{FF2B5EF4-FFF2-40B4-BE49-F238E27FC236}">
                  <a16:creationId xmlns:a16="http://schemas.microsoft.com/office/drawing/2014/main" id="{02C44E14-B7CD-0F46-B8FB-241D9CA8E400}"/>
                </a:ext>
              </a:extLst>
            </p:cNvPr>
            <p:cNvSpPr/>
            <p:nvPr/>
          </p:nvSpPr>
          <p:spPr>
            <a:xfrm>
              <a:off x="8362336" y="5838850"/>
              <a:ext cx="106494" cy="106494"/>
            </a:xfrm>
            <a:custGeom>
              <a:avLst/>
              <a:gdLst>
                <a:gd name="connsiteX0" fmla="*/ 91281 w 106494"/>
                <a:gd name="connsiteY0" fmla="*/ 76068 h 106494"/>
                <a:gd name="connsiteX1" fmla="*/ 89760 w 106494"/>
                <a:gd name="connsiteY1" fmla="*/ 76068 h 106494"/>
                <a:gd name="connsiteX2" fmla="*/ 30427 w 106494"/>
                <a:gd name="connsiteY2" fmla="*/ 15214 h 106494"/>
                <a:gd name="connsiteX3" fmla="*/ 15214 w 106494"/>
                <a:gd name="connsiteY3" fmla="*/ 0 h 106494"/>
                <a:gd name="connsiteX4" fmla="*/ 0 w 106494"/>
                <a:gd name="connsiteY4" fmla="*/ 15214 h 106494"/>
                <a:gd name="connsiteX5" fmla="*/ 89760 w 106494"/>
                <a:gd name="connsiteY5" fmla="*/ 106495 h 106494"/>
                <a:gd name="connsiteX6" fmla="*/ 91281 w 106494"/>
                <a:gd name="connsiteY6" fmla="*/ 106495 h 106494"/>
                <a:gd name="connsiteX7" fmla="*/ 106495 w 106494"/>
                <a:gd name="connsiteY7" fmla="*/ 91281 h 106494"/>
                <a:gd name="connsiteX8" fmla="*/ 91281 w 106494"/>
                <a:gd name="connsiteY8" fmla="*/ 76068 h 106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494" h="106494">
                  <a:moveTo>
                    <a:pt x="91281" y="76068"/>
                  </a:moveTo>
                  <a:lnTo>
                    <a:pt x="89760" y="76068"/>
                  </a:lnTo>
                  <a:cubicBezTo>
                    <a:pt x="57811" y="76068"/>
                    <a:pt x="30427" y="48683"/>
                    <a:pt x="30427" y="15214"/>
                  </a:cubicBezTo>
                  <a:cubicBezTo>
                    <a:pt x="30427" y="6085"/>
                    <a:pt x="24342" y="0"/>
                    <a:pt x="15214" y="0"/>
                  </a:cubicBezTo>
                  <a:cubicBezTo>
                    <a:pt x="6085" y="0"/>
                    <a:pt x="0" y="6085"/>
                    <a:pt x="0" y="15214"/>
                  </a:cubicBezTo>
                  <a:cubicBezTo>
                    <a:pt x="0" y="65418"/>
                    <a:pt x="41077" y="106495"/>
                    <a:pt x="89760" y="106495"/>
                  </a:cubicBezTo>
                  <a:lnTo>
                    <a:pt x="91281" y="106495"/>
                  </a:lnTo>
                  <a:cubicBezTo>
                    <a:pt x="100409" y="106495"/>
                    <a:pt x="106495" y="100409"/>
                    <a:pt x="106495" y="91281"/>
                  </a:cubicBezTo>
                  <a:cubicBezTo>
                    <a:pt x="106495" y="82153"/>
                    <a:pt x="100409" y="76068"/>
                    <a:pt x="91281" y="76068"/>
                  </a:cubicBez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sp>
          <p:nvSpPr>
            <p:cNvPr id="30" name="Freeform 131">
              <a:extLst>
                <a:ext uri="{FF2B5EF4-FFF2-40B4-BE49-F238E27FC236}">
                  <a16:creationId xmlns:a16="http://schemas.microsoft.com/office/drawing/2014/main" id="{352A0D57-CA1B-6A4F-BD52-E60C4D4F6BBF}"/>
                </a:ext>
              </a:extLst>
            </p:cNvPr>
            <p:cNvSpPr/>
            <p:nvPr/>
          </p:nvSpPr>
          <p:spPr>
            <a:xfrm>
              <a:off x="8499258" y="5580220"/>
              <a:ext cx="106494" cy="106494"/>
            </a:xfrm>
            <a:custGeom>
              <a:avLst/>
              <a:gdLst>
                <a:gd name="connsiteX0" fmla="*/ 15214 w 106494"/>
                <a:gd name="connsiteY0" fmla="*/ 30427 h 106494"/>
                <a:gd name="connsiteX1" fmla="*/ 76068 w 106494"/>
                <a:gd name="connsiteY1" fmla="*/ 89760 h 106494"/>
                <a:gd name="connsiteX2" fmla="*/ 76068 w 106494"/>
                <a:gd name="connsiteY2" fmla="*/ 91281 h 106494"/>
                <a:gd name="connsiteX3" fmla="*/ 91281 w 106494"/>
                <a:gd name="connsiteY3" fmla="*/ 106495 h 106494"/>
                <a:gd name="connsiteX4" fmla="*/ 106495 w 106494"/>
                <a:gd name="connsiteY4" fmla="*/ 91281 h 106494"/>
                <a:gd name="connsiteX5" fmla="*/ 106495 w 106494"/>
                <a:gd name="connsiteY5" fmla="*/ 89760 h 106494"/>
                <a:gd name="connsiteX6" fmla="*/ 15214 w 106494"/>
                <a:gd name="connsiteY6" fmla="*/ 0 h 106494"/>
                <a:gd name="connsiteX7" fmla="*/ 0 w 106494"/>
                <a:gd name="connsiteY7" fmla="*/ 15214 h 106494"/>
                <a:gd name="connsiteX8" fmla="*/ 15214 w 106494"/>
                <a:gd name="connsiteY8" fmla="*/ 30427 h 106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494" h="106494">
                  <a:moveTo>
                    <a:pt x="15214" y="30427"/>
                  </a:moveTo>
                  <a:cubicBezTo>
                    <a:pt x="48683" y="30427"/>
                    <a:pt x="76068" y="57811"/>
                    <a:pt x="76068" y="89760"/>
                  </a:cubicBezTo>
                  <a:lnTo>
                    <a:pt x="76068" y="91281"/>
                  </a:lnTo>
                  <a:cubicBezTo>
                    <a:pt x="76068" y="100409"/>
                    <a:pt x="82153" y="106495"/>
                    <a:pt x="91281" y="106495"/>
                  </a:cubicBezTo>
                  <a:cubicBezTo>
                    <a:pt x="100409" y="106495"/>
                    <a:pt x="106495" y="100409"/>
                    <a:pt x="106495" y="91281"/>
                  </a:cubicBezTo>
                  <a:lnTo>
                    <a:pt x="106495" y="89760"/>
                  </a:lnTo>
                  <a:cubicBezTo>
                    <a:pt x="106495" y="41077"/>
                    <a:pt x="65418" y="0"/>
                    <a:pt x="15214" y="0"/>
                  </a:cubicBezTo>
                  <a:cubicBezTo>
                    <a:pt x="6085" y="0"/>
                    <a:pt x="0" y="6085"/>
                    <a:pt x="0" y="15214"/>
                  </a:cubicBezTo>
                  <a:cubicBezTo>
                    <a:pt x="0" y="24342"/>
                    <a:pt x="6085" y="30427"/>
                    <a:pt x="15214" y="30427"/>
                  </a:cubicBez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sp>
          <p:nvSpPr>
            <p:cNvPr id="33" name="Freeform 132">
              <a:extLst>
                <a:ext uri="{FF2B5EF4-FFF2-40B4-BE49-F238E27FC236}">
                  <a16:creationId xmlns:a16="http://schemas.microsoft.com/office/drawing/2014/main" id="{7F204D5A-901F-F64A-B029-692BE4F0853B}"/>
                </a:ext>
              </a:extLst>
            </p:cNvPr>
            <p:cNvSpPr/>
            <p:nvPr/>
          </p:nvSpPr>
          <p:spPr>
            <a:xfrm>
              <a:off x="8301482" y="5580220"/>
              <a:ext cx="167348" cy="228203"/>
            </a:xfrm>
            <a:custGeom>
              <a:avLst/>
              <a:gdLst>
                <a:gd name="connsiteX0" fmla="*/ 136922 w 167348"/>
                <a:gd name="connsiteY0" fmla="*/ 0 h 228203"/>
                <a:gd name="connsiteX1" fmla="*/ 30427 w 167348"/>
                <a:gd name="connsiteY1" fmla="*/ 0 h 228203"/>
                <a:gd name="connsiteX2" fmla="*/ 0 w 167348"/>
                <a:gd name="connsiteY2" fmla="*/ 30427 h 228203"/>
                <a:gd name="connsiteX3" fmla="*/ 0 w 167348"/>
                <a:gd name="connsiteY3" fmla="*/ 197776 h 228203"/>
                <a:gd name="connsiteX4" fmla="*/ 30427 w 167348"/>
                <a:gd name="connsiteY4" fmla="*/ 228203 h 228203"/>
                <a:gd name="connsiteX5" fmla="*/ 136922 w 167348"/>
                <a:gd name="connsiteY5" fmla="*/ 228203 h 228203"/>
                <a:gd name="connsiteX6" fmla="*/ 167349 w 167348"/>
                <a:gd name="connsiteY6" fmla="*/ 197776 h 228203"/>
                <a:gd name="connsiteX7" fmla="*/ 167349 w 167348"/>
                <a:gd name="connsiteY7" fmla="*/ 30427 h 228203"/>
                <a:gd name="connsiteX8" fmla="*/ 136922 w 167348"/>
                <a:gd name="connsiteY8" fmla="*/ 0 h 228203"/>
                <a:gd name="connsiteX9" fmla="*/ 30427 w 167348"/>
                <a:gd name="connsiteY9" fmla="*/ 30427 h 228203"/>
                <a:gd name="connsiteX10" fmla="*/ 136922 w 167348"/>
                <a:gd name="connsiteY10" fmla="*/ 30427 h 228203"/>
                <a:gd name="connsiteX11" fmla="*/ 136922 w 167348"/>
                <a:gd name="connsiteY11" fmla="*/ 136922 h 228203"/>
                <a:gd name="connsiteX12" fmla="*/ 30427 w 167348"/>
                <a:gd name="connsiteY12" fmla="*/ 136922 h 228203"/>
                <a:gd name="connsiteX13" fmla="*/ 30427 w 167348"/>
                <a:gd name="connsiteY13" fmla="*/ 30427 h 228203"/>
                <a:gd name="connsiteX14" fmla="*/ 136922 w 167348"/>
                <a:gd name="connsiteY14" fmla="*/ 197776 h 228203"/>
                <a:gd name="connsiteX15" fmla="*/ 30427 w 167348"/>
                <a:gd name="connsiteY15" fmla="*/ 197776 h 228203"/>
                <a:gd name="connsiteX16" fmla="*/ 30427 w 167348"/>
                <a:gd name="connsiteY16" fmla="*/ 167349 h 228203"/>
                <a:gd name="connsiteX17" fmla="*/ 136922 w 167348"/>
                <a:gd name="connsiteY17" fmla="*/ 167349 h 228203"/>
                <a:gd name="connsiteX18" fmla="*/ 136922 w 167348"/>
                <a:gd name="connsiteY18" fmla="*/ 197776 h 228203"/>
                <a:gd name="connsiteX19" fmla="*/ 136922 w 167348"/>
                <a:gd name="connsiteY19" fmla="*/ 197776 h 228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7348" h="228203">
                  <a:moveTo>
                    <a:pt x="136922" y="0"/>
                  </a:moveTo>
                  <a:lnTo>
                    <a:pt x="30427" y="0"/>
                  </a:lnTo>
                  <a:cubicBezTo>
                    <a:pt x="12171" y="0"/>
                    <a:pt x="0" y="12171"/>
                    <a:pt x="0" y="30427"/>
                  </a:cubicBezTo>
                  <a:lnTo>
                    <a:pt x="0" y="197776"/>
                  </a:lnTo>
                  <a:cubicBezTo>
                    <a:pt x="0" y="216032"/>
                    <a:pt x="12171" y="228203"/>
                    <a:pt x="30427" y="228203"/>
                  </a:cubicBezTo>
                  <a:lnTo>
                    <a:pt x="136922" y="228203"/>
                  </a:lnTo>
                  <a:cubicBezTo>
                    <a:pt x="155178" y="228203"/>
                    <a:pt x="167349" y="216032"/>
                    <a:pt x="167349" y="197776"/>
                  </a:cubicBezTo>
                  <a:lnTo>
                    <a:pt x="167349" y="30427"/>
                  </a:lnTo>
                  <a:cubicBezTo>
                    <a:pt x="167349" y="12171"/>
                    <a:pt x="155178" y="0"/>
                    <a:pt x="136922" y="0"/>
                  </a:cubicBezTo>
                  <a:close/>
                  <a:moveTo>
                    <a:pt x="30427" y="30427"/>
                  </a:moveTo>
                  <a:lnTo>
                    <a:pt x="136922" y="30427"/>
                  </a:lnTo>
                  <a:lnTo>
                    <a:pt x="136922" y="136922"/>
                  </a:lnTo>
                  <a:lnTo>
                    <a:pt x="30427" y="136922"/>
                  </a:lnTo>
                  <a:lnTo>
                    <a:pt x="30427" y="30427"/>
                  </a:lnTo>
                  <a:close/>
                  <a:moveTo>
                    <a:pt x="136922" y="197776"/>
                  </a:moveTo>
                  <a:lnTo>
                    <a:pt x="30427" y="197776"/>
                  </a:lnTo>
                  <a:lnTo>
                    <a:pt x="30427" y="167349"/>
                  </a:lnTo>
                  <a:lnTo>
                    <a:pt x="136922" y="167349"/>
                  </a:lnTo>
                  <a:lnTo>
                    <a:pt x="136922" y="197776"/>
                  </a:lnTo>
                  <a:cubicBezTo>
                    <a:pt x="138443" y="197776"/>
                    <a:pt x="136922" y="197776"/>
                    <a:pt x="136922" y="197776"/>
                  </a:cubicBez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sp>
          <p:nvSpPr>
            <p:cNvPr id="34" name="Freeform 133">
              <a:extLst>
                <a:ext uri="{FF2B5EF4-FFF2-40B4-BE49-F238E27FC236}">
                  <a16:creationId xmlns:a16="http://schemas.microsoft.com/office/drawing/2014/main" id="{8D2B4C63-D395-DB49-9AFB-54C64B151E3E}"/>
                </a:ext>
              </a:extLst>
            </p:cNvPr>
            <p:cNvSpPr/>
            <p:nvPr/>
          </p:nvSpPr>
          <p:spPr>
            <a:xfrm>
              <a:off x="8499258" y="5717141"/>
              <a:ext cx="167348" cy="228203"/>
            </a:xfrm>
            <a:custGeom>
              <a:avLst/>
              <a:gdLst>
                <a:gd name="connsiteX0" fmla="*/ 136922 w 167348"/>
                <a:gd name="connsiteY0" fmla="*/ 0 h 228203"/>
                <a:gd name="connsiteX1" fmla="*/ 30427 w 167348"/>
                <a:gd name="connsiteY1" fmla="*/ 0 h 228203"/>
                <a:gd name="connsiteX2" fmla="*/ 0 w 167348"/>
                <a:gd name="connsiteY2" fmla="*/ 30427 h 228203"/>
                <a:gd name="connsiteX3" fmla="*/ 0 w 167348"/>
                <a:gd name="connsiteY3" fmla="*/ 197776 h 228203"/>
                <a:gd name="connsiteX4" fmla="*/ 30427 w 167348"/>
                <a:gd name="connsiteY4" fmla="*/ 228203 h 228203"/>
                <a:gd name="connsiteX5" fmla="*/ 136922 w 167348"/>
                <a:gd name="connsiteY5" fmla="*/ 228203 h 228203"/>
                <a:gd name="connsiteX6" fmla="*/ 167349 w 167348"/>
                <a:gd name="connsiteY6" fmla="*/ 197776 h 228203"/>
                <a:gd name="connsiteX7" fmla="*/ 167349 w 167348"/>
                <a:gd name="connsiteY7" fmla="*/ 30427 h 228203"/>
                <a:gd name="connsiteX8" fmla="*/ 136922 w 167348"/>
                <a:gd name="connsiteY8" fmla="*/ 0 h 228203"/>
                <a:gd name="connsiteX9" fmla="*/ 30427 w 167348"/>
                <a:gd name="connsiteY9" fmla="*/ 30427 h 228203"/>
                <a:gd name="connsiteX10" fmla="*/ 136922 w 167348"/>
                <a:gd name="connsiteY10" fmla="*/ 30427 h 228203"/>
                <a:gd name="connsiteX11" fmla="*/ 136922 w 167348"/>
                <a:gd name="connsiteY11" fmla="*/ 136922 h 228203"/>
                <a:gd name="connsiteX12" fmla="*/ 30427 w 167348"/>
                <a:gd name="connsiteY12" fmla="*/ 136922 h 228203"/>
                <a:gd name="connsiteX13" fmla="*/ 30427 w 167348"/>
                <a:gd name="connsiteY13" fmla="*/ 30427 h 228203"/>
                <a:gd name="connsiteX14" fmla="*/ 136922 w 167348"/>
                <a:gd name="connsiteY14" fmla="*/ 197776 h 228203"/>
                <a:gd name="connsiteX15" fmla="*/ 30427 w 167348"/>
                <a:gd name="connsiteY15" fmla="*/ 197776 h 228203"/>
                <a:gd name="connsiteX16" fmla="*/ 30427 w 167348"/>
                <a:gd name="connsiteY16" fmla="*/ 167349 h 228203"/>
                <a:gd name="connsiteX17" fmla="*/ 136922 w 167348"/>
                <a:gd name="connsiteY17" fmla="*/ 167349 h 228203"/>
                <a:gd name="connsiteX18" fmla="*/ 136922 w 167348"/>
                <a:gd name="connsiteY18" fmla="*/ 197776 h 228203"/>
                <a:gd name="connsiteX19" fmla="*/ 136922 w 167348"/>
                <a:gd name="connsiteY19" fmla="*/ 197776 h 228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7348" h="228203">
                  <a:moveTo>
                    <a:pt x="136922" y="0"/>
                  </a:moveTo>
                  <a:lnTo>
                    <a:pt x="30427" y="0"/>
                  </a:lnTo>
                  <a:cubicBezTo>
                    <a:pt x="12171" y="0"/>
                    <a:pt x="0" y="12171"/>
                    <a:pt x="0" y="30427"/>
                  </a:cubicBezTo>
                  <a:lnTo>
                    <a:pt x="0" y="197776"/>
                  </a:lnTo>
                  <a:cubicBezTo>
                    <a:pt x="0" y="216032"/>
                    <a:pt x="12171" y="228203"/>
                    <a:pt x="30427" y="228203"/>
                  </a:cubicBezTo>
                  <a:lnTo>
                    <a:pt x="136922" y="228203"/>
                  </a:lnTo>
                  <a:cubicBezTo>
                    <a:pt x="155178" y="228203"/>
                    <a:pt x="167349" y="216032"/>
                    <a:pt x="167349" y="197776"/>
                  </a:cubicBezTo>
                  <a:lnTo>
                    <a:pt x="167349" y="30427"/>
                  </a:lnTo>
                  <a:cubicBezTo>
                    <a:pt x="167349" y="12171"/>
                    <a:pt x="155178" y="0"/>
                    <a:pt x="136922" y="0"/>
                  </a:cubicBezTo>
                  <a:close/>
                  <a:moveTo>
                    <a:pt x="30427" y="30427"/>
                  </a:moveTo>
                  <a:lnTo>
                    <a:pt x="136922" y="30427"/>
                  </a:lnTo>
                  <a:lnTo>
                    <a:pt x="136922" y="136922"/>
                  </a:lnTo>
                  <a:lnTo>
                    <a:pt x="30427" y="136922"/>
                  </a:lnTo>
                  <a:lnTo>
                    <a:pt x="30427" y="30427"/>
                  </a:lnTo>
                  <a:close/>
                  <a:moveTo>
                    <a:pt x="136922" y="197776"/>
                  </a:moveTo>
                  <a:lnTo>
                    <a:pt x="30427" y="197776"/>
                  </a:lnTo>
                  <a:lnTo>
                    <a:pt x="30427" y="167349"/>
                  </a:lnTo>
                  <a:lnTo>
                    <a:pt x="136922" y="167349"/>
                  </a:lnTo>
                  <a:lnTo>
                    <a:pt x="136922" y="197776"/>
                  </a:lnTo>
                  <a:cubicBezTo>
                    <a:pt x="136922" y="197776"/>
                    <a:pt x="136922" y="197776"/>
                    <a:pt x="136922" y="197776"/>
                  </a:cubicBez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grpSp>
      <p:sp>
        <p:nvSpPr>
          <p:cNvPr id="36" name="Graphic 1730">
            <a:extLst>
              <a:ext uri="{FF2B5EF4-FFF2-40B4-BE49-F238E27FC236}">
                <a16:creationId xmlns:a16="http://schemas.microsoft.com/office/drawing/2014/main" id="{031CCDFA-DBDD-394E-8809-AA932E8CBA93}"/>
              </a:ext>
            </a:extLst>
          </p:cNvPr>
          <p:cNvSpPr/>
          <p:nvPr/>
        </p:nvSpPr>
        <p:spPr>
          <a:xfrm>
            <a:off x="479368" y="1648066"/>
            <a:ext cx="667382" cy="596696"/>
          </a:xfrm>
          <a:custGeom>
            <a:avLst/>
            <a:gdLst>
              <a:gd name="connsiteX0" fmla="*/ 365125 w 365125"/>
              <a:gd name="connsiteY0" fmla="*/ 121708 h 365125"/>
              <a:gd name="connsiteX1" fmla="*/ 319484 w 365125"/>
              <a:gd name="connsiteY1" fmla="*/ 76068 h 365125"/>
              <a:gd name="connsiteX2" fmla="*/ 286015 w 365125"/>
              <a:gd name="connsiteY2" fmla="*/ 91281 h 365125"/>
              <a:gd name="connsiteX3" fmla="*/ 182563 w 365125"/>
              <a:gd name="connsiteY3" fmla="*/ 48683 h 365125"/>
              <a:gd name="connsiteX4" fmla="*/ 182563 w 365125"/>
              <a:gd name="connsiteY4" fmla="*/ 45641 h 365125"/>
              <a:gd name="connsiteX5" fmla="*/ 136922 w 365125"/>
              <a:gd name="connsiteY5" fmla="*/ 0 h 365125"/>
              <a:gd name="connsiteX6" fmla="*/ 91281 w 365125"/>
              <a:gd name="connsiteY6" fmla="*/ 45641 h 365125"/>
              <a:gd name="connsiteX7" fmla="*/ 100409 w 365125"/>
              <a:gd name="connsiteY7" fmla="*/ 73025 h 365125"/>
              <a:gd name="connsiteX8" fmla="*/ 56290 w 365125"/>
              <a:gd name="connsiteY8" fmla="*/ 138443 h 365125"/>
              <a:gd name="connsiteX9" fmla="*/ 45641 w 365125"/>
              <a:gd name="connsiteY9" fmla="*/ 136922 h 365125"/>
              <a:gd name="connsiteX10" fmla="*/ 0 w 365125"/>
              <a:gd name="connsiteY10" fmla="*/ 182563 h 365125"/>
              <a:gd name="connsiteX11" fmla="*/ 45641 w 365125"/>
              <a:gd name="connsiteY11" fmla="*/ 228203 h 365125"/>
              <a:gd name="connsiteX12" fmla="*/ 91281 w 365125"/>
              <a:gd name="connsiteY12" fmla="*/ 188648 h 365125"/>
              <a:gd name="connsiteX13" fmla="*/ 269280 w 365125"/>
              <a:gd name="connsiteY13" fmla="*/ 147571 h 365125"/>
              <a:gd name="connsiteX14" fmla="*/ 158221 w 365125"/>
              <a:gd name="connsiteY14" fmla="*/ 247981 h 365125"/>
              <a:gd name="connsiteX15" fmla="*/ 136922 w 365125"/>
              <a:gd name="connsiteY15" fmla="*/ 243417 h 365125"/>
              <a:gd name="connsiteX16" fmla="*/ 91281 w 365125"/>
              <a:gd name="connsiteY16" fmla="*/ 289057 h 365125"/>
              <a:gd name="connsiteX17" fmla="*/ 136922 w 365125"/>
              <a:gd name="connsiteY17" fmla="*/ 334698 h 365125"/>
              <a:gd name="connsiteX18" fmla="*/ 182563 w 365125"/>
              <a:gd name="connsiteY18" fmla="*/ 289057 h 365125"/>
              <a:gd name="connsiteX19" fmla="*/ 179520 w 365125"/>
              <a:gd name="connsiteY19" fmla="*/ 270801 h 365125"/>
              <a:gd name="connsiteX20" fmla="*/ 298185 w 365125"/>
              <a:gd name="connsiteY20" fmla="*/ 162785 h 365125"/>
              <a:gd name="connsiteX21" fmla="*/ 281451 w 365125"/>
              <a:gd name="connsiteY21" fmla="*/ 275365 h 365125"/>
              <a:gd name="connsiteX22" fmla="*/ 243417 w 365125"/>
              <a:gd name="connsiteY22" fmla="*/ 319484 h 365125"/>
              <a:gd name="connsiteX23" fmla="*/ 289057 w 365125"/>
              <a:gd name="connsiteY23" fmla="*/ 365125 h 365125"/>
              <a:gd name="connsiteX24" fmla="*/ 334698 w 365125"/>
              <a:gd name="connsiteY24" fmla="*/ 319484 h 365125"/>
              <a:gd name="connsiteX25" fmla="*/ 310356 w 365125"/>
              <a:gd name="connsiteY25" fmla="*/ 279929 h 365125"/>
              <a:gd name="connsiteX26" fmla="*/ 328613 w 365125"/>
              <a:gd name="connsiteY26" fmla="*/ 167349 h 365125"/>
              <a:gd name="connsiteX27" fmla="*/ 365125 w 365125"/>
              <a:gd name="connsiteY27" fmla="*/ 121708 h 365125"/>
              <a:gd name="connsiteX28" fmla="*/ 136922 w 365125"/>
              <a:gd name="connsiteY28" fmla="*/ 304271 h 365125"/>
              <a:gd name="connsiteX29" fmla="*/ 121708 w 365125"/>
              <a:gd name="connsiteY29" fmla="*/ 289057 h 365125"/>
              <a:gd name="connsiteX30" fmla="*/ 136922 w 365125"/>
              <a:gd name="connsiteY30" fmla="*/ 273844 h 365125"/>
              <a:gd name="connsiteX31" fmla="*/ 152135 w 365125"/>
              <a:gd name="connsiteY31" fmla="*/ 289057 h 365125"/>
              <a:gd name="connsiteX32" fmla="*/ 136922 w 365125"/>
              <a:gd name="connsiteY32" fmla="*/ 304271 h 365125"/>
              <a:gd name="connsiteX33" fmla="*/ 319484 w 365125"/>
              <a:gd name="connsiteY33" fmla="*/ 106495 h 365125"/>
              <a:gd name="connsiteX34" fmla="*/ 334698 w 365125"/>
              <a:gd name="connsiteY34" fmla="*/ 121708 h 365125"/>
              <a:gd name="connsiteX35" fmla="*/ 319484 w 365125"/>
              <a:gd name="connsiteY35" fmla="*/ 136922 h 365125"/>
              <a:gd name="connsiteX36" fmla="*/ 304271 w 365125"/>
              <a:gd name="connsiteY36" fmla="*/ 121708 h 365125"/>
              <a:gd name="connsiteX37" fmla="*/ 305792 w 365125"/>
              <a:gd name="connsiteY37" fmla="*/ 117144 h 365125"/>
              <a:gd name="connsiteX38" fmla="*/ 307314 w 365125"/>
              <a:gd name="connsiteY38" fmla="*/ 115623 h 365125"/>
              <a:gd name="connsiteX39" fmla="*/ 307314 w 365125"/>
              <a:gd name="connsiteY39" fmla="*/ 115623 h 365125"/>
              <a:gd name="connsiteX40" fmla="*/ 319484 w 365125"/>
              <a:gd name="connsiteY40" fmla="*/ 106495 h 365125"/>
              <a:gd name="connsiteX41" fmla="*/ 136922 w 365125"/>
              <a:gd name="connsiteY41" fmla="*/ 30427 h 365125"/>
              <a:gd name="connsiteX42" fmla="*/ 152135 w 365125"/>
              <a:gd name="connsiteY42" fmla="*/ 45641 h 365125"/>
              <a:gd name="connsiteX43" fmla="*/ 150614 w 365125"/>
              <a:gd name="connsiteY43" fmla="*/ 50205 h 365125"/>
              <a:gd name="connsiteX44" fmla="*/ 149093 w 365125"/>
              <a:gd name="connsiteY44" fmla="*/ 51726 h 365125"/>
              <a:gd name="connsiteX45" fmla="*/ 149093 w 365125"/>
              <a:gd name="connsiteY45" fmla="*/ 51726 h 365125"/>
              <a:gd name="connsiteX46" fmla="*/ 136922 w 365125"/>
              <a:gd name="connsiteY46" fmla="*/ 60854 h 365125"/>
              <a:gd name="connsiteX47" fmla="*/ 121708 w 365125"/>
              <a:gd name="connsiteY47" fmla="*/ 45641 h 365125"/>
              <a:gd name="connsiteX48" fmla="*/ 136922 w 365125"/>
              <a:gd name="connsiteY48" fmla="*/ 30427 h 365125"/>
              <a:gd name="connsiteX49" fmla="*/ 45641 w 365125"/>
              <a:gd name="connsiteY49" fmla="*/ 197776 h 365125"/>
              <a:gd name="connsiteX50" fmla="*/ 30427 w 365125"/>
              <a:gd name="connsiteY50" fmla="*/ 182563 h 365125"/>
              <a:gd name="connsiteX51" fmla="*/ 45641 w 365125"/>
              <a:gd name="connsiteY51" fmla="*/ 167349 h 365125"/>
              <a:gd name="connsiteX52" fmla="*/ 60854 w 365125"/>
              <a:gd name="connsiteY52" fmla="*/ 182563 h 365125"/>
              <a:gd name="connsiteX53" fmla="*/ 45641 w 365125"/>
              <a:gd name="connsiteY53" fmla="*/ 197776 h 365125"/>
              <a:gd name="connsiteX54" fmla="*/ 85196 w 365125"/>
              <a:gd name="connsiteY54" fmla="*/ 158221 h 365125"/>
              <a:gd name="connsiteX55" fmla="*/ 82153 w 365125"/>
              <a:gd name="connsiteY55" fmla="*/ 153657 h 365125"/>
              <a:gd name="connsiteX56" fmla="*/ 126272 w 365125"/>
              <a:gd name="connsiteY56" fmla="*/ 88239 h 365125"/>
              <a:gd name="connsiteX57" fmla="*/ 136922 w 365125"/>
              <a:gd name="connsiteY57" fmla="*/ 91281 h 365125"/>
              <a:gd name="connsiteX58" fmla="*/ 170392 w 365125"/>
              <a:gd name="connsiteY58" fmla="*/ 76068 h 365125"/>
              <a:gd name="connsiteX59" fmla="*/ 269280 w 365125"/>
              <a:gd name="connsiteY59" fmla="*/ 115623 h 365125"/>
              <a:gd name="connsiteX60" fmla="*/ 85196 w 365125"/>
              <a:gd name="connsiteY60" fmla="*/ 158221 h 365125"/>
              <a:gd name="connsiteX61" fmla="*/ 289057 w 365125"/>
              <a:gd name="connsiteY61" fmla="*/ 334698 h 365125"/>
              <a:gd name="connsiteX62" fmla="*/ 273844 w 365125"/>
              <a:gd name="connsiteY62" fmla="*/ 319484 h 365125"/>
              <a:gd name="connsiteX63" fmla="*/ 289057 w 365125"/>
              <a:gd name="connsiteY63" fmla="*/ 304271 h 365125"/>
              <a:gd name="connsiteX64" fmla="*/ 304271 w 365125"/>
              <a:gd name="connsiteY64" fmla="*/ 319484 h 365125"/>
              <a:gd name="connsiteX65" fmla="*/ 289057 w 365125"/>
              <a:gd name="connsiteY65" fmla="*/ 334698 h 36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65125" h="365125">
                <a:moveTo>
                  <a:pt x="365125" y="121708"/>
                </a:moveTo>
                <a:cubicBezTo>
                  <a:pt x="365125" y="95845"/>
                  <a:pt x="345347" y="76068"/>
                  <a:pt x="319484" y="76068"/>
                </a:cubicBezTo>
                <a:cubicBezTo>
                  <a:pt x="305792" y="76068"/>
                  <a:pt x="295143" y="82153"/>
                  <a:pt x="286015" y="91281"/>
                </a:cubicBezTo>
                <a:lnTo>
                  <a:pt x="182563" y="48683"/>
                </a:lnTo>
                <a:cubicBezTo>
                  <a:pt x="182563" y="47162"/>
                  <a:pt x="182563" y="47162"/>
                  <a:pt x="182563" y="45641"/>
                </a:cubicBezTo>
                <a:cubicBezTo>
                  <a:pt x="182563" y="19778"/>
                  <a:pt x="162785" y="0"/>
                  <a:pt x="136922" y="0"/>
                </a:cubicBezTo>
                <a:cubicBezTo>
                  <a:pt x="111059" y="0"/>
                  <a:pt x="91281" y="19778"/>
                  <a:pt x="91281" y="45641"/>
                </a:cubicBezTo>
                <a:cubicBezTo>
                  <a:pt x="91281" y="56290"/>
                  <a:pt x="94324" y="65418"/>
                  <a:pt x="100409" y="73025"/>
                </a:cubicBezTo>
                <a:lnTo>
                  <a:pt x="56290" y="138443"/>
                </a:lnTo>
                <a:cubicBezTo>
                  <a:pt x="53247" y="136922"/>
                  <a:pt x="48683" y="136922"/>
                  <a:pt x="45641" y="136922"/>
                </a:cubicBezTo>
                <a:cubicBezTo>
                  <a:pt x="19778" y="136922"/>
                  <a:pt x="0" y="156699"/>
                  <a:pt x="0" y="182563"/>
                </a:cubicBezTo>
                <a:cubicBezTo>
                  <a:pt x="0" y="208426"/>
                  <a:pt x="19778" y="228203"/>
                  <a:pt x="45641" y="228203"/>
                </a:cubicBezTo>
                <a:cubicBezTo>
                  <a:pt x="68461" y="228203"/>
                  <a:pt x="88239" y="211468"/>
                  <a:pt x="91281" y="188648"/>
                </a:cubicBezTo>
                <a:lnTo>
                  <a:pt x="269280" y="147571"/>
                </a:lnTo>
                <a:lnTo>
                  <a:pt x="158221" y="247981"/>
                </a:lnTo>
                <a:cubicBezTo>
                  <a:pt x="152135" y="244938"/>
                  <a:pt x="144529" y="243417"/>
                  <a:pt x="136922" y="243417"/>
                </a:cubicBezTo>
                <a:cubicBezTo>
                  <a:pt x="111059" y="243417"/>
                  <a:pt x="91281" y="263194"/>
                  <a:pt x="91281" y="289057"/>
                </a:cubicBezTo>
                <a:cubicBezTo>
                  <a:pt x="91281" y="314920"/>
                  <a:pt x="111059" y="334698"/>
                  <a:pt x="136922" y="334698"/>
                </a:cubicBezTo>
                <a:cubicBezTo>
                  <a:pt x="162785" y="334698"/>
                  <a:pt x="182563" y="314920"/>
                  <a:pt x="182563" y="289057"/>
                </a:cubicBezTo>
                <a:cubicBezTo>
                  <a:pt x="182563" y="282972"/>
                  <a:pt x="181041" y="276886"/>
                  <a:pt x="179520" y="270801"/>
                </a:cubicBezTo>
                <a:lnTo>
                  <a:pt x="298185" y="162785"/>
                </a:lnTo>
                <a:lnTo>
                  <a:pt x="281451" y="275365"/>
                </a:lnTo>
                <a:cubicBezTo>
                  <a:pt x="260152" y="278408"/>
                  <a:pt x="243417" y="296664"/>
                  <a:pt x="243417" y="319484"/>
                </a:cubicBezTo>
                <a:cubicBezTo>
                  <a:pt x="243417" y="345347"/>
                  <a:pt x="263194" y="365125"/>
                  <a:pt x="289057" y="365125"/>
                </a:cubicBezTo>
                <a:cubicBezTo>
                  <a:pt x="314920" y="365125"/>
                  <a:pt x="334698" y="345347"/>
                  <a:pt x="334698" y="319484"/>
                </a:cubicBezTo>
                <a:cubicBezTo>
                  <a:pt x="334698" y="302749"/>
                  <a:pt x="325570" y="287536"/>
                  <a:pt x="310356" y="279929"/>
                </a:cubicBezTo>
                <a:lnTo>
                  <a:pt x="328613" y="167349"/>
                </a:lnTo>
                <a:cubicBezTo>
                  <a:pt x="348390" y="162785"/>
                  <a:pt x="365125" y="144529"/>
                  <a:pt x="365125" y="121708"/>
                </a:cubicBezTo>
                <a:close/>
                <a:moveTo>
                  <a:pt x="136922" y="304271"/>
                </a:moveTo>
                <a:cubicBezTo>
                  <a:pt x="127794" y="304271"/>
                  <a:pt x="121708" y="298185"/>
                  <a:pt x="121708" y="289057"/>
                </a:cubicBezTo>
                <a:cubicBezTo>
                  <a:pt x="121708" y="279929"/>
                  <a:pt x="127794" y="273844"/>
                  <a:pt x="136922" y="273844"/>
                </a:cubicBezTo>
                <a:cubicBezTo>
                  <a:pt x="146050" y="273844"/>
                  <a:pt x="152135" y="279929"/>
                  <a:pt x="152135" y="289057"/>
                </a:cubicBezTo>
                <a:cubicBezTo>
                  <a:pt x="152135" y="298185"/>
                  <a:pt x="146050" y="304271"/>
                  <a:pt x="136922" y="304271"/>
                </a:cubicBezTo>
                <a:close/>
                <a:moveTo>
                  <a:pt x="319484" y="106495"/>
                </a:moveTo>
                <a:cubicBezTo>
                  <a:pt x="328613" y="106495"/>
                  <a:pt x="334698" y="112580"/>
                  <a:pt x="334698" y="121708"/>
                </a:cubicBezTo>
                <a:cubicBezTo>
                  <a:pt x="334698" y="130836"/>
                  <a:pt x="328613" y="136922"/>
                  <a:pt x="319484" y="136922"/>
                </a:cubicBezTo>
                <a:cubicBezTo>
                  <a:pt x="310356" y="136922"/>
                  <a:pt x="304271" y="130836"/>
                  <a:pt x="304271" y="121708"/>
                </a:cubicBezTo>
                <a:cubicBezTo>
                  <a:pt x="304271" y="120187"/>
                  <a:pt x="304271" y="118666"/>
                  <a:pt x="305792" y="117144"/>
                </a:cubicBezTo>
                <a:cubicBezTo>
                  <a:pt x="305792" y="117144"/>
                  <a:pt x="305792" y="115623"/>
                  <a:pt x="307314" y="115623"/>
                </a:cubicBezTo>
                <a:cubicBezTo>
                  <a:pt x="307314" y="115623"/>
                  <a:pt x="307314" y="115623"/>
                  <a:pt x="307314" y="115623"/>
                </a:cubicBezTo>
                <a:cubicBezTo>
                  <a:pt x="308835" y="109538"/>
                  <a:pt x="313399" y="106495"/>
                  <a:pt x="319484" y="106495"/>
                </a:cubicBezTo>
                <a:close/>
                <a:moveTo>
                  <a:pt x="136922" y="30427"/>
                </a:moveTo>
                <a:cubicBezTo>
                  <a:pt x="146050" y="30427"/>
                  <a:pt x="152135" y="36513"/>
                  <a:pt x="152135" y="45641"/>
                </a:cubicBezTo>
                <a:cubicBezTo>
                  <a:pt x="152135" y="47162"/>
                  <a:pt x="152135" y="48683"/>
                  <a:pt x="150614" y="50205"/>
                </a:cubicBezTo>
                <a:cubicBezTo>
                  <a:pt x="150614" y="50205"/>
                  <a:pt x="150614" y="51726"/>
                  <a:pt x="149093" y="51726"/>
                </a:cubicBezTo>
                <a:cubicBezTo>
                  <a:pt x="149093" y="51726"/>
                  <a:pt x="149093" y="51726"/>
                  <a:pt x="149093" y="51726"/>
                </a:cubicBezTo>
                <a:cubicBezTo>
                  <a:pt x="147571" y="57811"/>
                  <a:pt x="143007" y="60854"/>
                  <a:pt x="136922" y="60854"/>
                </a:cubicBezTo>
                <a:cubicBezTo>
                  <a:pt x="127794" y="60854"/>
                  <a:pt x="121708" y="54769"/>
                  <a:pt x="121708" y="45641"/>
                </a:cubicBezTo>
                <a:cubicBezTo>
                  <a:pt x="121708" y="36513"/>
                  <a:pt x="127794" y="30427"/>
                  <a:pt x="136922" y="30427"/>
                </a:cubicBezTo>
                <a:close/>
                <a:moveTo>
                  <a:pt x="45641" y="197776"/>
                </a:moveTo>
                <a:cubicBezTo>
                  <a:pt x="36513" y="197776"/>
                  <a:pt x="30427" y="191691"/>
                  <a:pt x="30427" y="182563"/>
                </a:cubicBezTo>
                <a:cubicBezTo>
                  <a:pt x="30427" y="173434"/>
                  <a:pt x="36513" y="167349"/>
                  <a:pt x="45641" y="167349"/>
                </a:cubicBezTo>
                <a:cubicBezTo>
                  <a:pt x="54769" y="167349"/>
                  <a:pt x="60854" y="173434"/>
                  <a:pt x="60854" y="182563"/>
                </a:cubicBezTo>
                <a:cubicBezTo>
                  <a:pt x="60854" y="191691"/>
                  <a:pt x="54769" y="197776"/>
                  <a:pt x="45641" y="197776"/>
                </a:cubicBezTo>
                <a:close/>
                <a:moveTo>
                  <a:pt x="85196" y="158221"/>
                </a:moveTo>
                <a:cubicBezTo>
                  <a:pt x="83674" y="156699"/>
                  <a:pt x="83674" y="155178"/>
                  <a:pt x="82153" y="153657"/>
                </a:cubicBezTo>
                <a:lnTo>
                  <a:pt x="126272" y="88239"/>
                </a:lnTo>
                <a:cubicBezTo>
                  <a:pt x="129315" y="91281"/>
                  <a:pt x="133879" y="91281"/>
                  <a:pt x="136922" y="91281"/>
                </a:cubicBezTo>
                <a:cubicBezTo>
                  <a:pt x="150614" y="91281"/>
                  <a:pt x="161264" y="85196"/>
                  <a:pt x="170392" y="76068"/>
                </a:cubicBezTo>
                <a:lnTo>
                  <a:pt x="269280" y="115623"/>
                </a:lnTo>
                <a:lnTo>
                  <a:pt x="85196" y="158221"/>
                </a:lnTo>
                <a:close/>
                <a:moveTo>
                  <a:pt x="289057" y="334698"/>
                </a:moveTo>
                <a:cubicBezTo>
                  <a:pt x="279929" y="334698"/>
                  <a:pt x="273844" y="328613"/>
                  <a:pt x="273844" y="319484"/>
                </a:cubicBezTo>
                <a:cubicBezTo>
                  <a:pt x="273844" y="310356"/>
                  <a:pt x="279929" y="304271"/>
                  <a:pt x="289057" y="304271"/>
                </a:cubicBezTo>
                <a:cubicBezTo>
                  <a:pt x="298185" y="304271"/>
                  <a:pt x="304271" y="310356"/>
                  <a:pt x="304271" y="319484"/>
                </a:cubicBezTo>
                <a:cubicBezTo>
                  <a:pt x="304271" y="328613"/>
                  <a:pt x="298185" y="334698"/>
                  <a:pt x="289057" y="334698"/>
                </a:cubicBezTo>
                <a:close/>
              </a:path>
            </a:pathLst>
          </a:custGeom>
          <a:solidFill>
            <a:schemeClr val="accent1"/>
          </a:solid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grpSp>
        <p:nvGrpSpPr>
          <p:cNvPr id="59" name="Graphic 2410">
            <a:extLst>
              <a:ext uri="{FF2B5EF4-FFF2-40B4-BE49-F238E27FC236}">
                <a16:creationId xmlns:a16="http://schemas.microsoft.com/office/drawing/2014/main" id="{28815F43-14C6-3C43-B4CA-13821B892908}"/>
              </a:ext>
            </a:extLst>
          </p:cNvPr>
          <p:cNvGrpSpPr/>
          <p:nvPr/>
        </p:nvGrpSpPr>
        <p:grpSpPr>
          <a:xfrm>
            <a:off x="614238" y="4016979"/>
            <a:ext cx="538421" cy="592316"/>
            <a:chOff x="664400" y="3689564"/>
            <a:chExt cx="365125" cy="365125"/>
          </a:xfrm>
          <a:solidFill>
            <a:schemeClr val="accent1"/>
          </a:solidFill>
        </p:grpSpPr>
        <p:sp>
          <p:nvSpPr>
            <p:cNvPr id="60" name="Freeform 107">
              <a:extLst>
                <a:ext uri="{FF2B5EF4-FFF2-40B4-BE49-F238E27FC236}">
                  <a16:creationId xmlns:a16="http://schemas.microsoft.com/office/drawing/2014/main" id="{D4361D2A-A126-974A-8E17-92ADA21E2095}"/>
                </a:ext>
              </a:extLst>
            </p:cNvPr>
            <p:cNvSpPr/>
            <p:nvPr/>
          </p:nvSpPr>
          <p:spPr>
            <a:xfrm>
              <a:off x="679613" y="3689564"/>
              <a:ext cx="91281" cy="91281"/>
            </a:xfrm>
            <a:custGeom>
              <a:avLst/>
              <a:gdLst>
                <a:gd name="connsiteX0" fmla="*/ 45641 w 91281"/>
                <a:gd name="connsiteY0" fmla="*/ 91281 h 91281"/>
                <a:gd name="connsiteX1" fmla="*/ 91281 w 91281"/>
                <a:gd name="connsiteY1" fmla="*/ 45641 h 91281"/>
                <a:gd name="connsiteX2" fmla="*/ 45641 w 91281"/>
                <a:gd name="connsiteY2" fmla="*/ 0 h 91281"/>
                <a:gd name="connsiteX3" fmla="*/ 0 w 91281"/>
                <a:gd name="connsiteY3" fmla="*/ 45641 h 91281"/>
                <a:gd name="connsiteX4" fmla="*/ 45641 w 91281"/>
                <a:gd name="connsiteY4" fmla="*/ 91281 h 91281"/>
                <a:gd name="connsiteX5" fmla="*/ 45641 w 91281"/>
                <a:gd name="connsiteY5" fmla="*/ 30427 h 91281"/>
                <a:gd name="connsiteX6" fmla="*/ 60854 w 91281"/>
                <a:gd name="connsiteY6" fmla="*/ 45641 h 91281"/>
                <a:gd name="connsiteX7" fmla="*/ 45641 w 91281"/>
                <a:gd name="connsiteY7" fmla="*/ 60854 h 91281"/>
                <a:gd name="connsiteX8" fmla="*/ 30427 w 91281"/>
                <a:gd name="connsiteY8" fmla="*/ 45641 h 91281"/>
                <a:gd name="connsiteX9" fmla="*/ 45641 w 91281"/>
                <a:gd name="connsiteY9" fmla="*/ 30427 h 9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281" h="91281">
                  <a:moveTo>
                    <a:pt x="45641" y="91281"/>
                  </a:moveTo>
                  <a:cubicBezTo>
                    <a:pt x="71504" y="91281"/>
                    <a:pt x="91281" y="71504"/>
                    <a:pt x="91281" y="45641"/>
                  </a:cubicBezTo>
                  <a:cubicBezTo>
                    <a:pt x="91281" y="19778"/>
                    <a:pt x="71504" y="0"/>
                    <a:pt x="45641" y="0"/>
                  </a:cubicBezTo>
                  <a:cubicBezTo>
                    <a:pt x="19778" y="0"/>
                    <a:pt x="0" y="19778"/>
                    <a:pt x="0" y="45641"/>
                  </a:cubicBezTo>
                  <a:cubicBezTo>
                    <a:pt x="0" y="71504"/>
                    <a:pt x="19778" y="91281"/>
                    <a:pt x="45641" y="91281"/>
                  </a:cubicBezTo>
                  <a:close/>
                  <a:moveTo>
                    <a:pt x="45641" y="30427"/>
                  </a:moveTo>
                  <a:cubicBezTo>
                    <a:pt x="54769" y="30427"/>
                    <a:pt x="60854" y="36513"/>
                    <a:pt x="60854" y="45641"/>
                  </a:cubicBezTo>
                  <a:cubicBezTo>
                    <a:pt x="60854" y="54769"/>
                    <a:pt x="54769" y="60854"/>
                    <a:pt x="45641" y="60854"/>
                  </a:cubicBezTo>
                  <a:cubicBezTo>
                    <a:pt x="36513" y="60854"/>
                    <a:pt x="30427" y="54769"/>
                    <a:pt x="30427" y="45641"/>
                  </a:cubicBezTo>
                  <a:cubicBezTo>
                    <a:pt x="30427" y="36513"/>
                    <a:pt x="36513" y="30427"/>
                    <a:pt x="45641" y="30427"/>
                  </a:cubicBez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sp>
          <p:nvSpPr>
            <p:cNvPr id="61" name="Freeform 108">
              <a:extLst>
                <a:ext uri="{FF2B5EF4-FFF2-40B4-BE49-F238E27FC236}">
                  <a16:creationId xmlns:a16="http://schemas.microsoft.com/office/drawing/2014/main" id="{B1DE0E86-189B-2C47-AF26-2B7023FBBBE3}"/>
                </a:ext>
              </a:extLst>
            </p:cNvPr>
            <p:cNvSpPr/>
            <p:nvPr/>
          </p:nvSpPr>
          <p:spPr>
            <a:xfrm>
              <a:off x="664400" y="3796058"/>
              <a:ext cx="243416" cy="258630"/>
            </a:xfrm>
            <a:custGeom>
              <a:avLst/>
              <a:gdLst>
                <a:gd name="connsiteX0" fmla="*/ 228203 w 243416"/>
                <a:gd name="connsiteY0" fmla="*/ 30427 h 258630"/>
                <a:gd name="connsiteX1" fmla="*/ 243417 w 243416"/>
                <a:gd name="connsiteY1" fmla="*/ 15214 h 258630"/>
                <a:gd name="connsiteX2" fmla="*/ 228203 w 243416"/>
                <a:gd name="connsiteY2" fmla="*/ 0 h 258630"/>
                <a:gd name="connsiteX3" fmla="*/ 45641 w 243416"/>
                <a:gd name="connsiteY3" fmla="*/ 0 h 258630"/>
                <a:gd name="connsiteX4" fmla="*/ 0 w 243416"/>
                <a:gd name="connsiteY4" fmla="*/ 45641 h 258630"/>
                <a:gd name="connsiteX5" fmla="*/ 0 w 243416"/>
                <a:gd name="connsiteY5" fmla="*/ 243417 h 258630"/>
                <a:gd name="connsiteX6" fmla="*/ 15214 w 243416"/>
                <a:gd name="connsiteY6" fmla="*/ 258630 h 258630"/>
                <a:gd name="connsiteX7" fmla="*/ 30427 w 243416"/>
                <a:gd name="connsiteY7" fmla="*/ 243417 h 258630"/>
                <a:gd name="connsiteX8" fmla="*/ 30427 w 243416"/>
                <a:gd name="connsiteY8" fmla="*/ 45641 h 258630"/>
                <a:gd name="connsiteX9" fmla="*/ 45641 w 243416"/>
                <a:gd name="connsiteY9" fmla="*/ 30427 h 258630"/>
                <a:gd name="connsiteX10" fmla="*/ 91281 w 243416"/>
                <a:gd name="connsiteY10" fmla="*/ 30427 h 258630"/>
                <a:gd name="connsiteX11" fmla="*/ 91281 w 243416"/>
                <a:gd name="connsiteY11" fmla="*/ 243417 h 258630"/>
                <a:gd name="connsiteX12" fmla="*/ 106495 w 243416"/>
                <a:gd name="connsiteY12" fmla="*/ 258630 h 258630"/>
                <a:gd name="connsiteX13" fmla="*/ 121708 w 243416"/>
                <a:gd name="connsiteY13" fmla="*/ 243417 h 258630"/>
                <a:gd name="connsiteX14" fmla="*/ 121708 w 243416"/>
                <a:gd name="connsiteY14" fmla="*/ 30427 h 258630"/>
                <a:gd name="connsiteX15" fmla="*/ 228203 w 243416"/>
                <a:gd name="connsiteY15" fmla="*/ 30427 h 258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3416" h="258630">
                  <a:moveTo>
                    <a:pt x="228203" y="30427"/>
                  </a:moveTo>
                  <a:cubicBezTo>
                    <a:pt x="237331" y="30427"/>
                    <a:pt x="243417" y="24342"/>
                    <a:pt x="243417" y="15214"/>
                  </a:cubicBezTo>
                  <a:cubicBezTo>
                    <a:pt x="243417" y="6085"/>
                    <a:pt x="237331" y="0"/>
                    <a:pt x="228203" y="0"/>
                  </a:cubicBezTo>
                  <a:lnTo>
                    <a:pt x="45641" y="0"/>
                  </a:lnTo>
                  <a:cubicBezTo>
                    <a:pt x="19778" y="0"/>
                    <a:pt x="0" y="19778"/>
                    <a:pt x="0" y="45641"/>
                  </a:cubicBezTo>
                  <a:lnTo>
                    <a:pt x="0" y="243417"/>
                  </a:lnTo>
                  <a:cubicBezTo>
                    <a:pt x="0" y="252545"/>
                    <a:pt x="6085" y="258630"/>
                    <a:pt x="15214" y="258630"/>
                  </a:cubicBezTo>
                  <a:cubicBezTo>
                    <a:pt x="24342" y="258630"/>
                    <a:pt x="30427" y="252545"/>
                    <a:pt x="30427" y="243417"/>
                  </a:cubicBezTo>
                  <a:lnTo>
                    <a:pt x="30427" y="45641"/>
                  </a:lnTo>
                  <a:cubicBezTo>
                    <a:pt x="30427" y="36512"/>
                    <a:pt x="36513" y="30427"/>
                    <a:pt x="45641" y="30427"/>
                  </a:cubicBezTo>
                  <a:lnTo>
                    <a:pt x="91281" y="30427"/>
                  </a:lnTo>
                  <a:lnTo>
                    <a:pt x="91281" y="243417"/>
                  </a:lnTo>
                  <a:cubicBezTo>
                    <a:pt x="91281" y="252545"/>
                    <a:pt x="97367" y="258630"/>
                    <a:pt x="106495" y="258630"/>
                  </a:cubicBezTo>
                  <a:cubicBezTo>
                    <a:pt x="115623" y="258630"/>
                    <a:pt x="121708" y="252545"/>
                    <a:pt x="121708" y="243417"/>
                  </a:cubicBezTo>
                  <a:lnTo>
                    <a:pt x="121708" y="30427"/>
                  </a:lnTo>
                  <a:lnTo>
                    <a:pt x="228203" y="30427"/>
                  </a:ln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sp>
          <p:nvSpPr>
            <p:cNvPr id="62" name="Freeform 109">
              <a:extLst>
                <a:ext uri="{FF2B5EF4-FFF2-40B4-BE49-F238E27FC236}">
                  <a16:creationId xmlns:a16="http://schemas.microsoft.com/office/drawing/2014/main" id="{37E4D6E9-6AE4-8D48-B0AF-06D00A4AD799}"/>
                </a:ext>
              </a:extLst>
            </p:cNvPr>
            <p:cNvSpPr/>
            <p:nvPr/>
          </p:nvSpPr>
          <p:spPr>
            <a:xfrm>
              <a:off x="801321" y="3719991"/>
              <a:ext cx="228203" cy="334697"/>
            </a:xfrm>
            <a:custGeom>
              <a:avLst/>
              <a:gdLst>
                <a:gd name="connsiteX0" fmla="*/ 212990 w 228203"/>
                <a:gd name="connsiteY0" fmla="*/ 0 h 334697"/>
                <a:gd name="connsiteX1" fmla="*/ 15214 w 228203"/>
                <a:gd name="connsiteY1" fmla="*/ 0 h 334697"/>
                <a:gd name="connsiteX2" fmla="*/ 0 w 228203"/>
                <a:gd name="connsiteY2" fmla="*/ 15214 h 334697"/>
                <a:gd name="connsiteX3" fmla="*/ 15214 w 228203"/>
                <a:gd name="connsiteY3" fmla="*/ 30427 h 334697"/>
                <a:gd name="connsiteX4" fmla="*/ 197776 w 228203"/>
                <a:gd name="connsiteY4" fmla="*/ 30427 h 334697"/>
                <a:gd name="connsiteX5" fmla="*/ 197776 w 228203"/>
                <a:gd name="connsiteY5" fmla="*/ 197776 h 334697"/>
                <a:gd name="connsiteX6" fmla="*/ 121708 w 228203"/>
                <a:gd name="connsiteY6" fmla="*/ 197776 h 334697"/>
                <a:gd name="connsiteX7" fmla="*/ 121708 w 228203"/>
                <a:gd name="connsiteY7" fmla="*/ 197776 h 334697"/>
                <a:gd name="connsiteX8" fmla="*/ 30427 w 228203"/>
                <a:gd name="connsiteY8" fmla="*/ 197776 h 334697"/>
                <a:gd name="connsiteX9" fmla="*/ 15214 w 228203"/>
                <a:gd name="connsiteY9" fmla="*/ 212990 h 334697"/>
                <a:gd name="connsiteX10" fmla="*/ 30427 w 228203"/>
                <a:gd name="connsiteY10" fmla="*/ 228203 h 334697"/>
                <a:gd name="connsiteX11" fmla="*/ 111059 w 228203"/>
                <a:gd name="connsiteY11" fmla="*/ 228203 h 334697"/>
                <a:gd name="connsiteX12" fmla="*/ 152135 w 228203"/>
                <a:gd name="connsiteY12" fmla="*/ 325570 h 334697"/>
                <a:gd name="connsiteX13" fmla="*/ 165828 w 228203"/>
                <a:gd name="connsiteY13" fmla="*/ 334698 h 334697"/>
                <a:gd name="connsiteX14" fmla="*/ 171913 w 228203"/>
                <a:gd name="connsiteY14" fmla="*/ 333177 h 334697"/>
                <a:gd name="connsiteX15" fmla="*/ 179520 w 228203"/>
                <a:gd name="connsiteY15" fmla="*/ 313399 h 334697"/>
                <a:gd name="connsiteX16" fmla="*/ 144529 w 228203"/>
                <a:gd name="connsiteY16" fmla="*/ 228203 h 334697"/>
                <a:gd name="connsiteX17" fmla="*/ 212990 w 228203"/>
                <a:gd name="connsiteY17" fmla="*/ 228203 h 334697"/>
                <a:gd name="connsiteX18" fmla="*/ 228203 w 228203"/>
                <a:gd name="connsiteY18" fmla="*/ 212990 h 334697"/>
                <a:gd name="connsiteX19" fmla="*/ 228203 w 228203"/>
                <a:gd name="connsiteY19" fmla="*/ 15214 h 334697"/>
                <a:gd name="connsiteX20" fmla="*/ 212990 w 228203"/>
                <a:gd name="connsiteY20" fmla="*/ 0 h 334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8203" h="334697">
                  <a:moveTo>
                    <a:pt x="212990" y="0"/>
                  </a:moveTo>
                  <a:lnTo>
                    <a:pt x="15214" y="0"/>
                  </a:lnTo>
                  <a:cubicBezTo>
                    <a:pt x="6085" y="0"/>
                    <a:pt x="0" y="6085"/>
                    <a:pt x="0" y="15214"/>
                  </a:cubicBezTo>
                  <a:cubicBezTo>
                    <a:pt x="0" y="24342"/>
                    <a:pt x="6085" y="30427"/>
                    <a:pt x="15214" y="30427"/>
                  </a:cubicBezTo>
                  <a:lnTo>
                    <a:pt x="197776" y="30427"/>
                  </a:lnTo>
                  <a:lnTo>
                    <a:pt x="197776" y="197776"/>
                  </a:lnTo>
                  <a:lnTo>
                    <a:pt x="121708" y="197776"/>
                  </a:lnTo>
                  <a:cubicBezTo>
                    <a:pt x="121708" y="197776"/>
                    <a:pt x="121708" y="197776"/>
                    <a:pt x="121708" y="197776"/>
                  </a:cubicBezTo>
                  <a:lnTo>
                    <a:pt x="30427" y="197776"/>
                  </a:lnTo>
                  <a:cubicBezTo>
                    <a:pt x="21299" y="197776"/>
                    <a:pt x="15214" y="203861"/>
                    <a:pt x="15214" y="212990"/>
                  </a:cubicBezTo>
                  <a:cubicBezTo>
                    <a:pt x="15214" y="222118"/>
                    <a:pt x="21299" y="228203"/>
                    <a:pt x="30427" y="228203"/>
                  </a:cubicBezTo>
                  <a:lnTo>
                    <a:pt x="111059" y="228203"/>
                  </a:lnTo>
                  <a:lnTo>
                    <a:pt x="152135" y="325570"/>
                  </a:lnTo>
                  <a:cubicBezTo>
                    <a:pt x="155178" y="331655"/>
                    <a:pt x="159742" y="334698"/>
                    <a:pt x="165828" y="334698"/>
                  </a:cubicBezTo>
                  <a:cubicBezTo>
                    <a:pt x="167349" y="334698"/>
                    <a:pt x="170392" y="334698"/>
                    <a:pt x="171913" y="333177"/>
                  </a:cubicBezTo>
                  <a:cubicBezTo>
                    <a:pt x="179520" y="330134"/>
                    <a:pt x="182563" y="321006"/>
                    <a:pt x="179520" y="313399"/>
                  </a:cubicBezTo>
                  <a:lnTo>
                    <a:pt x="144529" y="228203"/>
                  </a:lnTo>
                  <a:lnTo>
                    <a:pt x="212990" y="228203"/>
                  </a:lnTo>
                  <a:cubicBezTo>
                    <a:pt x="222118" y="228203"/>
                    <a:pt x="228203" y="222118"/>
                    <a:pt x="228203" y="212990"/>
                  </a:cubicBezTo>
                  <a:lnTo>
                    <a:pt x="228203" y="15214"/>
                  </a:lnTo>
                  <a:cubicBezTo>
                    <a:pt x="228203" y="6085"/>
                    <a:pt x="222118" y="0"/>
                    <a:pt x="212990" y="0"/>
                  </a:cubicBezTo>
                  <a:close/>
                </a:path>
              </a:pathLst>
            </a:custGeom>
            <a:grp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grpSp>
      <p:sp>
        <p:nvSpPr>
          <p:cNvPr id="63" name="Graphic 1436">
            <a:extLst>
              <a:ext uri="{FF2B5EF4-FFF2-40B4-BE49-F238E27FC236}">
                <a16:creationId xmlns:a16="http://schemas.microsoft.com/office/drawing/2014/main" id="{711FDCB9-F6A7-F542-8391-2F5A20D53EAD}"/>
              </a:ext>
            </a:extLst>
          </p:cNvPr>
          <p:cNvSpPr/>
          <p:nvPr/>
        </p:nvSpPr>
        <p:spPr>
          <a:xfrm>
            <a:off x="6418216" y="4041830"/>
            <a:ext cx="554468" cy="535300"/>
          </a:xfrm>
          <a:custGeom>
            <a:avLst/>
            <a:gdLst>
              <a:gd name="connsiteX0" fmla="*/ 319484 w 334697"/>
              <a:gd name="connsiteY0" fmla="*/ 0 h 334697"/>
              <a:gd name="connsiteX1" fmla="*/ 15214 w 334697"/>
              <a:gd name="connsiteY1" fmla="*/ 0 h 334697"/>
              <a:gd name="connsiteX2" fmla="*/ 0 w 334697"/>
              <a:gd name="connsiteY2" fmla="*/ 15214 h 334697"/>
              <a:gd name="connsiteX3" fmla="*/ 0 w 334697"/>
              <a:gd name="connsiteY3" fmla="*/ 319484 h 334697"/>
              <a:gd name="connsiteX4" fmla="*/ 15214 w 334697"/>
              <a:gd name="connsiteY4" fmla="*/ 334698 h 334697"/>
              <a:gd name="connsiteX5" fmla="*/ 319484 w 334697"/>
              <a:gd name="connsiteY5" fmla="*/ 334698 h 334697"/>
              <a:gd name="connsiteX6" fmla="*/ 334698 w 334697"/>
              <a:gd name="connsiteY6" fmla="*/ 319484 h 334697"/>
              <a:gd name="connsiteX7" fmla="*/ 334698 w 334697"/>
              <a:gd name="connsiteY7" fmla="*/ 15214 h 334697"/>
              <a:gd name="connsiteX8" fmla="*/ 319484 w 334697"/>
              <a:gd name="connsiteY8" fmla="*/ 0 h 334697"/>
              <a:gd name="connsiteX9" fmla="*/ 304271 w 334697"/>
              <a:gd name="connsiteY9" fmla="*/ 152135 h 334697"/>
              <a:gd name="connsiteX10" fmla="*/ 286015 w 334697"/>
              <a:gd name="connsiteY10" fmla="*/ 152135 h 334697"/>
              <a:gd name="connsiteX11" fmla="*/ 243417 w 334697"/>
              <a:gd name="connsiteY11" fmla="*/ 121708 h 334697"/>
              <a:gd name="connsiteX12" fmla="*/ 200819 w 334697"/>
              <a:gd name="connsiteY12" fmla="*/ 152135 h 334697"/>
              <a:gd name="connsiteX13" fmla="*/ 182563 w 334697"/>
              <a:gd name="connsiteY13" fmla="*/ 152135 h 334697"/>
              <a:gd name="connsiteX14" fmla="*/ 182563 w 334697"/>
              <a:gd name="connsiteY14" fmla="*/ 121708 h 334697"/>
              <a:gd name="connsiteX15" fmla="*/ 167349 w 334697"/>
              <a:gd name="connsiteY15" fmla="*/ 106495 h 334697"/>
              <a:gd name="connsiteX16" fmla="*/ 152135 w 334697"/>
              <a:gd name="connsiteY16" fmla="*/ 91281 h 334697"/>
              <a:gd name="connsiteX17" fmla="*/ 167349 w 334697"/>
              <a:gd name="connsiteY17" fmla="*/ 76068 h 334697"/>
              <a:gd name="connsiteX18" fmla="*/ 182563 w 334697"/>
              <a:gd name="connsiteY18" fmla="*/ 60854 h 334697"/>
              <a:gd name="connsiteX19" fmla="*/ 182563 w 334697"/>
              <a:gd name="connsiteY19" fmla="*/ 30427 h 334697"/>
              <a:gd name="connsiteX20" fmla="*/ 304271 w 334697"/>
              <a:gd name="connsiteY20" fmla="*/ 30427 h 334697"/>
              <a:gd name="connsiteX21" fmla="*/ 304271 w 334697"/>
              <a:gd name="connsiteY21" fmla="*/ 152135 h 334697"/>
              <a:gd name="connsiteX22" fmla="*/ 152135 w 334697"/>
              <a:gd name="connsiteY22" fmla="*/ 30427 h 334697"/>
              <a:gd name="connsiteX23" fmla="*/ 152135 w 334697"/>
              <a:gd name="connsiteY23" fmla="*/ 48683 h 334697"/>
              <a:gd name="connsiteX24" fmla="*/ 121708 w 334697"/>
              <a:gd name="connsiteY24" fmla="*/ 91281 h 334697"/>
              <a:gd name="connsiteX25" fmla="*/ 152135 w 334697"/>
              <a:gd name="connsiteY25" fmla="*/ 133879 h 334697"/>
              <a:gd name="connsiteX26" fmla="*/ 152135 w 334697"/>
              <a:gd name="connsiteY26" fmla="*/ 152135 h 334697"/>
              <a:gd name="connsiteX27" fmla="*/ 121708 w 334697"/>
              <a:gd name="connsiteY27" fmla="*/ 152135 h 334697"/>
              <a:gd name="connsiteX28" fmla="*/ 106495 w 334697"/>
              <a:gd name="connsiteY28" fmla="*/ 167349 h 334697"/>
              <a:gd name="connsiteX29" fmla="*/ 91281 w 334697"/>
              <a:gd name="connsiteY29" fmla="*/ 182563 h 334697"/>
              <a:gd name="connsiteX30" fmla="*/ 76068 w 334697"/>
              <a:gd name="connsiteY30" fmla="*/ 167349 h 334697"/>
              <a:gd name="connsiteX31" fmla="*/ 60854 w 334697"/>
              <a:gd name="connsiteY31" fmla="*/ 152135 h 334697"/>
              <a:gd name="connsiteX32" fmla="*/ 30427 w 334697"/>
              <a:gd name="connsiteY32" fmla="*/ 152135 h 334697"/>
              <a:gd name="connsiteX33" fmla="*/ 30427 w 334697"/>
              <a:gd name="connsiteY33" fmla="*/ 30427 h 334697"/>
              <a:gd name="connsiteX34" fmla="*/ 152135 w 334697"/>
              <a:gd name="connsiteY34" fmla="*/ 30427 h 334697"/>
              <a:gd name="connsiteX35" fmla="*/ 30427 w 334697"/>
              <a:gd name="connsiteY35" fmla="*/ 182563 h 334697"/>
              <a:gd name="connsiteX36" fmla="*/ 48683 w 334697"/>
              <a:gd name="connsiteY36" fmla="*/ 182563 h 334697"/>
              <a:gd name="connsiteX37" fmla="*/ 91281 w 334697"/>
              <a:gd name="connsiteY37" fmla="*/ 212990 h 334697"/>
              <a:gd name="connsiteX38" fmla="*/ 133879 w 334697"/>
              <a:gd name="connsiteY38" fmla="*/ 182563 h 334697"/>
              <a:gd name="connsiteX39" fmla="*/ 152135 w 334697"/>
              <a:gd name="connsiteY39" fmla="*/ 182563 h 334697"/>
              <a:gd name="connsiteX40" fmla="*/ 152135 w 334697"/>
              <a:gd name="connsiteY40" fmla="*/ 212990 h 334697"/>
              <a:gd name="connsiteX41" fmla="*/ 167349 w 334697"/>
              <a:gd name="connsiteY41" fmla="*/ 228203 h 334697"/>
              <a:gd name="connsiteX42" fmla="*/ 182563 w 334697"/>
              <a:gd name="connsiteY42" fmla="*/ 243417 h 334697"/>
              <a:gd name="connsiteX43" fmla="*/ 167349 w 334697"/>
              <a:gd name="connsiteY43" fmla="*/ 258630 h 334697"/>
              <a:gd name="connsiteX44" fmla="*/ 152135 w 334697"/>
              <a:gd name="connsiteY44" fmla="*/ 273844 h 334697"/>
              <a:gd name="connsiteX45" fmla="*/ 152135 w 334697"/>
              <a:gd name="connsiteY45" fmla="*/ 304271 h 334697"/>
              <a:gd name="connsiteX46" fmla="*/ 30427 w 334697"/>
              <a:gd name="connsiteY46" fmla="*/ 304271 h 334697"/>
              <a:gd name="connsiteX47" fmla="*/ 30427 w 334697"/>
              <a:gd name="connsiteY47" fmla="*/ 182563 h 334697"/>
              <a:gd name="connsiteX48" fmla="*/ 182563 w 334697"/>
              <a:gd name="connsiteY48" fmla="*/ 304271 h 334697"/>
              <a:gd name="connsiteX49" fmla="*/ 182563 w 334697"/>
              <a:gd name="connsiteY49" fmla="*/ 286015 h 334697"/>
              <a:gd name="connsiteX50" fmla="*/ 212990 w 334697"/>
              <a:gd name="connsiteY50" fmla="*/ 243417 h 334697"/>
              <a:gd name="connsiteX51" fmla="*/ 182563 w 334697"/>
              <a:gd name="connsiteY51" fmla="*/ 200819 h 334697"/>
              <a:gd name="connsiteX52" fmla="*/ 182563 w 334697"/>
              <a:gd name="connsiteY52" fmla="*/ 182563 h 334697"/>
              <a:gd name="connsiteX53" fmla="*/ 212990 w 334697"/>
              <a:gd name="connsiteY53" fmla="*/ 182563 h 334697"/>
              <a:gd name="connsiteX54" fmla="*/ 228203 w 334697"/>
              <a:gd name="connsiteY54" fmla="*/ 167349 h 334697"/>
              <a:gd name="connsiteX55" fmla="*/ 243417 w 334697"/>
              <a:gd name="connsiteY55" fmla="*/ 152135 h 334697"/>
              <a:gd name="connsiteX56" fmla="*/ 258630 w 334697"/>
              <a:gd name="connsiteY56" fmla="*/ 167349 h 334697"/>
              <a:gd name="connsiteX57" fmla="*/ 273844 w 334697"/>
              <a:gd name="connsiteY57" fmla="*/ 182563 h 334697"/>
              <a:gd name="connsiteX58" fmla="*/ 304271 w 334697"/>
              <a:gd name="connsiteY58" fmla="*/ 182563 h 334697"/>
              <a:gd name="connsiteX59" fmla="*/ 304271 w 334697"/>
              <a:gd name="connsiteY59" fmla="*/ 304271 h 334697"/>
              <a:gd name="connsiteX60" fmla="*/ 182563 w 334697"/>
              <a:gd name="connsiteY60" fmla="*/ 304271 h 334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34697" h="334697">
                <a:moveTo>
                  <a:pt x="319484" y="0"/>
                </a:moveTo>
                <a:lnTo>
                  <a:pt x="15214" y="0"/>
                </a:lnTo>
                <a:cubicBezTo>
                  <a:pt x="6085" y="0"/>
                  <a:pt x="0" y="6085"/>
                  <a:pt x="0" y="15214"/>
                </a:cubicBezTo>
                <a:lnTo>
                  <a:pt x="0" y="319484"/>
                </a:lnTo>
                <a:cubicBezTo>
                  <a:pt x="0" y="328613"/>
                  <a:pt x="6085" y="334698"/>
                  <a:pt x="15214" y="334698"/>
                </a:cubicBezTo>
                <a:lnTo>
                  <a:pt x="319484" y="334698"/>
                </a:lnTo>
                <a:cubicBezTo>
                  <a:pt x="328613" y="334698"/>
                  <a:pt x="334698" y="328613"/>
                  <a:pt x="334698" y="319484"/>
                </a:cubicBezTo>
                <a:lnTo>
                  <a:pt x="334698" y="15214"/>
                </a:lnTo>
                <a:cubicBezTo>
                  <a:pt x="334698" y="6085"/>
                  <a:pt x="328613" y="0"/>
                  <a:pt x="319484" y="0"/>
                </a:cubicBezTo>
                <a:close/>
                <a:moveTo>
                  <a:pt x="304271" y="152135"/>
                </a:moveTo>
                <a:lnTo>
                  <a:pt x="286015" y="152135"/>
                </a:lnTo>
                <a:cubicBezTo>
                  <a:pt x="279929" y="133879"/>
                  <a:pt x="263194" y="121708"/>
                  <a:pt x="243417" y="121708"/>
                </a:cubicBezTo>
                <a:cubicBezTo>
                  <a:pt x="223639" y="121708"/>
                  <a:pt x="206904" y="133879"/>
                  <a:pt x="200819" y="152135"/>
                </a:cubicBezTo>
                <a:lnTo>
                  <a:pt x="182563" y="152135"/>
                </a:lnTo>
                <a:lnTo>
                  <a:pt x="182563" y="121708"/>
                </a:lnTo>
                <a:cubicBezTo>
                  <a:pt x="182563" y="112580"/>
                  <a:pt x="176477" y="106495"/>
                  <a:pt x="167349" y="106495"/>
                </a:cubicBezTo>
                <a:cubicBezTo>
                  <a:pt x="158221" y="106495"/>
                  <a:pt x="152135" y="100409"/>
                  <a:pt x="152135" y="91281"/>
                </a:cubicBezTo>
                <a:cubicBezTo>
                  <a:pt x="152135" y="82153"/>
                  <a:pt x="158221" y="76068"/>
                  <a:pt x="167349" y="76068"/>
                </a:cubicBezTo>
                <a:cubicBezTo>
                  <a:pt x="176477" y="76068"/>
                  <a:pt x="182563" y="69982"/>
                  <a:pt x="182563" y="60854"/>
                </a:cubicBezTo>
                <a:lnTo>
                  <a:pt x="182563" y="30427"/>
                </a:lnTo>
                <a:lnTo>
                  <a:pt x="304271" y="30427"/>
                </a:lnTo>
                <a:lnTo>
                  <a:pt x="304271" y="152135"/>
                </a:lnTo>
                <a:close/>
                <a:moveTo>
                  <a:pt x="152135" y="30427"/>
                </a:moveTo>
                <a:lnTo>
                  <a:pt x="152135" y="48683"/>
                </a:lnTo>
                <a:cubicBezTo>
                  <a:pt x="133879" y="54769"/>
                  <a:pt x="121708" y="71504"/>
                  <a:pt x="121708" y="91281"/>
                </a:cubicBezTo>
                <a:cubicBezTo>
                  <a:pt x="121708" y="111059"/>
                  <a:pt x="133879" y="127794"/>
                  <a:pt x="152135" y="133879"/>
                </a:cubicBezTo>
                <a:lnTo>
                  <a:pt x="152135" y="152135"/>
                </a:lnTo>
                <a:lnTo>
                  <a:pt x="121708" y="152135"/>
                </a:lnTo>
                <a:cubicBezTo>
                  <a:pt x="112580" y="152135"/>
                  <a:pt x="106495" y="158221"/>
                  <a:pt x="106495" y="167349"/>
                </a:cubicBezTo>
                <a:cubicBezTo>
                  <a:pt x="106495" y="176477"/>
                  <a:pt x="100409" y="182563"/>
                  <a:pt x="91281" y="182563"/>
                </a:cubicBezTo>
                <a:cubicBezTo>
                  <a:pt x="82153" y="182563"/>
                  <a:pt x="76068" y="176477"/>
                  <a:pt x="76068" y="167349"/>
                </a:cubicBezTo>
                <a:cubicBezTo>
                  <a:pt x="76068" y="158221"/>
                  <a:pt x="69982" y="152135"/>
                  <a:pt x="60854" y="152135"/>
                </a:cubicBezTo>
                <a:lnTo>
                  <a:pt x="30427" y="152135"/>
                </a:lnTo>
                <a:lnTo>
                  <a:pt x="30427" y="30427"/>
                </a:lnTo>
                <a:lnTo>
                  <a:pt x="152135" y="30427"/>
                </a:lnTo>
                <a:close/>
                <a:moveTo>
                  <a:pt x="30427" y="182563"/>
                </a:moveTo>
                <a:lnTo>
                  <a:pt x="48683" y="182563"/>
                </a:lnTo>
                <a:cubicBezTo>
                  <a:pt x="54769" y="200819"/>
                  <a:pt x="71504" y="212990"/>
                  <a:pt x="91281" y="212990"/>
                </a:cubicBezTo>
                <a:cubicBezTo>
                  <a:pt x="111059" y="212990"/>
                  <a:pt x="127794" y="200819"/>
                  <a:pt x="133879" y="182563"/>
                </a:cubicBezTo>
                <a:lnTo>
                  <a:pt x="152135" y="182563"/>
                </a:lnTo>
                <a:lnTo>
                  <a:pt x="152135" y="212990"/>
                </a:lnTo>
                <a:cubicBezTo>
                  <a:pt x="152135" y="222118"/>
                  <a:pt x="158221" y="228203"/>
                  <a:pt x="167349" y="228203"/>
                </a:cubicBezTo>
                <a:cubicBezTo>
                  <a:pt x="176477" y="228203"/>
                  <a:pt x="182563" y="234289"/>
                  <a:pt x="182563" y="243417"/>
                </a:cubicBezTo>
                <a:cubicBezTo>
                  <a:pt x="182563" y="252545"/>
                  <a:pt x="176477" y="258630"/>
                  <a:pt x="167349" y="258630"/>
                </a:cubicBezTo>
                <a:cubicBezTo>
                  <a:pt x="158221" y="258630"/>
                  <a:pt x="152135" y="264716"/>
                  <a:pt x="152135" y="273844"/>
                </a:cubicBezTo>
                <a:lnTo>
                  <a:pt x="152135" y="304271"/>
                </a:lnTo>
                <a:lnTo>
                  <a:pt x="30427" y="304271"/>
                </a:lnTo>
                <a:lnTo>
                  <a:pt x="30427" y="182563"/>
                </a:lnTo>
                <a:close/>
                <a:moveTo>
                  <a:pt x="182563" y="304271"/>
                </a:moveTo>
                <a:lnTo>
                  <a:pt x="182563" y="286015"/>
                </a:lnTo>
                <a:cubicBezTo>
                  <a:pt x="200819" y="279929"/>
                  <a:pt x="212990" y="263194"/>
                  <a:pt x="212990" y="243417"/>
                </a:cubicBezTo>
                <a:cubicBezTo>
                  <a:pt x="212990" y="223639"/>
                  <a:pt x="200819" y="206904"/>
                  <a:pt x="182563" y="200819"/>
                </a:cubicBezTo>
                <a:lnTo>
                  <a:pt x="182563" y="182563"/>
                </a:lnTo>
                <a:lnTo>
                  <a:pt x="212990" y="182563"/>
                </a:lnTo>
                <a:cubicBezTo>
                  <a:pt x="222118" y="182563"/>
                  <a:pt x="228203" y="176477"/>
                  <a:pt x="228203" y="167349"/>
                </a:cubicBezTo>
                <a:cubicBezTo>
                  <a:pt x="228203" y="158221"/>
                  <a:pt x="234289" y="152135"/>
                  <a:pt x="243417" y="152135"/>
                </a:cubicBezTo>
                <a:cubicBezTo>
                  <a:pt x="252545" y="152135"/>
                  <a:pt x="258630" y="158221"/>
                  <a:pt x="258630" y="167349"/>
                </a:cubicBezTo>
                <a:cubicBezTo>
                  <a:pt x="258630" y="176477"/>
                  <a:pt x="264716" y="182563"/>
                  <a:pt x="273844" y="182563"/>
                </a:cubicBezTo>
                <a:lnTo>
                  <a:pt x="304271" y="182563"/>
                </a:lnTo>
                <a:lnTo>
                  <a:pt x="304271" y="304271"/>
                </a:lnTo>
                <a:lnTo>
                  <a:pt x="182563" y="304271"/>
                </a:lnTo>
                <a:close/>
              </a:path>
            </a:pathLst>
          </a:custGeom>
          <a:solidFill>
            <a:schemeClr val="accent1"/>
          </a:solidFill>
          <a:ln w="1508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sym typeface="Arial"/>
            </a:endParaRPr>
          </a:p>
        </p:txBody>
      </p:sp>
      <p:sp>
        <p:nvSpPr>
          <p:cNvPr id="21" name="Título 3"/>
          <p:cNvSpPr>
            <a:spLocks noGrp="1"/>
          </p:cNvSpPr>
          <p:nvPr>
            <p:ph type="title"/>
          </p:nvPr>
        </p:nvSpPr>
        <p:spPr>
          <a:xfrm>
            <a:off x="457200" y="355601"/>
            <a:ext cx="11252199" cy="791966"/>
          </a:xfrm>
        </p:spPr>
        <p:txBody>
          <a:bodyPr/>
          <a:lstStyle/>
          <a:p>
            <a:r>
              <a:rPr lang="es-CO" dirty="0"/>
              <a:t>¿Cuáles son los principales controles que las compañías (re)aseguradoras están revisando?</a:t>
            </a:r>
          </a:p>
        </p:txBody>
      </p:sp>
    </p:spTree>
    <p:extLst>
      <p:ext uri="{BB962C8B-B14F-4D97-AF65-F5344CB8AC3E}">
        <p14:creationId xmlns:p14="http://schemas.microsoft.com/office/powerpoint/2010/main" val="27577405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5883" y="2270340"/>
            <a:ext cx="10901241" cy="5855705"/>
          </a:xfrm>
        </p:spPr>
        <p:txBody>
          <a:bodyPr>
            <a:normAutofit/>
          </a:bodyPr>
          <a:lstStyle/>
          <a:p>
            <a:r>
              <a:rPr lang="es-CO" sz="4000" dirty="0"/>
              <a:t>Anexo II :Estado del Mercado de </a:t>
            </a:r>
            <a:r>
              <a:rPr lang="es-CO" sz="4000" dirty="0" err="1"/>
              <a:t>Cyber</a:t>
            </a:r>
            <a:r>
              <a:rPr lang="es-CO" sz="4000" dirty="0"/>
              <a:t> 2Q </a:t>
            </a:r>
          </a:p>
        </p:txBody>
      </p:sp>
    </p:spTree>
    <p:extLst>
      <p:ext uri="{BB962C8B-B14F-4D97-AF65-F5344CB8AC3E}">
        <p14:creationId xmlns:p14="http://schemas.microsoft.com/office/powerpoint/2010/main" val="9452647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 name="Gráfico 91">
            <a:extLst>
              <a:ext uri="{FF2B5EF4-FFF2-40B4-BE49-F238E27FC236}">
                <a16:creationId xmlns:a16="http://schemas.microsoft.com/office/drawing/2014/main" id="{C04C36A9-F7C1-5EC5-5725-DD22BE0B4459}"/>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21622" t="18709"/>
          <a:stretch/>
        </p:blipFill>
        <p:spPr>
          <a:xfrm>
            <a:off x="-7437" y="241"/>
            <a:ext cx="2185152" cy="2266371"/>
          </a:xfrm>
          <a:prstGeom prst="rect">
            <a:avLst/>
          </a:prstGeom>
        </p:spPr>
      </p:pic>
      <p:graphicFrame>
        <p:nvGraphicFramePr>
          <p:cNvPr id="5" name="Object 4" hidden="1">
            <a:extLst>
              <a:ext uri="{FF2B5EF4-FFF2-40B4-BE49-F238E27FC236}">
                <a16:creationId xmlns:a16="http://schemas.microsoft.com/office/drawing/2014/main" id="{E2ACA678-6406-5D4E-A4EF-E360AE8B70C6}"/>
              </a:ext>
            </a:extLst>
          </p:cNvPr>
          <p:cNvGraphicFramePr>
            <a:graphicFrameLocks noChangeAspect="1"/>
          </p:cNvGraphicFramePr>
          <p:nvPr>
            <p:custDataLst>
              <p:tags r:id="rId1"/>
            </p:custDataLst>
          </p:nvPr>
        </p:nvGraphicFramePr>
        <p:xfrm>
          <a:off x="2017" y="1829"/>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E2ACA678-6406-5D4E-A4EF-E360AE8B70C6}"/>
                          </a:ext>
                        </a:extLst>
                      </p:cNvPr>
                      <p:cNvPicPr/>
                      <p:nvPr/>
                    </p:nvPicPr>
                    <p:blipFill>
                      <a:blip r:embed="rId6"/>
                      <a:stretch>
                        <a:fillRect/>
                      </a:stretch>
                    </p:blipFill>
                    <p:spPr>
                      <a:xfrm>
                        <a:off x="2017" y="1829"/>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18BDF0E-6D74-1742-92DD-6A84982A9623}"/>
              </a:ext>
            </a:extLst>
          </p:cNvPr>
          <p:cNvSpPr>
            <a:spLocks noGrp="1"/>
          </p:cNvSpPr>
          <p:nvPr>
            <p:ph type="title"/>
          </p:nvPr>
        </p:nvSpPr>
        <p:spPr>
          <a:xfrm>
            <a:off x="2177715" y="91156"/>
            <a:ext cx="11251409" cy="495264"/>
          </a:xfrm>
        </p:spPr>
        <p:txBody>
          <a:bodyPr/>
          <a:lstStyle/>
          <a:p>
            <a:r>
              <a:rPr lang="en-US" dirty="0"/>
              <a:t> Cyber Risks </a:t>
            </a:r>
            <a:br>
              <a:rPr lang="en-US" dirty="0"/>
            </a:br>
            <a:r>
              <a:rPr lang="en-US" dirty="0"/>
              <a:t> Market Update 2Q 2023.</a:t>
            </a:r>
          </a:p>
        </p:txBody>
      </p:sp>
      <p:grpSp>
        <p:nvGrpSpPr>
          <p:cNvPr id="32" name="Group 23"/>
          <p:cNvGrpSpPr/>
          <p:nvPr/>
        </p:nvGrpSpPr>
        <p:grpSpPr>
          <a:xfrm>
            <a:off x="531296" y="931354"/>
            <a:ext cx="7681867" cy="5711460"/>
            <a:chOff x="-37173" y="626244"/>
            <a:chExt cx="8688070" cy="6355810"/>
          </a:xfrm>
        </p:grpSpPr>
        <p:grpSp>
          <p:nvGrpSpPr>
            <p:cNvPr id="33" name="Group 24"/>
            <p:cNvGrpSpPr/>
            <p:nvPr/>
          </p:nvGrpSpPr>
          <p:grpSpPr>
            <a:xfrm>
              <a:off x="-37173" y="3293645"/>
              <a:ext cx="8012325" cy="3688409"/>
              <a:chOff x="-37173" y="2814650"/>
              <a:chExt cx="8012328" cy="3688409"/>
            </a:xfrm>
          </p:grpSpPr>
          <p:pic>
            <p:nvPicPr>
              <p:cNvPr id="37" name="Picture 28"/>
              <p:cNvPicPr>
                <a:picLocks noChangeAspect="1"/>
              </p:cNvPicPr>
              <p:nvPr/>
            </p:nvPicPr>
            <p:blipFill rotWithShape="1">
              <a:blip r:embed="rId7" cstate="print">
                <a:extLst>
                  <a:ext uri="{28A0092B-C50C-407E-A947-70E740481C1C}">
                    <a14:useLocalDpi xmlns:a14="http://schemas.microsoft.com/office/drawing/2010/main" val="0"/>
                  </a:ext>
                </a:extLst>
              </a:blip>
              <a:srcRect b="30786"/>
              <a:stretch/>
            </p:blipFill>
            <p:spPr>
              <a:xfrm>
                <a:off x="427097" y="2814650"/>
                <a:ext cx="7548058" cy="3688409"/>
              </a:xfrm>
              <a:prstGeom prst="rect">
                <a:avLst/>
              </a:prstGeom>
            </p:spPr>
          </p:pic>
          <p:sp>
            <p:nvSpPr>
              <p:cNvPr id="38" name="Rectangle 10">
                <a:extLst>
                  <a:ext uri="{FF2B5EF4-FFF2-40B4-BE49-F238E27FC236}">
                    <a16:creationId xmlns:a16="http://schemas.microsoft.com/office/drawing/2014/main" id="{79BCD408-3CF0-D94F-A96D-84F8840B298E}"/>
                  </a:ext>
                </a:extLst>
              </p:cNvPr>
              <p:cNvSpPr>
                <a:spLocks noChangeArrowheads="1"/>
              </p:cNvSpPr>
              <p:nvPr/>
            </p:nvSpPr>
            <p:spPr bwMode="auto">
              <a:xfrm>
                <a:off x="-37173" y="2874081"/>
                <a:ext cx="1619308" cy="160703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554492"/>
                <a:r>
                  <a:rPr lang="en-US" sz="1200" b="1" kern="0" dirty="0">
                    <a:solidFill>
                      <a:srgbClr val="002C77"/>
                    </a:solidFill>
                    <a:latin typeface="Arial" panose="020B0604020202020204"/>
                  </a:rPr>
                  <a:t>Price stabilizing across the globe. Pricing push down due to competition and new capacities.  </a:t>
                </a:r>
              </a:p>
              <a:p>
                <a:pPr defTabSz="554492"/>
                <a:endParaRPr lang="en-US" sz="1092" b="1" kern="0" dirty="0">
                  <a:solidFill>
                    <a:srgbClr val="002C77"/>
                  </a:solidFill>
                  <a:latin typeface="Arial" panose="020B0604020202020204"/>
                </a:endParaRPr>
              </a:p>
              <a:p>
                <a:pPr defTabSz="554492"/>
                <a:r>
                  <a:rPr lang="en-US" sz="1092" b="1" kern="0" dirty="0">
                    <a:solidFill>
                      <a:srgbClr val="002C77"/>
                    </a:solidFill>
                    <a:latin typeface="Arial" panose="020B0604020202020204"/>
                  </a:rPr>
                  <a:t> </a:t>
                </a:r>
              </a:p>
            </p:txBody>
          </p:sp>
          <p:sp>
            <p:nvSpPr>
              <p:cNvPr id="40" name="Rectangle 10">
                <a:extLst>
                  <a:ext uri="{FF2B5EF4-FFF2-40B4-BE49-F238E27FC236}">
                    <a16:creationId xmlns:a16="http://schemas.microsoft.com/office/drawing/2014/main" id="{FBAF79D6-37A4-2F42-9C6F-269F69DA65B3}"/>
                  </a:ext>
                </a:extLst>
              </p:cNvPr>
              <p:cNvSpPr>
                <a:spLocks noChangeArrowheads="1"/>
              </p:cNvSpPr>
              <p:nvPr/>
            </p:nvSpPr>
            <p:spPr bwMode="auto">
              <a:xfrm>
                <a:off x="1926447" y="3265019"/>
                <a:ext cx="1393907" cy="16611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554492"/>
                <a:endParaRPr lang="en-SG" sz="970" b="1" kern="0" dirty="0">
                  <a:solidFill>
                    <a:srgbClr val="006D9E"/>
                  </a:solidFill>
                  <a:latin typeface="Arial" panose="020B0604020202020204"/>
                </a:endParaRPr>
              </a:p>
            </p:txBody>
          </p:sp>
          <p:sp>
            <p:nvSpPr>
              <p:cNvPr id="41" name="TextBox 32">
                <a:extLst>
                  <a:ext uri="{FF2B5EF4-FFF2-40B4-BE49-F238E27FC236}">
                    <a16:creationId xmlns:a16="http://schemas.microsoft.com/office/drawing/2014/main" id="{12BF1B11-B85A-A641-9115-454C625DAD48}"/>
                  </a:ext>
                </a:extLst>
              </p:cNvPr>
              <p:cNvSpPr txBox="1"/>
              <p:nvPr/>
            </p:nvSpPr>
            <p:spPr>
              <a:xfrm>
                <a:off x="2984567" y="4250798"/>
                <a:ext cx="844066" cy="187019"/>
              </a:xfrm>
              <a:prstGeom prst="rect">
                <a:avLst/>
              </a:prstGeom>
              <a:noFill/>
            </p:spPr>
            <p:txBody>
              <a:bodyPr wrap="square" lIns="0" tIns="0" rIns="0" bIns="0" rtlCol="0">
                <a:spAutoFit/>
              </a:bodyPr>
              <a:lstStyle/>
              <a:p>
                <a:pPr algn="ctr" defTabSz="415869">
                  <a:defRPr/>
                </a:pPr>
                <a:r>
                  <a:rPr lang="en-US" sz="1092" b="1" kern="0" dirty="0">
                    <a:solidFill>
                      <a:srgbClr val="FFFFFF"/>
                    </a:solidFill>
                    <a:latin typeface="Arial" panose="020B0604020202020204"/>
                  </a:rPr>
                  <a:t>Appetite</a:t>
                </a:r>
              </a:p>
            </p:txBody>
          </p:sp>
          <p:sp>
            <p:nvSpPr>
              <p:cNvPr id="42" name="TextBox 51">
                <a:extLst>
                  <a:ext uri="{FF2B5EF4-FFF2-40B4-BE49-F238E27FC236}">
                    <a16:creationId xmlns:a16="http://schemas.microsoft.com/office/drawing/2014/main" id="{CC70675C-BAED-2944-82AE-9E09F65A8312}"/>
                  </a:ext>
                </a:extLst>
              </p:cNvPr>
              <p:cNvSpPr txBox="1"/>
              <p:nvPr/>
            </p:nvSpPr>
            <p:spPr>
              <a:xfrm>
                <a:off x="1829726" y="5005767"/>
                <a:ext cx="1007797" cy="187019"/>
              </a:xfrm>
              <a:prstGeom prst="rect">
                <a:avLst/>
              </a:prstGeom>
              <a:noFill/>
            </p:spPr>
            <p:txBody>
              <a:bodyPr wrap="square" lIns="0" tIns="0" rIns="0" bIns="0" rtlCol="0">
                <a:spAutoFit/>
              </a:bodyPr>
              <a:lstStyle/>
              <a:p>
                <a:pPr algn="ctr" defTabSz="415869">
                  <a:defRPr/>
                </a:pPr>
                <a:r>
                  <a:rPr lang="en-US" sz="970" b="1" kern="0" dirty="0">
                    <a:solidFill>
                      <a:srgbClr val="FFFFFF"/>
                    </a:solidFill>
                    <a:latin typeface="Arial" panose="020B0604020202020204"/>
                  </a:rPr>
                  <a:t>Pricing </a:t>
                </a:r>
                <a:r>
                  <a:rPr lang="en-US" sz="1092" b="1" kern="0" dirty="0">
                    <a:solidFill>
                      <a:srgbClr val="FFFFFF"/>
                    </a:solidFill>
                    <a:latin typeface="Arial" panose="020B0604020202020204"/>
                  </a:rPr>
                  <a:t>trend</a:t>
                </a:r>
                <a:endParaRPr lang="en-US" sz="970" b="1" kern="0" dirty="0">
                  <a:solidFill>
                    <a:srgbClr val="FFFFFF"/>
                  </a:solidFill>
                  <a:latin typeface="Arial" panose="020B0604020202020204"/>
                </a:endParaRPr>
              </a:p>
            </p:txBody>
          </p:sp>
          <p:sp>
            <p:nvSpPr>
              <p:cNvPr id="43" name="TextBox 52">
                <a:extLst>
                  <a:ext uri="{FF2B5EF4-FFF2-40B4-BE49-F238E27FC236}">
                    <a16:creationId xmlns:a16="http://schemas.microsoft.com/office/drawing/2014/main" id="{29463534-82F3-644D-AD20-2187112C8447}"/>
                  </a:ext>
                </a:extLst>
              </p:cNvPr>
              <p:cNvSpPr txBox="1"/>
              <p:nvPr/>
            </p:nvSpPr>
            <p:spPr>
              <a:xfrm>
                <a:off x="3783123" y="3698842"/>
                <a:ext cx="775152" cy="207712"/>
              </a:xfrm>
              <a:prstGeom prst="rect">
                <a:avLst/>
              </a:prstGeom>
              <a:noFill/>
            </p:spPr>
            <p:txBody>
              <a:bodyPr wrap="square" lIns="0" tIns="0" rIns="0" bIns="0" rtlCol="0">
                <a:spAutoFit/>
              </a:bodyPr>
              <a:lstStyle/>
              <a:p>
                <a:pPr algn="ctr" defTabSz="415869">
                  <a:defRPr/>
                </a:pPr>
                <a:r>
                  <a:rPr lang="en-US" sz="1213" b="1" kern="0" dirty="0">
                    <a:solidFill>
                      <a:srgbClr val="FFFFFF"/>
                    </a:solidFill>
                    <a:latin typeface="Arial" panose="020B0604020202020204"/>
                  </a:rPr>
                  <a:t>Trends</a:t>
                </a:r>
                <a:r>
                  <a:rPr lang="en-US" sz="728" b="1" kern="0" dirty="0">
                    <a:solidFill>
                      <a:srgbClr val="FFFFFF"/>
                    </a:solidFill>
                    <a:latin typeface="Arial" panose="020B0604020202020204"/>
                  </a:rPr>
                  <a:t> </a:t>
                </a:r>
              </a:p>
            </p:txBody>
          </p:sp>
          <p:sp>
            <p:nvSpPr>
              <p:cNvPr id="44" name="TextBox 53">
                <a:extLst>
                  <a:ext uri="{FF2B5EF4-FFF2-40B4-BE49-F238E27FC236}">
                    <a16:creationId xmlns:a16="http://schemas.microsoft.com/office/drawing/2014/main" id="{E4AA841A-6F00-F745-AD04-B68577157EA6}"/>
                  </a:ext>
                </a:extLst>
              </p:cNvPr>
              <p:cNvSpPr txBox="1"/>
              <p:nvPr/>
            </p:nvSpPr>
            <p:spPr>
              <a:xfrm>
                <a:off x="5090583" y="3570783"/>
                <a:ext cx="774678" cy="166112"/>
              </a:xfrm>
              <a:prstGeom prst="rect">
                <a:avLst/>
              </a:prstGeom>
              <a:noFill/>
            </p:spPr>
            <p:txBody>
              <a:bodyPr wrap="square" lIns="0" tIns="0" rIns="0" bIns="0" rtlCol="0">
                <a:spAutoFit/>
              </a:bodyPr>
              <a:lstStyle/>
              <a:p>
                <a:pPr algn="ctr" defTabSz="415869">
                  <a:defRPr/>
                </a:pPr>
                <a:r>
                  <a:rPr lang="en-US" sz="970" b="1" kern="0" dirty="0">
                    <a:solidFill>
                      <a:srgbClr val="FFFFFF"/>
                    </a:solidFill>
                    <a:latin typeface="Arial" panose="020B0604020202020204"/>
                  </a:rPr>
                  <a:t>Market  </a:t>
                </a:r>
              </a:p>
            </p:txBody>
          </p:sp>
          <p:sp>
            <p:nvSpPr>
              <p:cNvPr id="45" name="TextBox 54">
                <a:extLst>
                  <a:ext uri="{FF2B5EF4-FFF2-40B4-BE49-F238E27FC236}">
                    <a16:creationId xmlns:a16="http://schemas.microsoft.com/office/drawing/2014/main" id="{DF7D4331-EAD6-C143-8FD1-EC9F09CDFA0E}"/>
                  </a:ext>
                </a:extLst>
              </p:cNvPr>
              <p:cNvSpPr txBox="1"/>
              <p:nvPr/>
            </p:nvSpPr>
            <p:spPr>
              <a:xfrm>
                <a:off x="4977988" y="5013524"/>
                <a:ext cx="1222785" cy="166112"/>
              </a:xfrm>
              <a:prstGeom prst="rect">
                <a:avLst/>
              </a:prstGeom>
              <a:noFill/>
            </p:spPr>
            <p:txBody>
              <a:bodyPr wrap="square" lIns="0" tIns="0" rIns="0" bIns="0" rtlCol="0">
                <a:spAutoFit/>
              </a:bodyPr>
              <a:lstStyle/>
              <a:p>
                <a:pPr algn="ctr" defTabSz="415869">
                  <a:defRPr/>
                </a:pPr>
                <a:r>
                  <a:rPr lang="en-US" sz="970" b="1" kern="0" dirty="0">
                    <a:solidFill>
                      <a:srgbClr val="FFFFFF"/>
                    </a:solidFill>
                    <a:latin typeface="Arial" panose="020B0604020202020204"/>
                  </a:rPr>
                  <a:t>Losses</a:t>
                </a:r>
                <a:r>
                  <a:rPr lang="en-US" sz="682" b="1" kern="0" dirty="0">
                    <a:solidFill>
                      <a:srgbClr val="FFFFFF"/>
                    </a:solidFill>
                    <a:latin typeface="Arial" panose="020B0604020202020204"/>
                  </a:rPr>
                  <a:t> </a:t>
                </a:r>
                <a:endParaRPr lang="en-GB" sz="682" b="1" kern="0" dirty="0">
                  <a:solidFill>
                    <a:srgbClr val="FFFFFF"/>
                  </a:solidFill>
                  <a:latin typeface="Arial" panose="020B0604020202020204"/>
                </a:endParaRPr>
              </a:p>
            </p:txBody>
          </p:sp>
          <p:grpSp>
            <p:nvGrpSpPr>
              <p:cNvPr id="46" name="Graphic 1626">
                <a:extLst>
                  <a:ext uri="{FF2B5EF4-FFF2-40B4-BE49-F238E27FC236}">
                    <a16:creationId xmlns:a16="http://schemas.microsoft.com/office/drawing/2014/main" id="{2DC9299D-1CF1-3545-B913-013A9E9AE3D5}"/>
                  </a:ext>
                </a:extLst>
              </p:cNvPr>
              <p:cNvGrpSpPr/>
              <p:nvPr/>
            </p:nvGrpSpPr>
            <p:grpSpPr>
              <a:xfrm>
                <a:off x="2068852" y="4501797"/>
                <a:ext cx="365125" cy="365125"/>
                <a:chOff x="7367176" y="5567601"/>
                <a:chExt cx="365125" cy="365125"/>
              </a:xfrm>
              <a:solidFill>
                <a:srgbClr val="FFFFFF"/>
              </a:solidFill>
            </p:grpSpPr>
            <p:sp>
              <p:nvSpPr>
                <p:cNvPr id="66" name="Freeform 73">
                  <a:extLst>
                    <a:ext uri="{FF2B5EF4-FFF2-40B4-BE49-F238E27FC236}">
                      <a16:creationId xmlns:a16="http://schemas.microsoft.com/office/drawing/2014/main" id="{ABFBDA59-41D2-2141-AE9E-D6F91C1597ED}"/>
                    </a:ext>
                  </a:extLst>
                </p:cNvPr>
                <p:cNvSpPr/>
                <p:nvPr/>
              </p:nvSpPr>
              <p:spPr>
                <a:xfrm>
                  <a:off x="7610592" y="5567601"/>
                  <a:ext cx="121708" cy="121708"/>
                </a:xfrm>
                <a:custGeom>
                  <a:avLst/>
                  <a:gdLst>
                    <a:gd name="connsiteX0" fmla="*/ 106495 w 121708"/>
                    <a:gd name="connsiteY0" fmla="*/ 91281 h 121708"/>
                    <a:gd name="connsiteX1" fmla="*/ 51726 w 121708"/>
                    <a:gd name="connsiteY1" fmla="*/ 91281 h 121708"/>
                    <a:gd name="connsiteX2" fmla="*/ 117144 w 121708"/>
                    <a:gd name="connsiteY2" fmla="*/ 25863 h 121708"/>
                    <a:gd name="connsiteX3" fmla="*/ 117144 w 121708"/>
                    <a:gd name="connsiteY3" fmla="*/ 4564 h 121708"/>
                    <a:gd name="connsiteX4" fmla="*/ 95845 w 121708"/>
                    <a:gd name="connsiteY4" fmla="*/ 4564 h 121708"/>
                    <a:gd name="connsiteX5" fmla="*/ 30427 w 121708"/>
                    <a:gd name="connsiteY5" fmla="*/ 69982 h 121708"/>
                    <a:gd name="connsiteX6" fmla="*/ 30427 w 121708"/>
                    <a:gd name="connsiteY6" fmla="*/ 15214 h 121708"/>
                    <a:gd name="connsiteX7" fmla="*/ 15214 w 121708"/>
                    <a:gd name="connsiteY7" fmla="*/ 0 h 121708"/>
                    <a:gd name="connsiteX8" fmla="*/ 0 w 121708"/>
                    <a:gd name="connsiteY8" fmla="*/ 15214 h 121708"/>
                    <a:gd name="connsiteX9" fmla="*/ 0 w 121708"/>
                    <a:gd name="connsiteY9" fmla="*/ 106495 h 121708"/>
                    <a:gd name="connsiteX10" fmla="*/ 0 w 121708"/>
                    <a:gd name="connsiteY10" fmla="*/ 106495 h 121708"/>
                    <a:gd name="connsiteX11" fmla="*/ 1521 w 121708"/>
                    <a:gd name="connsiteY11" fmla="*/ 112580 h 121708"/>
                    <a:gd name="connsiteX12" fmla="*/ 4564 w 121708"/>
                    <a:gd name="connsiteY12" fmla="*/ 117144 h 121708"/>
                    <a:gd name="connsiteX13" fmla="*/ 9128 w 121708"/>
                    <a:gd name="connsiteY13" fmla="*/ 120187 h 121708"/>
                    <a:gd name="connsiteX14" fmla="*/ 15214 w 121708"/>
                    <a:gd name="connsiteY14" fmla="*/ 121708 h 121708"/>
                    <a:gd name="connsiteX15" fmla="*/ 15214 w 121708"/>
                    <a:gd name="connsiteY15" fmla="*/ 121708 h 121708"/>
                    <a:gd name="connsiteX16" fmla="*/ 106495 w 121708"/>
                    <a:gd name="connsiteY16" fmla="*/ 121708 h 121708"/>
                    <a:gd name="connsiteX17" fmla="*/ 121708 w 121708"/>
                    <a:gd name="connsiteY17" fmla="*/ 106495 h 121708"/>
                    <a:gd name="connsiteX18" fmla="*/ 106495 w 121708"/>
                    <a:gd name="connsiteY18" fmla="*/ 91281 h 121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708" h="121708">
                      <a:moveTo>
                        <a:pt x="106495" y="91281"/>
                      </a:moveTo>
                      <a:lnTo>
                        <a:pt x="51726" y="91281"/>
                      </a:lnTo>
                      <a:lnTo>
                        <a:pt x="117144" y="25863"/>
                      </a:lnTo>
                      <a:cubicBezTo>
                        <a:pt x="123230" y="19778"/>
                        <a:pt x="123230" y="10649"/>
                        <a:pt x="117144" y="4564"/>
                      </a:cubicBezTo>
                      <a:cubicBezTo>
                        <a:pt x="111059" y="-1521"/>
                        <a:pt x="101931" y="-1521"/>
                        <a:pt x="95845" y="4564"/>
                      </a:cubicBezTo>
                      <a:lnTo>
                        <a:pt x="30427" y="69982"/>
                      </a:lnTo>
                      <a:lnTo>
                        <a:pt x="30427" y="15214"/>
                      </a:lnTo>
                      <a:cubicBezTo>
                        <a:pt x="30427" y="6085"/>
                        <a:pt x="24342" y="0"/>
                        <a:pt x="15214" y="0"/>
                      </a:cubicBezTo>
                      <a:cubicBezTo>
                        <a:pt x="6085" y="0"/>
                        <a:pt x="0" y="6085"/>
                        <a:pt x="0" y="15214"/>
                      </a:cubicBezTo>
                      <a:lnTo>
                        <a:pt x="0" y="106495"/>
                      </a:lnTo>
                      <a:cubicBezTo>
                        <a:pt x="0" y="106495"/>
                        <a:pt x="0" y="106495"/>
                        <a:pt x="0" y="106495"/>
                      </a:cubicBezTo>
                      <a:cubicBezTo>
                        <a:pt x="0" y="108016"/>
                        <a:pt x="0" y="111059"/>
                        <a:pt x="1521" y="112580"/>
                      </a:cubicBezTo>
                      <a:cubicBezTo>
                        <a:pt x="1521" y="114102"/>
                        <a:pt x="3043" y="115623"/>
                        <a:pt x="4564" y="117144"/>
                      </a:cubicBezTo>
                      <a:cubicBezTo>
                        <a:pt x="6085" y="118666"/>
                        <a:pt x="7607" y="120187"/>
                        <a:pt x="9128" y="120187"/>
                      </a:cubicBezTo>
                      <a:cubicBezTo>
                        <a:pt x="10649" y="121708"/>
                        <a:pt x="13692" y="121708"/>
                        <a:pt x="15214" y="121708"/>
                      </a:cubicBezTo>
                      <a:cubicBezTo>
                        <a:pt x="15214" y="121708"/>
                        <a:pt x="15214" y="121708"/>
                        <a:pt x="15214" y="121708"/>
                      </a:cubicBezTo>
                      <a:lnTo>
                        <a:pt x="106495" y="121708"/>
                      </a:lnTo>
                      <a:cubicBezTo>
                        <a:pt x="115623" y="121708"/>
                        <a:pt x="121708" y="115623"/>
                        <a:pt x="121708" y="106495"/>
                      </a:cubicBezTo>
                      <a:cubicBezTo>
                        <a:pt x="121708" y="97367"/>
                        <a:pt x="115623" y="91281"/>
                        <a:pt x="106495" y="91281"/>
                      </a:cubicBezTo>
                      <a:close/>
                    </a:path>
                  </a:pathLst>
                </a:custGeom>
                <a:grpFill/>
                <a:ln w="15081" cap="flat">
                  <a:noFill/>
                  <a:prstDash val="solid"/>
                  <a:miter/>
                </a:ln>
              </p:spPr>
              <p:txBody>
                <a:bodyPr rtlCol="0" anchor="ctr"/>
                <a:lstStyle/>
                <a:p>
                  <a:pPr defTabSz="554492"/>
                  <a:endParaRPr lang="en-US" sz="1092" kern="0">
                    <a:solidFill>
                      <a:srgbClr val="202020"/>
                    </a:solidFill>
                    <a:latin typeface="Arial" panose="020B0604020202020204"/>
                  </a:endParaRPr>
                </a:p>
              </p:txBody>
            </p:sp>
            <p:sp>
              <p:nvSpPr>
                <p:cNvPr id="67" name="Freeform 74">
                  <a:extLst>
                    <a:ext uri="{FF2B5EF4-FFF2-40B4-BE49-F238E27FC236}">
                      <a16:creationId xmlns:a16="http://schemas.microsoft.com/office/drawing/2014/main" id="{754A699B-CB88-3643-BBBD-FF866ED76463}"/>
                    </a:ext>
                  </a:extLst>
                </p:cNvPr>
                <p:cNvSpPr/>
                <p:nvPr/>
              </p:nvSpPr>
              <p:spPr>
                <a:xfrm>
                  <a:off x="7367176" y="5811017"/>
                  <a:ext cx="121708" cy="121708"/>
                </a:xfrm>
                <a:custGeom>
                  <a:avLst/>
                  <a:gdLst>
                    <a:gd name="connsiteX0" fmla="*/ 117144 w 121708"/>
                    <a:gd name="connsiteY0" fmla="*/ 4564 h 121708"/>
                    <a:gd name="connsiteX1" fmla="*/ 112580 w 121708"/>
                    <a:gd name="connsiteY1" fmla="*/ 1521 h 121708"/>
                    <a:gd name="connsiteX2" fmla="*/ 106495 w 121708"/>
                    <a:gd name="connsiteY2" fmla="*/ 0 h 121708"/>
                    <a:gd name="connsiteX3" fmla="*/ 106495 w 121708"/>
                    <a:gd name="connsiteY3" fmla="*/ 0 h 121708"/>
                    <a:gd name="connsiteX4" fmla="*/ 15214 w 121708"/>
                    <a:gd name="connsiteY4" fmla="*/ 0 h 121708"/>
                    <a:gd name="connsiteX5" fmla="*/ 0 w 121708"/>
                    <a:gd name="connsiteY5" fmla="*/ 15214 h 121708"/>
                    <a:gd name="connsiteX6" fmla="*/ 15214 w 121708"/>
                    <a:gd name="connsiteY6" fmla="*/ 30427 h 121708"/>
                    <a:gd name="connsiteX7" fmla="*/ 69982 w 121708"/>
                    <a:gd name="connsiteY7" fmla="*/ 30427 h 121708"/>
                    <a:gd name="connsiteX8" fmla="*/ 4564 w 121708"/>
                    <a:gd name="connsiteY8" fmla="*/ 95845 h 121708"/>
                    <a:gd name="connsiteX9" fmla="*/ 4564 w 121708"/>
                    <a:gd name="connsiteY9" fmla="*/ 117144 h 121708"/>
                    <a:gd name="connsiteX10" fmla="*/ 25863 w 121708"/>
                    <a:gd name="connsiteY10" fmla="*/ 117144 h 121708"/>
                    <a:gd name="connsiteX11" fmla="*/ 91281 w 121708"/>
                    <a:gd name="connsiteY11" fmla="*/ 51726 h 121708"/>
                    <a:gd name="connsiteX12" fmla="*/ 91281 w 121708"/>
                    <a:gd name="connsiteY12" fmla="*/ 106495 h 121708"/>
                    <a:gd name="connsiteX13" fmla="*/ 106495 w 121708"/>
                    <a:gd name="connsiteY13" fmla="*/ 121708 h 121708"/>
                    <a:gd name="connsiteX14" fmla="*/ 121708 w 121708"/>
                    <a:gd name="connsiteY14" fmla="*/ 106495 h 121708"/>
                    <a:gd name="connsiteX15" fmla="*/ 121708 w 121708"/>
                    <a:gd name="connsiteY15" fmla="*/ 15214 h 121708"/>
                    <a:gd name="connsiteX16" fmla="*/ 121708 w 121708"/>
                    <a:gd name="connsiteY16" fmla="*/ 15214 h 121708"/>
                    <a:gd name="connsiteX17" fmla="*/ 120187 w 121708"/>
                    <a:gd name="connsiteY17" fmla="*/ 9128 h 121708"/>
                    <a:gd name="connsiteX18" fmla="*/ 117144 w 121708"/>
                    <a:gd name="connsiteY18" fmla="*/ 4564 h 121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708" h="121708">
                      <a:moveTo>
                        <a:pt x="117144" y="4564"/>
                      </a:moveTo>
                      <a:cubicBezTo>
                        <a:pt x="115623" y="3043"/>
                        <a:pt x="114102" y="1521"/>
                        <a:pt x="112580" y="1521"/>
                      </a:cubicBezTo>
                      <a:cubicBezTo>
                        <a:pt x="111059" y="0"/>
                        <a:pt x="108016" y="0"/>
                        <a:pt x="106495" y="0"/>
                      </a:cubicBezTo>
                      <a:cubicBezTo>
                        <a:pt x="106495" y="0"/>
                        <a:pt x="106495" y="0"/>
                        <a:pt x="106495" y="0"/>
                      </a:cubicBezTo>
                      <a:lnTo>
                        <a:pt x="15214" y="0"/>
                      </a:lnTo>
                      <a:cubicBezTo>
                        <a:pt x="6085" y="0"/>
                        <a:pt x="0" y="6085"/>
                        <a:pt x="0" y="15214"/>
                      </a:cubicBezTo>
                      <a:cubicBezTo>
                        <a:pt x="0" y="24342"/>
                        <a:pt x="6085" y="30427"/>
                        <a:pt x="15214" y="30427"/>
                      </a:cubicBezTo>
                      <a:lnTo>
                        <a:pt x="69982" y="30427"/>
                      </a:lnTo>
                      <a:lnTo>
                        <a:pt x="4564" y="95845"/>
                      </a:lnTo>
                      <a:cubicBezTo>
                        <a:pt x="-1521" y="101931"/>
                        <a:pt x="-1521" y="111059"/>
                        <a:pt x="4564" y="117144"/>
                      </a:cubicBezTo>
                      <a:cubicBezTo>
                        <a:pt x="10649" y="123230"/>
                        <a:pt x="19778" y="123230"/>
                        <a:pt x="25863" y="117144"/>
                      </a:cubicBezTo>
                      <a:lnTo>
                        <a:pt x="91281" y="51726"/>
                      </a:lnTo>
                      <a:lnTo>
                        <a:pt x="91281" y="106495"/>
                      </a:lnTo>
                      <a:cubicBezTo>
                        <a:pt x="91281" y="115623"/>
                        <a:pt x="97367" y="121708"/>
                        <a:pt x="106495" y="121708"/>
                      </a:cubicBezTo>
                      <a:cubicBezTo>
                        <a:pt x="115623" y="121708"/>
                        <a:pt x="121708" y="115623"/>
                        <a:pt x="121708" y="106495"/>
                      </a:cubicBezTo>
                      <a:lnTo>
                        <a:pt x="121708" y="15214"/>
                      </a:lnTo>
                      <a:cubicBezTo>
                        <a:pt x="121708" y="15214"/>
                        <a:pt x="121708" y="15214"/>
                        <a:pt x="121708" y="15214"/>
                      </a:cubicBezTo>
                      <a:cubicBezTo>
                        <a:pt x="121708" y="13692"/>
                        <a:pt x="121708" y="10649"/>
                        <a:pt x="120187" y="9128"/>
                      </a:cubicBezTo>
                      <a:cubicBezTo>
                        <a:pt x="120187" y="7607"/>
                        <a:pt x="118666" y="6085"/>
                        <a:pt x="117144" y="4564"/>
                      </a:cubicBezTo>
                      <a:close/>
                    </a:path>
                  </a:pathLst>
                </a:custGeom>
                <a:grpFill/>
                <a:ln w="15081" cap="flat">
                  <a:noFill/>
                  <a:prstDash val="solid"/>
                  <a:miter/>
                </a:ln>
              </p:spPr>
              <p:txBody>
                <a:bodyPr rtlCol="0" anchor="ctr"/>
                <a:lstStyle/>
                <a:p>
                  <a:pPr defTabSz="554492"/>
                  <a:endParaRPr lang="en-US" sz="1092" kern="0">
                    <a:solidFill>
                      <a:srgbClr val="202020"/>
                    </a:solidFill>
                    <a:latin typeface="Arial" panose="020B0604020202020204"/>
                  </a:endParaRPr>
                </a:p>
              </p:txBody>
            </p:sp>
            <p:sp>
              <p:nvSpPr>
                <p:cNvPr id="68" name="Freeform 75">
                  <a:extLst>
                    <a:ext uri="{FF2B5EF4-FFF2-40B4-BE49-F238E27FC236}">
                      <a16:creationId xmlns:a16="http://schemas.microsoft.com/office/drawing/2014/main" id="{AAB0266F-17FB-3743-8909-A71DA6FB9A36}"/>
                    </a:ext>
                  </a:extLst>
                </p:cNvPr>
                <p:cNvSpPr/>
                <p:nvPr/>
              </p:nvSpPr>
              <p:spPr>
                <a:xfrm>
                  <a:off x="7367176" y="5567601"/>
                  <a:ext cx="121708" cy="121708"/>
                </a:xfrm>
                <a:custGeom>
                  <a:avLst/>
                  <a:gdLst>
                    <a:gd name="connsiteX0" fmla="*/ 0 w 121708"/>
                    <a:gd name="connsiteY0" fmla="*/ 106495 h 121708"/>
                    <a:gd name="connsiteX1" fmla="*/ 15214 w 121708"/>
                    <a:gd name="connsiteY1" fmla="*/ 121708 h 121708"/>
                    <a:gd name="connsiteX2" fmla="*/ 106495 w 121708"/>
                    <a:gd name="connsiteY2" fmla="*/ 121708 h 121708"/>
                    <a:gd name="connsiteX3" fmla="*/ 106495 w 121708"/>
                    <a:gd name="connsiteY3" fmla="*/ 121708 h 121708"/>
                    <a:gd name="connsiteX4" fmla="*/ 112580 w 121708"/>
                    <a:gd name="connsiteY4" fmla="*/ 120187 h 121708"/>
                    <a:gd name="connsiteX5" fmla="*/ 117144 w 121708"/>
                    <a:gd name="connsiteY5" fmla="*/ 117144 h 121708"/>
                    <a:gd name="connsiteX6" fmla="*/ 120187 w 121708"/>
                    <a:gd name="connsiteY6" fmla="*/ 112580 h 121708"/>
                    <a:gd name="connsiteX7" fmla="*/ 121708 w 121708"/>
                    <a:gd name="connsiteY7" fmla="*/ 106495 h 121708"/>
                    <a:gd name="connsiteX8" fmla="*/ 121708 w 121708"/>
                    <a:gd name="connsiteY8" fmla="*/ 106495 h 121708"/>
                    <a:gd name="connsiteX9" fmla="*/ 121708 w 121708"/>
                    <a:gd name="connsiteY9" fmla="*/ 15214 h 121708"/>
                    <a:gd name="connsiteX10" fmla="*/ 106495 w 121708"/>
                    <a:gd name="connsiteY10" fmla="*/ 0 h 121708"/>
                    <a:gd name="connsiteX11" fmla="*/ 91281 w 121708"/>
                    <a:gd name="connsiteY11" fmla="*/ 15214 h 121708"/>
                    <a:gd name="connsiteX12" fmla="*/ 91281 w 121708"/>
                    <a:gd name="connsiteY12" fmla="*/ 69982 h 121708"/>
                    <a:gd name="connsiteX13" fmla="*/ 25863 w 121708"/>
                    <a:gd name="connsiteY13" fmla="*/ 4564 h 121708"/>
                    <a:gd name="connsiteX14" fmla="*/ 4564 w 121708"/>
                    <a:gd name="connsiteY14" fmla="*/ 4564 h 121708"/>
                    <a:gd name="connsiteX15" fmla="*/ 4564 w 121708"/>
                    <a:gd name="connsiteY15" fmla="*/ 25863 h 121708"/>
                    <a:gd name="connsiteX16" fmla="*/ 69982 w 121708"/>
                    <a:gd name="connsiteY16" fmla="*/ 91281 h 121708"/>
                    <a:gd name="connsiteX17" fmla="*/ 15214 w 121708"/>
                    <a:gd name="connsiteY17" fmla="*/ 91281 h 121708"/>
                    <a:gd name="connsiteX18" fmla="*/ 0 w 121708"/>
                    <a:gd name="connsiteY18" fmla="*/ 106495 h 121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708" h="121708">
                      <a:moveTo>
                        <a:pt x="0" y="106495"/>
                      </a:moveTo>
                      <a:cubicBezTo>
                        <a:pt x="0" y="115623"/>
                        <a:pt x="6085" y="121708"/>
                        <a:pt x="15214" y="121708"/>
                      </a:cubicBezTo>
                      <a:lnTo>
                        <a:pt x="106495" y="121708"/>
                      </a:lnTo>
                      <a:cubicBezTo>
                        <a:pt x="106495" y="121708"/>
                        <a:pt x="106495" y="121708"/>
                        <a:pt x="106495" y="121708"/>
                      </a:cubicBezTo>
                      <a:cubicBezTo>
                        <a:pt x="108016" y="121708"/>
                        <a:pt x="111059" y="121708"/>
                        <a:pt x="112580" y="120187"/>
                      </a:cubicBezTo>
                      <a:cubicBezTo>
                        <a:pt x="114102" y="120187"/>
                        <a:pt x="115623" y="118666"/>
                        <a:pt x="117144" y="117144"/>
                      </a:cubicBezTo>
                      <a:cubicBezTo>
                        <a:pt x="118666" y="115623"/>
                        <a:pt x="120187" y="114102"/>
                        <a:pt x="120187" y="112580"/>
                      </a:cubicBezTo>
                      <a:cubicBezTo>
                        <a:pt x="121708" y="111059"/>
                        <a:pt x="121708" y="108016"/>
                        <a:pt x="121708" y="106495"/>
                      </a:cubicBezTo>
                      <a:cubicBezTo>
                        <a:pt x="121708" y="106495"/>
                        <a:pt x="121708" y="106495"/>
                        <a:pt x="121708" y="106495"/>
                      </a:cubicBezTo>
                      <a:lnTo>
                        <a:pt x="121708" y="15214"/>
                      </a:lnTo>
                      <a:cubicBezTo>
                        <a:pt x="121708" y="6085"/>
                        <a:pt x="115623" y="0"/>
                        <a:pt x="106495" y="0"/>
                      </a:cubicBezTo>
                      <a:cubicBezTo>
                        <a:pt x="97367" y="0"/>
                        <a:pt x="91281" y="6085"/>
                        <a:pt x="91281" y="15214"/>
                      </a:cubicBezTo>
                      <a:lnTo>
                        <a:pt x="91281" y="69982"/>
                      </a:lnTo>
                      <a:lnTo>
                        <a:pt x="25863" y="4564"/>
                      </a:lnTo>
                      <a:cubicBezTo>
                        <a:pt x="19778" y="-1521"/>
                        <a:pt x="10649" y="-1521"/>
                        <a:pt x="4564" y="4564"/>
                      </a:cubicBezTo>
                      <a:cubicBezTo>
                        <a:pt x="-1521" y="10649"/>
                        <a:pt x="-1521" y="19778"/>
                        <a:pt x="4564" y="25863"/>
                      </a:cubicBezTo>
                      <a:lnTo>
                        <a:pt x="69982" y="91281"/>
                      </a:lnTo>
                      <a:lnTo>
                        <a:pt x="15214" y="91281"/>
                      </a:lnTo>
                      <a:cubicBezTo>
                        <a:pt x="6085" y="91281"/>
                        <a:pt x="0" y="97367"/>
                        <a:pt x="0" y="106495"/>
                      </a:cubicBezTo>
                      <a:close/>
                    </a:path>
                  </a:pathLst>
                </a:custGeom>
                <a:grpFill/>
                <a:ln w="15081" cap="flat">
                  <a:noFill/>
                  <a:prstDash val="solid"/>
                  <a:miter/>
                </a:ln>
              </p:spPr>
              <p:txBody>
                <a:bodyPr rtlCol="0" anchor="ctr"/>
                <a:lstStyle/>
                <a:p>
                  <a:pPr defTabSz="554492"/>
                  <a:endParaRPr lang="en-US" sz="1092" kern="0">
                    <a:solidFill>
                      <a:srgbClr val="202020"/>
                    </a:solidFill>
                    <a:latin typeface="Arial" panose="020B0604020202020204"/>
                  </a:endParaRPr>
                </a:p>
              </p:txBody>
            </p:sp>
            <p:sp>
              <p:nvSpPr>
                <p:cNvPr id="83" name="Freeform 76">
                  <a:extLst>
                    <a:ext uri="{FF2B5EF4-FFF2-40B4-BE49-F238E27FC236}">
                      <a16:creationId xmlns:a16="http://schemas.microsoft.com/office/drawing/2014/main" id="{DBCC1552-2938-5A47-9A6C-3FEA0CAA3D14}"/>
                    </a:ext>
                  </a:extLst>
                </p:cNvPr>
                <p:cNvSpPr/>
                <p:nvPr/>
              </p:nvSpPr>
              <p:spPr>
                <a:xfrm>
                  <a:off x="7610592" y="5811017"/>
                  <a:ext cx="121708" cy="121708"/>
                </a:xfrm>
                <a:custGeom>
                  <a:avLst/>
                  <a:gdLst>
                    <a:gd name="connsiteX0" fmla="*/ 121708 w 121708"/>
                    <a:gd name="connsiteY0" fmla="*/ 15214 h 121708"/>
                    <a:gd name="connsiteX1" fmla="*/ 106495 w 121708"/>
                    <a:gd name="connsiteY1" fmla="*/ 0 h 121708"/>
                    <a:gd name="connsiteX2" fmla="*/ 15214 w 121708"/>
                    <a:gd name="connsiteY2" fmla="*/ 0 h 121708"/>
                    <a:gd name="connsiteX3" fmla="*/ 15214 w 121708"/>
                    <a:gd name="connsiteY3" fmla="*/ 0 h 121708"/>
                    <a:gd name="connsiteX4" fmla="*/ 9128 w 121708"/>
                    <a:gd name="connsiteY4" fmla="*/ 1521 h 121708"/>
                    <a:gd name="connsiteX5" fmla="*/ 4564 w 121708"/>
                    <a:gd name="connsiteY5" fmla="*/ 4564 h 121708"/>
                    <a:gd name="connsiteX6" fmla="*/ 1521 w 121708"/>
                    <a:gd name="connsiteY6" fmla="*/ 9128 h 121708"/>
                    <a:gd name="connsiteX7" fmla="*/ 0 w 121708"/>
                    <a:gd name="connsiteY7" fmla="*/ 15214 h 121708"/>
                    <a:gd name="connsiteX8" fmla="*/ 0 w 121708"/>
                    <a:gd name="connsiteY8" fmla="*/ 15214 h 121708"/>
                    <a:gd name="connsiteX9" fmla="*/ 0 w 121708"/>
                    <a:gd name="connsiteY9" fmla="*/ 106495 h 121708"/>
                    <a:gd name="connsiteX10" fmla="*/ 15214 w 121708"/>
                    <a:gd name="connsiteY10" fmla="*/ 121708 h 121708"/>
                    <a:gd name="connsiteX11" fmla="*/ 30427 w 121708"/>
                    <a:gd name="connsiteY11" fmla="*/ 106495 h 121708"/>
                    <a:gd name="connsiteX12" fmla="*/ 30427 w 121708"/>
                    <a:gd name="connsiteY12" fmla="*/ 51726 h 121708"/>
                    <a:gd name="connsiteX13" fmla="*/ 95845 w 121708"/>
                    <a:gd name="connsiteY13" fmla="*/ 117144 h 121708"/>
                    <a:gd name="connsiteX14" fmla="*/ 106495 w 121708"/>
                    <a:gd name="connsiteY14" fmla="*/ 121708 h 121708"/>
                    <a:gd name="connsiteX15" fmla="*/ 117144 w 121708"/>
                    <a:gd name="connsiteY15" fmla="*/ 117144 h 121708"/>
                    <a:gd name="connsiteX16" fmla="*/ 117144 w 121708"/>
                    <a:gd name="connsiteY16" fmla="*/ 95845 h 121708"/>
                    <a:gd name="connsiteX17" fmla="*/ 51726 w 121708"/>
                    <a:gd name="connsiteY17" fmla="*/ 30427 h 121708"/>
                    <a:gd name="connsiteX18" fmla="*/ 106495 w 121708"/>
                    <a:gd name="connsiteY18" fmla="*/ 30427 h 121708"/>
                    <a:gd name="connsiteX19" fmla="*/ 121708 w 121708"/>
                    <a:gd name="connsiteY19" fmla="*/ 15214 h 121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708" h="121708">
                      <a:moveTo>
                        <a:pt x="121708" y="15214"/>
                      </a:moveTo>
                      <a:cubicBezTo>
                        <a:pt x="121708" y="6085"/>
                        <a:pt x="115623" y="0"/>
                        <a:pt x="106495" y="0"/>
                      </a:cubicBezTo>
                      <a:lnTo>
                        <a:pt x="15214" y="0"/>
                      </a:lnTo>
                      <a:cubicBezTo>
                        <a:pt x="15214" y="0"/>
                        <a:pt x="15214" y="0"/>
                        <a:pt x="15214" y="0"/>
                      </a:cubicBezTo>
                      <a:cubicBezTo>
                        <a:pt x="13692" y="0"/>
                        <a:pt x="10649" y="0"/>
                        <a:pt x="9128" y="1521"/>
                      </a:cubicBezTo>
                      <a:cubicBezTo>
                        <a:pt x="7607" y="1521"/>
                        <a:pt x="6085" y="3043"/>
                        <a:pt x="4564" y="4564"/>
                      </a:cubicBezTo>
                      <a:cubicBezTo>
                        <a:pt x="3043" y="6085"/>
                        <a:pt x="1521" y="7607"/>
                        <a:pt x="1521" y="9128"/>
                      </a:cubicBezTo>
                      <a:cubicBezTo>
                        <a:pt x="1521" y="10649"/>
                        <a:pt x="0" y="12171"/>
                        <a:pt x="0" y="15214"/>
                      </a:cubicBezTo>
                      <a:cubicBezTo>
                        <a:pt x="0" y="15214"/>
                        <a:pt x="0" y="15214"/>
                        <a:pt x="0" y="15214"/>
                      </a:cubicBezTo>
                      <a:lnTo>
                        <a:pt x="0" y="106495"/>
                      </a:lnTo>
                      <a:cubicBezTo>
                        <a:pt x="0" y="115623"/>
                        <a:pt x="6085" y="121708"/>
                        <a:pt x="15214" y="121708"/>
                      </a:cubicBezTo>
                      <a:cubicBezTo>
                        <a:pt x="24342" y="121708"/>
                        <a:pt x="30427" y="115623"/>
                        <a:pt x="30427" y="106495"/>
                      </a:cubicBezTo>
                      <a:lnTo>
                        <a:pt x="30427" y="51726"/>
                      </a:lnTo>
                      <a:lnTo>
                        <a:pt x="95845" y="117144"/>
                      </a:lnTo>
                      <a:cubicBezTo>
                        <a:pt x="98888" y="120187"/>
                        <a:pt x="103452" y="121708"/>
                        <a:pt x="106495" y="121708"/>
                      </a:cubicBezTo>
                      <a:cubicBezTo>
                        <a:pt x="109538" y="121708"/>
                        <a:pt x="114102" y="120187"/>
                        <a:pt x="117144" y="117144"/>
                      </a:cubicBezTo>
                      <a:cubicBezTo>
                        <a:pt x="123230" y="111059"/>
                        <a:pt x="123230" y="101931"/>
                        <a:pt x="117144" y="95845"/>
                      </a:cubicBezTo>
                      <a:lnTo>
                        <a:pt x="51726" y="30427"/>
                      </a:lnTo>
                      <a:lnTo>
                        <a:pt x="106495" y="30427"/>
                      </a:lnTo>
                      <a:cubicBezTo>
                        <a:pt x="115623" y="30427"/>
                        <a:pt x="121708" y="24342"/>
                        <a:pt x="121708" y="15214"/>
                      </a:cubicBezTo>
                      <a:close/>
                    </a:path>
                  </a:pathLst>
                </a:custGeom>
                <a:grpFill/>
                <a:ln w="15081" cap="flat">
                  <a:noFill/>
                  <a:prstDash val="solid"/>
                  <a:miter/>
                </a:ln>
              </p:spPr>
              <p:txBody>
                <a:bodyPr rtlCol="0" anchor="ctr"/>
                <a:lstStyle/>
                <a:p>
                  <a:pPr defTabSz="554492"/>
                  <a:endParaRPr lang="en-US" sz="1092" kern="0">
                    <a:solidFill>
                      <a:srgbClr val="202020"/>
                    </a:solidFill>
                    <a:latin typeface="Arial" panose="020B0604020202020204"/>
                  </a:endParaRPr>
                </a:p>
              </p:txBody>
            </p:sp>
            <p:sp>
              <p:nvSpPr>
                <p:cNvPr id="84" name="Freeform 77">
                  <a:extLst>
                    <a:ext uri="{FF2B5EF4-FFF2-40B4-BE49-F238E27FC236}">
                      <a16:creationId xmlns:a16="http://schemas.microsoft.com/office/drawing/2014/main" id="{B80EE880-4A49-D244-8DC3-C7A95C098750}"/>
                    </a:ext>
                  </a:extLst>
                </p:cNvPr>
                <p:cNvSpPr/>
                <p:nvPr/>
              </p:nvSpPr>
              <p:spPr>
                <a:xfrm>
                  <a:off x="7488884" y="5689309"/>
                  <a:ext cx="121708" cy="121708"/>
                </a:xfrm>
                <a:custGeom>
                  <a:avLst/>
                  <a:gdLst>
                    <a:gd name="connsiteX0" fmla="*/ 60854 w 121708"/>
                    <a:gd name="connsiteY0" fmla="*/ 0 h 121708"/>
                    <a:gd name="connsiteX1" fmla="*/ 0 w 121708"/>
                    <a:gd name="connsiteY1" fmla="*/ 60854 h 121708"/>
                    <a:gd name="connsiteX2" fmla="*/ 60854 w 121708"/>
                    <a:gd name="connsiteY2" fmla="*/ 121708 h 121708"/>
                    <a:gd name="connsiteX3" fmla="*/ 121708 w 121708"/>
                    <a:gd name="connsiteY3" fmla="*/ 60854 h 121708"/>
                    <a:gd name="connsiteX4" fmla="*/ 60854 w 121708"/>
                    <a:gd name="connsiteY4" fmla="*/ 0 h 121708"/>
                    <a:gd name="connsiteX5" fmla="*/ 60854 w 121708"/>
                    <a:gd name="connsiteY5" fmla="*/ 91281 h 121708"/>
                    <a:gd name="connsiteX6" fmla="*/ 30427 w 121708"/>
                    <a:gd name="connsiteY6" fmla="*/ 60854 h 121708"/>
                    <a:gd name="connsiteX7" fmla="*/ 60854 w 121708"/>
                    <a:gd name="connsiteY7" fmla="*/ 30427 h 121708"/>
                    <a:gd name="connsiteX8" fmla="*/ 91281 w 121708"/>
                    <a:gd name="connsiteY8" fmla="*/ 60854 h 121708"/>
                    <a:gd name="connsiteX9" fmla="*/ 60854 w 121708"/>
                    <a:gd name="connsiteY9" fmla="*/ 91281 h 121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708" h="121708">
                      <a:moveTo>
                        <a:pt x="60854" y="0"/>
                      </a:moveTo>
                      <a:cubicBezTo>
                        <a:pt x="27384" y="0"/>
                        <a:pt x="0" y="27384"/>
                        <a:pt x="0" y="60854"/>
                      </a:cubicBezTo>
                      <a:cubicBezTo>
                        <a:pt x="0" y="94324"/>
                        <a:pt x="27384" y="121708"/>
                        <a:pt x="60854" y="121708"/>
                      </a:cubicBezTo>
                      <a:cubicBezTo>
                        <a:pt x="94324" y="121708"/>
                        <a:pt x="121708" y="94324"/>
                        <a:pt x="121708" y="60854"/>
                      </a:cubicBezTo>
                      <a:cubicBezTo>
                        <a:pt x="121708" y="27384"/>
                        <a:pt x="94324" y="0"/>
                        <a:pt x="60854" y="0"/>
                      </a:cubicBezTo>
                      <a:close/>
                      <a:moveTo>
                        <a:pt x="60854" y="91281"/>
                      </a:moveTo>
                      <a:cubicBezTo>
                        <a:pt x="44119" y="91281"/>
                        <a:pt x="30427" y="77589"/>
                        <a:pt x="30427" y="60854"/>
                      </a:cubicBezTo>
                      <a:cubicBezTo>
                        <a:pt x="30427" y="44119"/>
                        <a:pt x="44119" y="30427"/>
                        <a:pt x="60854" y="30427"/>
                      </a:cubicBezTo>
                      <a:cubicBezTo>
                        <a:pt x="77589" y="30427"/>
                        <a:pt x="91281" y="44119"/>
                        <a:pt x="91281" y="60854"/>
                      </a:cubicBezTo>
                      <a:cubicBezTo>
                        <a:pt x="91281" y="77589"/>
                        <a:pt x="77589" y="91281"/>
                        <a:pt x="60854" y="91281"/>
                      </a:cubicBezTo>
                      <a:close/>
                    </a:path>
                  </a:pathLst>
                </a:custGeom>
                <a:grpFill/>
                <a:ln w="15081" cap="flat">
                  <a:noFill/>
                  <a:prstDash val="solid"/>
                  <a:miter/>
                </a:ln>
              </p:spPr>
              <p:txBody>
                <a:bodyPr rtlCol="0" anchor="ctr"/>
                <a:lstStyle/>
                <a:p>
                  <a:pPr defTabSz="554492"/>
                  <a:endParaRPr lang="en-US" sz="1092" kern="0">
                    <a:solidFill>
                      <a:srgbClr val="202020"/>
                    </a:solidFill>
                    <a:latin typeface="Arial" panose="020B0604020202020204"/>
                  </a:endParaRPr>
                </a:p>
              </p:txBody>
            </p:sp>
          </p:grpSp>
          <p:sp>
            <p:nvSpPr>
              <p:cNvPr id="47" name="Graphic 1712">
                <a:extLst>
                  <a:ext uri="{FF2B5EF4-FFF2-40B4-BE49-F238E27FC236}">
                    <a16:creationId xmlns:a16="http://schemas.microsoft.com/office/drawing/2014/main" id="{D492AE34-33C1-B249-AFC1-DAD9E3E67ACB}"/>
                  </a:ext>
                </a:extLst>
              </p:cNvPr>
              <p:cNvSpPr/>
              <p:nvPr/>
            </p:nvSpPr>
            <p:spPr>
              <a:xfrm>
                <a:off x="5536263" y="4563653"/>
                <a:ext cx="365695" cy="365125"/>
              </a:xfrm>
              <a:custGeom>
                <a:avLst/>
                <a:gdLst>
                  <a:gd name="connsiteX0" fmla="*/ 363128 w 365695"/>
                  <a:gd name="connsiteY0" fmla="*/ 342305 h 365125"/>
                  <a:gd name="connsiteX1" fmla="*/ 300753 w 365695"/>
                  <a:gd name="connsiteY1" fmla="*/ 243417 h 365125"/>
                  <a:gd name="connsiteX2" fmla="*/ 305317 w 365695"/>
                  <a:gd name="connsiteY2" fmla="*/ 243417 h 365125"/>
                  <a:gd name="connsiteX3" fmla="*/ 320530 w 365695"/>
                  <a:gd name="connsiteY3" fmla="*/ 228203 h 365125"/>
                  <a:gd name="connsiteX4" fmla="*/ 305317 w 365695"/>
                  <a:gd name="connsiteY4" fmla="*/ 212990 h 365125"/>
                  <a:gd name="connsiteX5" fmla="*/ 280975 w 365695"/>
                  <a:gd name="connsiteY5" fmla="*/ 212990 h 365125"/>
                  <a:gd name="connsiteX6" fmla="*/ 229249 w 365695"/>
                  <a:gd name="connsiteY6" fmla="*/ 132358 h 365125"/>
                  <a:gd name="connsiteX7" fmla="*/ 244463 w 365695"/>
                  <a:gd name="connsiteY7" fmla="*/ 91281 h 365125"/>
                  <a:gd name="connsiteX8" fmla="*/ 198822 w 365695"/>
                  <a:gd name="connsiteY8" fmla="*/ 31948 h 365125"/>
                  <a:gd name="connsiteX9" fmla="*/ 198822 w 365695"/>
                  <a:gd name="connsiteY9" fmla="*/ 15214 h 365125"/>
                  <a:gd name="connsiteX10" fmla="*/ 183608 w 365695"/>
                  <a:gd name="connsiteY10" fmla="*/ 0 h 365125"/>
                  <a:gd name="connsiteX11" fmla="*/ 168395 w 365695"/>
                  <a:gd name="connsiteY11" fmla="*/ 15214 h 365125"/>
                  <a:gd name="connsiteX12" fmla="*/ 168395 w 365695"/>
                  <a:gd name="connsiteY12" fmla="*/ 31948 h 365125"/>
                  <a:gd name="connsiteX13" fmla="*/ 122754 w 365695"/>
                  <a:gd name="connsiteY13" fmla="*/ 91281 h 365125"/>
                  <a:gd name="connsiteX14" fmla="*/ 139489 w 365695"/>
                  <a:gd name="connsiteY14" fmla="*/ 132358 h 365125"/>
                  <a:gd name="connsiteX15" fmla="*/ 86242 w 365695"/>
                  <a:gd name="connsiteY15" fmla="*/ 212990 h 365125"/>
                  <a:gd name="connsiteX16" fmla="*/ 61900 w 365695"/>
                  <a:gd name="connsiteY16" fmla="*/ 212990 h 365125"/>
                  <a:gd name="connsiteX17" fmla="*/ 46687 w 365695"/>
                  <a:gd name="connsiteY17" fmla="*/ 228203 h 365125"/>
                  <a:gd name="connsiteX18" fmla="*/ 61900 w 365695"/>
                  <a:gd name="connsiteY18" fmla="*/ 243417 h 365125"/>
                  <a:gd name="connsiteX19" fmla="*/ 66464 w 365695"/>
                  <a:gd name="connsiteY19" fmla="*/ 243417 h 365125"/>
                  <a:gd name="connsiteX20" fmla="*/ 2567 w 365695"/>
                  <a:gd name="connsiteY20" fmla="*/ 342305 h 365125"/>
                  <a:gd name="connsiteX21" fmla="*/ 7131 w 365695"/>
                  <a:gd name="connsiteY21" fmla="*/ 363604 h 365125"/>
                  <a:gd name="connsiteX22" fmla="*/ 16259 w 365695"/>
                  <a:gd name="connsiteY22" fmla="*/ 365125 h 365125"/>
                  <a:gd name="connsiteX23" fmla="*/ 28430 w 365695"/>
                  <a:gd name="connsiteY23" fmla="*/ 357518 h 365125"/>
                  <a:gd name="connsiteX24" fmla="*/ 102977 w 365695"/>
                  <a:gd name="connsiteY24" fmla="*/ 243417 h 365125"/>
                  <a:gd name="connsiteX25" fmla="*/ 168395 w 365695"/>
                  <a:gd name="connsiteY25" fmla="*/ 243417 h 365125"/>
                  <a:gd name="connsiteX26" fmla="*/ 168395 w 365695"/>
                  <a:gd name="connsiteY26" fmla="*/ 258630 h 365125"/>
                  <a:gd name="connsiteX27" fmla="*/ 183608 w 365695"/>
                  <a:gd name="connsiteY27" fmla="*/ 273844 h 365125"/>
                  <a:gd name="connsiteX28" fmla="*/ 198822 w 365695"/>
                  <a:gd name="connsiteY28" fmla="*/ 258630 h 365125"/>
                  <a:gd name="connsiteX29" fmla="*/ 198822 w 365695"/>
                  <a:gd name="connsiteY29" fmla="*/ 243417 h 365125"/>
                  <a:gd name="connsiteX30" fmla="*/ 264240 w 365695"/>
                  <a:gd name="connsiteY30" fmla="*/ 243417 h 365125"/>
                  <a:gd name="connsiteX31" fmla="*/ 338787 w 365695"/>
                  <a:gd name="connsiteY31" fmla="*/ 357518 h 365125"/>
                  <a:gd name="connsiteX32" fmla="*/ 350957 w 365695"/>
                  <a:gd name="connsiteY32" fmla="*/ 365125 h 365125"/>
                  <a:gd name="connsiteX33" fmla="*/ 358564 w 365695"/>
                  <a:gd name="connsiteY33" fmla="*/ 362082 h 365125"/>
                  <a:gd name="connsiteX34" fmla="*/ 363128 w 365695"/>
                  <a:gd name="connsiteY34" fmla="*/ 342305 h 365125"/>
                  <a:gd name="connsiteX35" fmla="*/ 183608 w 365695"/>
                  <a:gd name="connsiteY35" fmla="*/ 60854 h 365125"/>
                  <a:gd name="connsiteX36" fmla="*/ 214036 w 365695"/>
                  <a:gd name="connsiteY36" fmla="*/ 91281 h 365125"/>
                  <a:gd name="connsiteX37" fmla="*/ 201865 w 365695"/>
                  <a:gd name="connsiteY37" fmla="*/ 115623 h 365125"/>
                  <a:gd name="connsiteX38" fmla="*/ 200343 w 365695"/>
                  <a:gd name="connsiteY38" fmla="*/ 115623 h 365125"/>
                  <a:gd name="connsiteX39" fmla="*/ 198822 w 365695"/>
                  <a:gd name="connsiteY39" fmla="*/ 117144 h 365125"/>
                  <a:gd name="connsiteX40" fmla="*/ 183608 w 365695"/>
                  <a:gd name="connsiteY40" fmla="*/ 121708 h 365125"/>
                  <a:gd name="connsiteX41" fmla="*/ 168395 w 365695"/>
                  <a:gd name="connsiteY41" fmla="*/ 117144 h 365125"/>
                  <a:gd name="connsiteX42" fmla="*/ 166874 w 365695"/>
                  <a:gd name="connsiteY42" fmla="*/ 115623 h 365125"/>
                  <a:gd name="connsiteX43" fmla="*/ 165352 w 365695"/>
                  <a:gd name="connsiteY43" fmla="*/ 115623 h 365125"/>
                  <a:gd name="connsiteX44" fmla="*/ 153181 w 365695"/>
                  <a:gd name="connsiteY44" fmla="*/ 91281 h 365125"/>
                  <a:gd name="connsiteX45" fmla="*/ 183608 w 365695"/>
                  <a:gd name="connsiteY45" fmla="*/ 60854 h 365125"/>
                  <a:gd name="connsiteX46" fmla="*/ 198822 w 365695"/>
                  <a:gd name="connsiteY46" fmla="*/ 212990 h 365125"/>
                  <a:gd name="connsiteX47" fmla="*/ 198822 w 365695"/>
                  <a:gd name="connsiteY47" fmla="*/ 197776 h 365125"/>
                  <a:gd name="connsiteX48" fmla="*/ 183608 w 365695"/>
                  <a:gd name="connsiteY48" fmla="*/ 182563 h 365125"/>
                  <a:gd name="connsiteX49" fmla="*/ 168395 w 365695"/>
                  <a:gd name="connsiteY49" fmla="*/ 197776 h 365125"/>
                  <a:gd name="connsiteX50" fmla="*/ 168395 w 365695"/>
                  <a:gd name="connsiteY50" fmla="*/ 212990 h 365125"/>
                  <a:gd name="connsiteX51" fmla="*/ 122754 w 365695"/>
                  <a:gd name="connsiteY51" fmla="*/ 212990 h 365125"/>
                  <a:gd name="connsiteX52" fmla="*/ 163831 w 365695"/>
                  <a:gd name="connsiteY52" fmla="*/ 149093 h 365125"/>
                  <a:gd name="connsiteX53" fmla="*/ 183608 w 365695"/>
                  <a:gd name="connsiteY53" fmla="*/ 152135 h 365125"/>
                  <a:gd name="connsiteX54" fmla="*/ 201865 w 365695"/>
                  <a:gd name="connsiteY54" fmla="*/ 149093 h 365125"/>
                  <a:gd name="connsiteX55" fmla="*/ 244463 w 365695"/>
                  <a:gd name="connsiteY55" fmla="*/ 212990 h 365125"/>
                  <a:gd name="connsiteX56" fmla="*/ 198822 w 365695"/>
                  <a:gd name="connsiteY56" fmla="*/ 212990 h 36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65695" h="365125">
                    <a:moveTo>
                      <a:pt x="363128" y="342305"/>
                    </a:moveTo>
                    <a:lnTo>
                      <a:pt x="300753" y="243417"/>
                    </a:lnTo>
                    <a:lnTo>
                      <a:pt x="305317" y="243417"/>
                    </a:lnTo>
                    <a:cubicBezTo>
                      <a:pt x="314445" y="243417"/>
                      <a:pt x="320530" y="237331"/>
                      <a:pt x="320530" y="228203"/>
                    </a:cubicBezTo>
                    <a:cubicBezTo>
                      <a:pt x="320530" y="219075"/>
                      <a:pt x="314445" y="212990"/>
                      <a:pt x="305317" y="212990"/>
                    </a:cubicBezTo>
                    <a:lnTo>
                      <a:pt x="280975" y="212990"/>
                    </a:lnTo>
                    <a:lnTo>
                      <a:pt x="229249" y="132358"/>
                    </a:lnTo>
                    <a:cubicBezTo>
                      <a:pt x="238377" y="121708"/>
                      <a:pt x="244463" y="106495"/>
                      <a:pt x="244463" y="91281"/>
                    </a:cubicBezTo>
                    <a:cubicBezTo>
                      <a:pt x="244463" y="62376"/>
                      <a:pt x="224685" y="39555"/>
                      <a:pt x="198822" y="31948"/>
                    </a:cubicBezTo>
                    <a:lnTo>
                      <a:pt x="198822" y="15214"/>
                    </a:lnTo>
                    <a:cubicBezTo>
                      <a:pt x="198822" y="6085"/>
                      <a:pt x="192737" y="0"/>
                      <a:pt x="183608" y="0"/>
                    </a:cubicBezTo>
                    <a:cubicBezTo>
                      <a:pt x="174480" y="0"/>
                      <a:pt x="168395" y="6085"/>
                      <a:pt x="168395" y="15214"/>
                    </a:cubicBezTo>
                    <a:lnTo>
                      <a:pt x="168395" y="31948"/>
                    </a:lnTo>
                    <a:cubicBezTo>
                      <a:pt x="142532" y="39555"/>
                      <a:pt x="122754" y="62376"/>
                      <a:pt x="122754" y="91281"/>
                    </a:cubicBezTo>
                    <a:cubicBezTo>
                      <a:pt x="122754" y="106495"/>
                      <a:pt x="128840" y="121708"/>
                      <a:pt x="139489" y="132358"/>
                    </a:cubicBezTo>
                    <a:lnTo>
                      <a:pt x="86242" y="212990"/>
                    </a:lnTo>
                    <a:lnTo>
                      <a:pt x="61900" y="212990"/>
                    </a:lnTo>
                    <a:cubicBezTo>
                      <a:pt x="52772" y="212990"/>
                      <a:pt x="46687" y="219075"/>
                      <a:pt x="46687" y="228203"/>
                    </a:cubicBezTo>
                    <a:cubicBezTo>
                      <a:pt x="46687" y="237331"/>
                      <a:pt x="52772" y="243417"/>
                      <a:pt x="61900" y="243417"/>
                    </a:cubicBezTo>
                    <a:lnTo>
                      <a:pt x="66464" y="243417"/>
                    </a:lnTo>
                    <a:lnTo>
                      <a:pt x="2567" y="342305"/>
                    </a:lnTo>
                    <a:cubicBezTo>
                      <a:pt x="-1997" y="349911"/>
                      <a:pt x="-475" y="359040"/>
                      <a:pt x="7131" y="363604"/>
                    </a:cubicBezTo>
                    <a:cubicBezTo>
                      <a:pt x="10174" y="363604"/>
                      <a:pt x="13217" y="365125"/>
                      <a:pt x="16259" y="365125"/>
                    </a:cubicBezTo>
                    <a:cubicBezTo>
                      <a:pt x="20824" y="365125"/>
                      <a:pt x="25388" y="362082"/>
                      <a:pt x="28430" y="357518"/>
                    </a:cubicBezTo>
                    <a:lnTo>
                      <a:pt x="102977" y="243417"/>
                    </a:lnTo>
                    <a:lnTo>
                      <a:pt x="168395" y="243417"/>
                    </a:lnTo>
                    <a:lnTo>
                      <a:pt x="168395" y="258630"/>
                    </a:lnTo>
                    <a:cubicBezTo>
                      <a:pt x="168395" y="267758"/>
                      <a:pt x="174480" y="273844"/>
                      <a:pt x="183608" y="273844"/>
                    </a:cubicBezTo>
                    <a:cubicBezTo>
                      <a:pt x="192737" y="273844"/>
                      <a:pt x="198822" y="267758"/>
                      <a:pt x="198822" y="258630"/>
                    </a:cubicBezTo>
                    <a:lnTo>
                      <a:pt x="198822" y="243417"/>
                    </a:lnTo>
                    <a:lnTo>
                      <a:pt x="264240" y="243417"/>
                    </a:lnTo>
                    <a:lnTo>
                      <a:pt x="338787" y="357518"/>
                    </a:lnTo>
                    <a:cubicBezTo>
                      <a:pt x="341829" y="362082"/>
                      <a:pt x="346393" y="365125"/>
                      <a:pt x="350957" y="365125"/>
                    </a:cubicBezTo>
                    <a:cubicBezTo>
                      <a:pt x="354000" y="365125"/>
                      <a:pt x="357043" y="363604"/>
                      <a:pt x="358564" y="362082"/>
                    </a:cubicBezTo>
                    <a:cubicBezTo>
                      <a:pt x="366171" y="357518"/>
                      <a:pt x="367692" y="348390"/>
                      <a:pt x="363128" y="342305"/>
                    </a:cubicBezTo>
                    <a:close/>
                    <a:moveTo>
                      <a:pt x="183608" y="60854"/>
                    </a:moveTo>
                    <a:cubicBezTo>
                      <a:pt x="200343" y="60854"/>
                      <a:pt x="214036" y="74546"/>
                      <a:pt x="214036" y="91281"/>
                    </a:cubicBezTo>
                    <a:cubicBezTo>
                      <a:pt x="214036" y="101931"/>
                      <a:pt x="209471" y="111059"/>
                      <a:pt x="201865" y="115623"/>
                    </a:cubicBezTo>
                    <a:cubicBezTo>
                      <a:pt x="201865" y="115623"/>
                      <a:pt x="200343" y="115623"/>
                      <a:pt x="200343" y="115623"/>
                    </a:cubicBezTo>
                    <a:cubicBezTo>
                      <a:pt x="200343" y="115623"/>
                      <a:pt x="200343" y="115623"/>
                      <a:pt x="198822" y="117144"/>
                    </a:cubicBezTo>
                    <a:cubicBezTo>
                      <a:pt x="194258" y="120187"/>
                      <a:pt x="189694" y="121708"/>
                      <a:pt x="183608" y="121708"/>
                    </a:cubicBezTo>
                    <a:cubicBezTo>
                      <a:pt x="177523" y="121708"/>
                      <a:pt x="172959" y="120187"/>
                      <a:pt x="168395" y="117144"/>
                    </a:cubicBezTo>
                    <a:cubicBezTo>
                      <a:pt x="168395" y="117144"/>
                      <a:pt x="168395" y="117144"/>
                      <a:pt x="166874" y="115623"/>
                    </a:cubicBezTo>
                    <a:cubicBezTo>
                      <a:pt x="166874" y="115623"/>
                      <a:pt x="165352" y="115623"/>
                      <a:pt x="165352" y="115623"/>
                    </a:cubicBezTo>
                    <a:cubicBezTo>
                      <a:pt x="157745" y="111059"/>
                      <a:pt x="153181" y="101931"/>
                      <a:pt x="153181" y="91281"/>
                    </a:cubicBezTo>
                    <a:cubicBezTo>
                      <a:pt x="153181" y="74546"/>
                      <a:pt x="166874" y="60854"/>
                      <a:pt x="183608" y="60854"/>
                    </a:cubicBezTo>
                    <a:close/>
                    <a:moveTo>
                      <a:pt x="198822" y="212990"/>
                    </a:moveTo>
                    <a:lnTo>
                      <a:pt x="198822" y="197776"/>
                    </a:lnTo>
                    <a:cubicBezTo>
                      <a:pt x="198822" y="188648"/>
                      <a:pt x="192737" y="182563"/>
                      <a:pt x="183608" y="182563"/>
                    </a:cubicBezTo>
                    <a:cubicBezTo>
                      <a:pt x="174480" y="182563"/>
                      <a:pt x="168395" y="188648"/>
                      <a:pt x="168395" y="197776"/>
                    </a:cubicBezTo>
                    <a:lnTo>
                      <a:pt x="168395" y="212990"/>
                    </a:lnTo>
                    <a:lnTo>
                      <a:pt x="122754" y="212990"/>
                    </a:lnTo>
                    <a:lnTo>
                      <a:pt x="163831" y="149093"/>
                    </a:lnTo>
                    <a:cubicBezTo>
                      <a:pt x="171438" y="150614"/>
                      <a:pt x="177523" y="152135"/>
                      <a:pt x="183608" y="152135"/>
                    </a:cubicBezTo>
                    <a:cubicBezTo>
                      <a:pt x="189694" y="152135"/>
                      <a:pt x="195779" y="150614"/>
                      <a:pt x="201865" y="149093"/>
                    </a:cubicBezTo>
                    <a:lnTo>
                      <a:pt x="244463" y="212990"/>
                    </a:lnTo>
                    <a:lnTo>
                      <a:pt x="198822" y="212990"/>
                    </a:lnTo>
                    <a:close/>
                  </a:path>
                </a:pathLst>
              </a:custGeom>
              <a:solidFill>
                <a:srgbClr val="FFFFFF"/>
              </a:solidFill>
              <a:ln w="15081" cap="flat">
                <a:noFill/>
                <a:prstDash val="solid"/>
                <a:miter/>
              </a:ln>
            </p:spPr>
            <p:txBody>
              <a:bodyPr rtlCol="0" anchor="ctr"/>
              <a:lstStyle/>
              <a:p>
                <a:pPr defTabSz="554492"/>
                <a:endParaRPr lang="en-US" sz="1092" kern="0">
                  <a:solidFill>
                    <a:srgbClr val="202020"/>
                  </a:solidFill>
                  <a:latin typeface="Arial" panose="020B0604020202020204"/>
                </a:endParaRPr>
              </a:p>
            </p:txBody>
          </p:sp>
          <p:grpSp>
            <p:nvGrpSpPr>
              <p:cNvPr id="48" name="Graphic 2164">
                <a:extLst>
                  <a:ext uri="{FF2B5EF4-FFF2-40B4-BE49-F238E27FC236}">
                    <a16:creationId xmlns:a16="http://schemas.microsoft.com/office/drawing/2014/main" id="{5DD0F7F8-7336-A441-A928-937FC7502F53}"/>
                  </a:ext>
                </a:extLst>
              </p:cNvPr>
              <p:cNvGrpSpPr/>
              <p:nvPr/>
            </p:nvGrpSpPr>
            <p:grpSpPr>
              <a:xfrm>
                <a:off x="4033778" y="4216377"/>
                <a:ext cx="304270" cy="365125"/>
                <a:chOff x="10258814" y="2742566"/>
                <a:chExt cx="304270" cy="365125"/>
              </a:xfrm>
              <a:solidFill>
                <a:srgbClr val="FFFFFF"/>
              </a:solidFill>
            </p:grpSpPr>
            <p:sp>
              <p:nvSpPr>
                <p:cNvPr id="62" name="Freeform 69">
                  <a:extLst>
                    <a:ext uri="{FF2B5EF4-FFF2-40B4-BE49-F238E27FC236}">
                      <a16:creationId xmlns:a16="http://schemas.microsoft.com/office/drawing/2014/main" id="{9626BB39-34FD-6B4D-895C-1E5E9DAC79B3}"/>
                    </a:ext>
                  </a:extLst>
                </p:cNvPr>
                <p:cNvSpPr/>
                <p:nvPr/>
              </p:nvSpPr>
              <p:spPr>
                <a:xfrm>
                  <a:off x="10426163" y="2894701"/>
                  <a:ext cx="136921" cy="212989"/>
                </a:xfrm>
                <a:custGeom>
                  <a:avLst/>
                  <a:gdLst>
                    <a:gd name="connsiteX0" fmla="*/ 121708 w 136921"/>
                    <a:gd name="connsiteY0" fmla="*/ 0 h 212989"/>
                    <a:gd name="connsiteX1" fmla="*/ 15214 w 136921"/>
                    <a:gd name="connsiteY1" fmla="*/ 0 h 212989"/>
                    <a:gd name="connsiteX2" fmla="*/ 0 w 136921"/>
                    <a:gd name="connsiteY2" fmla="*/ 15214 h 212989"/>
                    <a:gd name="connsiteX3" fmla="*/ 0 w 136921"/>
                    <a:gd name="connsiteY3" fmla="*/ 197776 h 212989"/>
                    <a:gd name="connsiteX4" fmla="*/ 15214 w 136921"/>
                    <a:gd name="connsiteY4" fmla="*/ 212990 h 212989"/>
                    <a:gd name="connsiteX5" fmla="*/ 121708 w 136921"/>
                    <a:gd name="connsiteY5" fmla="*/ 212990 h 212989"/>
                    <a:gd name="connsiteX6" fmla="*/ 136922 w 136921"/>
                    <a:gd name="connsiteY6" fmla="*/ 197776 h 212989"/>
                    <a:gd name="connsiteX7" fmla="*/ 136922 w 136921"/>
                    <a:gd name="connsiteY7" fmla="*/ 15214 h 212989"/>
                    <a:gd name="connsiteX8" fmla="*/ 121708 w 136921"/>
                    <a:gd name="connsiteY8" fmla="*/ 0 h 212989"/>
                    <a:gd name="connsiteX9" fmla="*/ 106495 w 136921"/>
                    <a:gd name="connsiteY9" fmla="*/ 182563 h 212989"/>
                    <a:gd name="connsiteX10" fmla="*/ 30427 w 136921"/>
                    <a:gd name="connsiteY10" fmla="*/ 182563 h 212989"/>
                    <a:gd name="connsiteX11" fmla="*/ 30427 w 136921"/>
                    <a:gd name="connsiteY11" fmla="*/ 30427 h 212989"/>
                    <a:gd name="connsiteX12" fmla="*/ 106495 w 136921"/>
                    <a:gd name="connsiteY12" fmla="*/ 30427 h 212989"/>
                    <a:gd name="connsiteX13" fmla="*/ 106495 w 136921"/>
                    <a:gd name="connsiteY13" fmla="*/ 182563 h 21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6921" h="212989">
                      <a:moveTo>
                        <a:pt x="121708" y="0"/>
                      </a:moveTo>
                      <a:lnTo>
                        <a:pt x="15214" y="0"/>
                      </a:lnTo>
                      <a:cubicBezTo>
                        <a:pt x="6085" y="0"/>
                        <a:pt x="0" y="6085"/>
                        <a:pt x="0" y="15214"/>
                      </a:cubicBezTo>
                      <a:lnTo>
                        <a:pt x="0" y="197776"/>
                      </a:lnTo>
                      <a:cubicBezTo>
                        <a:pt x="0" y="206904"/>
                        <a:pt x="6085" y="212990"/>
                        <a:pt x="15214" y="212990"/>
                      </a:cubicBezTo>
                      <a:lnTo>
                        <a:pt x="121708" y="212990"/>
                      </a:lnTo>
                      <a:cubicBezTo>
                        <a:pt x="130836" y="212990"/>
                        <a:pt x="136922" y="206904"/>
                        <a:pt x="136922" y="197776"/>
                      </a:cubicBezTo>
                      <a:lnTo>
                        <a:pt x="136922" y="15214"/>
                      </a:lnTo>
                      <a:cubicBezTo>
                        <a:pt x="136922" y="6085"/>
                        <a:pt x="130836" y="0"/>
                        <a:pt x="121708" y="0"/>
                      </a:cubicBezTo>
                      <a:close/>
                      <a:moveTo>
                        <a:pt x="106495" y="182563"/>
                      </a:moveTo>
                      <a:lnTo>
                        <a:pt x="30427" y="182563"/>
                      </a:lnTo>
                      <a:lnTo>
                        <a:pt x="30427" y="30427"/>
                      </a:lnTo>
                      <a:lnTo>
                        <a:pt x="106495" y="30427"/>
                      </a:lnTo>
                      <a:lnTo>
                        <a:pt x="106495" y="182563"/>
                      </a:lnTo>
                      <a:close/>
                    </a:path>
                  </a:pathLst>
                </a:custGeom>
                <a:grpFill/>
                <a:ln w="15081" cap="flat">
                  <a:noFill/>
                  <a:prstDash val="solid"/>
                  <a:miter/>
                </a:ln>
              </p:spPr>
              <p:txBody>
                <a:bodyPr rtlCol="0" anchor="ctr"/>
                <a:lstStyle/>
                <a:p>
                  <a:pPr defTabSz="554492"/>
                  <a:endParaRPr lang="en-US" sz="1092" kern="0">
                    <a:solidFill>
                      <a:srgbClr val="202020"/>
                    </a:solidFill>
                    <a:latin typeface="Arial" panose="020B0604020202020204"/>
                  </a:endParaRPr>
                </a:p>
              </p:txBody>
            </p:sp>
            <p:sp>
              <p:nvSpPr>
                <p:cNvPr id="63" name="Freeform 70">
                  <a:extLst>
                    <a:ext uri="{FF2B5EF4-FFF2-40B4-BE49-F238E27FC236}">
                      <a16:creationId xmlns:a16="http://schemas.microsoft.com/office/drawing/2014/main" id="{A6CCB4E4-14D0-5E46-891E-AA080F146CE6}"/>
                    </a:ext>
                  </a:extLst>
                </p:cNvPr>
                <p:cNvSpPr/>
                <p:nvPr/>
              </p:nvSpPr>
              <p:spPr>
                <a:xfrm>
                  <a:off x="10258814" y="2985982"/>
                  <a:ext cx="136921" cy="121708"/>
                </a:xfrm>
                <a:custGeom>
                  <a:avLst/>
                  <a:gdLst>
                    <a:gd name="connsiteX0" fmla="*/ 121708 w 136921"/>
                    <a:gd name="connsiteY0" fmla="*/ 0 h 121708"/>
                    <a:gd name="connsiteX1" fmla="*/ 15214 w 136921"/>
                    <a:gd name="connsiteY1" fmla="*/ 0 h 121708"/>
                    <a:gd name="connsiteX2" fmla="*/ 0 w 136921"/>
                    <a:gd name="connsiteY2" fmla="*/ 15214 h 121708"/>
                    <a:gd name="connsiteX3" fmla="*/ 0 w 136921"/>
                    <a:gd name="connsiteY3" fmla="*/ 106495 h 121708"/>
                    <a:gd name="connsiteX4" fmla="*/ 15214 w 136921"/>
                    <a:gd name="connsiteY4" fmla="*/ 121708 h 121708"/>
                    <a:gd name="connsiteX5" fmla="*/ 121708 w 136921"/>
                    <a:gd name="connsiteY5" fmla="*/ 121708 h 121708"/>
                    <a:gd name="connsiteX6" fmla="*/ 136922 w 136921"/>
                    <a:gd name="connsiteY6" fmla="*/ 106495 h 121708"/>
                    <a:gd name="connsiteX7" fmla="*/ 136922 w 136921"/>
                    <a:gd name="connsiteY7" fmla="*/ 15214 h 121708"/>
                    <a:gd name="connsiteX8" fmla="*/ 121708 w 136921"/>
                    <a:gd name="connsiteY8" fmla="*/ 0 h 121708"/>
                    <a:gd name="connsiteX9" fmla="*/ 106495 w 136921"/>
                    <a:gd name="connsiteY9" fmla="*/ 91281 h 121708"/>
                    <a:gd name="connsiteX10" fmla="*/ 30427 w 136921"/>
                    <a:gd name="connsiteY10" fmla="*/ 91281 h 121708"/>
                    <a:gd name="connsiteX11" fmla="*/ 30427 w 136921"/>
                    <a:gd name="connsiteY11" fmla="*/ 30427 h 121708"/>
                    <a:gd name="connsiteX12" fmla="*/ 106495 w 136921"/>
                    <a:gd name="connsiteY12" fmla="*/ 30427 h 121708"/>
                    <a:gd name="connsiteX13" fmla="*/ 106495 w 136921"/>
                    <a:gd name="connsiteY13" fmla="*/ 91281 h 121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6921" h="121708">
                      <a:moveTo>
                        <a:pt x="121708" y="0"/>
                      </a:moveTo>
                      <a:lnTo>
                        <a:pt x="15214" y="0"/>
                      </a:lnTo>
                      <a:cubicBezTo>
                        <a:pt x="6085" y="0"/>
                        <a:pt x="0" y="6085"/>
                        <a:pt x="0" y="15214"/>
                      </a:cubicBezTo>
                      <a:lnTo>
                        <a:pt x="0" y="106495"/>
                      </a:lnTo>
                      <a:cubicBezTo>
                        <a:pt x="0" y="115623"/>
                        <a:pt x="6085" y="121708"/>
                        <a:pt x="15214" y="121708"/>
                      </a:cubicBezTo>
                      <a:lnTo>
                        <a:pt x="121708" y="121708"/>
                      </a:lnTo>
                      <a:cubicBezTo>
                        <a:pt x="130836" y="121708"/>
                        <a:pt x="136922" y="115623"/>
                        <a:pt x="136922" y="106495"/>
                      </a:cubicBezTo>
                      <a:lnTo>
                        <a:pt x="136922" y="15214"/>
                      </a:lnTo>
                      <a:cubicBezTo>
                        <a:pt x="136922" y="6085"/>
                        <a:pt x="130836" y="0"/>
                        <a:pt x="121708" y="0"/>
                      </a:cubicBezTo>
                      <a:close/>
                      <a:moveTo>
                        <a:pt x="106495" y="91281"/>
                      </a:moveTo>
                      <a:lnTo>
                        <a:pt x="30427" y="91281"/>
                      </a:lnTo>
                      <a:lnTo>
                        <a:pt x="30427" y="30427"/>
                      </a:lnTo>
                      <a:lnTo>
                        <a:pt x="106495" y="30427"/>
                      </a:lnTo>
                      <a:lnTo>
                        <a:pt x="106495" y="91281"/>
                      </a:lnTo>
                      <a:close/>
                    </a:path>
                  </a:pathLst>
                </a:custGeom>
                <a:grpFill/>
                <a:ln w="15081" cap="flat">
                  <a:noFill/>
                  <a:prstDash val="solid"/>
                  <a:miter/>
                </a:ln>
              </p:spPr>
              <p:txBody>
                <a:bodyPr rtlCol="0" anchor="ctr"/>
                <a:lstStyle/>
                <a:p>
                  <a:pPr defTabSz="554492"/>
                  <a:endParaRPr lang="en-US" sz="1092" kern="0">
                    <a:solidFill>
                      <a:srgbClr val="202020"/>
                    </a:solidFill>
                    <a:latin typeface="Arial" panose="020B0604020202020204"/>
                  </a:endParaRPr>
                </a:p>
              </p:txBody>
            </p:sp>
            <p:sp>
              <p:nvSpPr>
                <p:cNvPr id="64" name="Freeform 71">
                  <a:extLst>
                    <a:ext uri="{FF2B5EF4-FFF2-40B4-BE49-F238E27FC236}">
                      <a16:creationId xmlns:a16="http://schemas.microsoft.com/office/drawing/2014/main" id="{DF1EC9A8-5496-4349-92FC-4FC9354EAC2A}"/>
                    </a:ext>
                  </a:extLst>
                </p:cNvPr>
                <p:cNvSpPr/>
                <p:nvPr/>
              </p:nvSpPr>
              <p:spPr>
                <a:xfrm>
                  <a:off x="10258814" y="2742566"/>
                  <a:ext cx="136921" cy="212989"/>
                </a:xfrm>
                <a:custGeom>
                  <a:avLst/>
                  <a:gdLst>
                    <a:gd name="connsiteX0" fmla="*/ 121708 w 136921"/>
                    <a:gd name="connsiteY0" fmla="*/ 0 h 212989"/>
                    <a:gd name="connsiteX1" fmla="*/ 15214 w 136921"/>
                    <a:gd name="connsiteY1" fmla="*/ 0 h 212989"/>
                    <a:gd name="connsiteX2" fmla="*/ 0 w 136921"/>
                    <a:gd name="connsiteY2" fmla="*/ 15214 h 212989"/>
                    <a:gd name="connsiteX3" fmla="*/ 0 w 136921"/>
                    <a:gd name="connsiteY3" fmla="*/ 197776 h 212989"/>
                    <a:gd name="connsiteX4" fmla="*/ 15214 w 136921"/>
                    <a:gd name="connsiteY4" fmla="*/ 212990 h 212989"/>
                    <a:gd name="connsiteX5" fmla="*/ 121708 w 136921"/>
                    <a:gd name="connsiteY5" fmla="*/ 212990 h 212989"/>
                    <a:gd name="connsiteX6" fmla="*/ 136922 w 136921"/>
                    <a:gd name="connsiteY6" fmla="*/ 197776 h 212989"/>
                    <a:gd name="connsiteX7" fmla="*/ 136922 w 136921"/>
                    <a:gd name="connsiteY7" fmla="*/ 15214 h 212989"/>
                    <a:gd name="connsiteX8" fmla="*/ 121708 w 136921"/>
                    <a:gd name="connsiteY8" fmla="*/ 0 h 212989"/>
                    <a:gd name="connsiteX9" fmla="*/ 106495 w 136921"/>
                    <a:gd name="connsiteY9" fmla="*/ 182563 h 212989"/>
                    <a:gd name="connsiteX10" fmla="*/ 30427 w 136921"/>
                    <a:gd name="connsiteY10" fmla="*/ 182563 h 212989"/>
                    <a:gd name="connsiteX11" fmla="*/ 30427 w 136921"/>
                    <a:gd name="connsiteY11" fmla="*/ 30427 h 212989"/>
                    <a:gd name="connsiteX12" fmla="*/ 106495 w 136921"/>
                    <a:gd name="connsiteY12" fmla="*/ 30427 h 212989"/>
                    <a:gd name="connsiteX13" fmla="*/ 106495 w 136921"/>
                    <a:gd name="connsiteY13" fmla="*/ 182563 h 21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6921" h="212989">
                      <a:moveTo>
                        <a:pt x="121708" y="0"/>
                      </a:moveTo>
                      <a:lnTo>
                        <a:pt x="15214" y="0"/>
                      </a:lnTo>
                      <a:cubicBezTo>
                        <a:pt x="6085" y="0"/>
                        <a:pt x="0" y="6085"/>
                        <a:pt x="0" y="15214"/>
                      </a:cubicBezTo>
                      <a:lnTo>
                        <a:pt x="0" y="197776"/>
                      </a:lnTo>
                      <a:cubicBezTo>
                        <a:pt x="0" y="206904"/>
                        <a:pt x="6085" y="212990"/>
                        <a:pt x="15214" y="212990"/>
                      </a:cubicBezTo>
                      <a:lnTo>
                        <a:pt x="121708" y="212990"/>
                      </a:lnTo>
                      <a:cubicBezTo>
                        <a:pt x="130836" y="212990"/>
                        <a:pt x="136922" y="206904"/>
                        <a:pt x="136922" y="197776"/>
                      </a:cubicBezTo>
                      <a:lnTo>
                        <a:pt x="136922" y="15214"/>
                      </a:lnTo>
                      <a:cubicBezTo>
                        <a:pt x="136922" y="6085"/>
                        <a:pt x="130836" y="0"/>
                        <a:pt x="121708" y="0"/>
                      </a:cubicBezTo>
                      <a:close/>
                      <a:moveTo>
                        <a:pt x="106495" y="182563"/>
                      </a:moveTo>
                      <a:lnTo>
                        <a:pt x="30427" y="182563"/>
                      </a:lnTo>
                      <a:lnTo>
                        <a:pt x="30427" y="30427"/>
                      </a:lnTo>
                      <a:lnTo>
                        <a:pt x="106495" y="30427"/>
                      </a:lnTo>
                      <a:lnTo>
                        <a:pt x="106495" y="182563"/>
                      </a:lnTo>
                      <a:close/>
                    </a:path>
                  </a:pathLst>
                </a:custGeom>
                <a:grpFill/>
                <a:ln w="15081" cap="flat">
                  <a:noFill/>
                  <a:prstDash val="solid"/>
                  <a:miter/>
                </a:ln>
              </p:spPr>
              <p:txBody>
                <a:bodyPr rtlCol="0" anchor="ctr"/>
                <a:lstStyle/>
                <a:p>
                  <a:pPr defTabSz="554492"/>
                  <a:endParaRPr lang="en-US" sz="1092" kern="0">
                    <a:solidFill>
                      <a:srgbClr val="202020"/>
                    </a:solidFill>
                    <a:latin typeface="Arial" panose="020B0604020202020204"/>
                  </a:endParaRPr>
                </a:p>
              </p:txBody>
            </p:sp>
            <p:sp>
              <p:nvSpPr>
                <p:cNvPr id="65" name="Freeform 72">
                  <a:extLst>
                    <a:ext uri="{FF2B5EF4-FFF2-40B4-BE49-F238E27FC236}">
                      <a16:creationId xmlns:a16="http://schemas.microsoft.com/office/drawing/2014/main" id="{D9AEAB27-E601-3B41-A3D8-DE46F0F4E9B1}"/>
                    </a:ext>
                  </a:extLst>
                </p:cNvPr>
                <p:cNvSpPr/>
                <p:nvPr/>
              </p:nvSpPr>
              <p:spPr>
                <a:xfrm>
                  <a:off x="10426163" y="2742566"/>
                  <a:ext cx="136921" cy="121708"/>
                </a:xfrm>
                <a:custGeom>
                  <a:avLst/>
                  <a:gdLst>
                    <a:gd name="connsiteX0" fmla="*/ 121708 w 136921"/>
                    <a:gd name="connsiteY0" fmla="*/ 0 h 121708"/>
                    <a:gd name="connsiteX1" fmla="*/ 15214 w 136921"/>
                    <a:gd name="connsiteY1" fmla="*/ 0 h 121708"/>
                    <a:gd name="connsiteX2" fmla="*/ 0 w 136921"/>
                    <a:gd name="connsiteY2" fmla="*/ 15214 h 121708"/>
                    <a:gd name="connsiteX3" fmla="*/ 0 w 136921"/>
                    <a:gd name="connsiteY3" fmla="*/ 106495 h 121708"/>
                    <a:gd name="connsiteX4" fmla="*/ 15214 w 136921"/>
                    <a:gd name="connsiteY4" fmla="*/ 121708 h 121708"/>
                    <a:gd name="connsiteX5" fmla="*/ 121708 w 136921"/>
                    <a:gd name="connsiteY5" fmla="*/ 121708 h 121708"/>
                    <a:gd name="connsiteX6" fmla="*/ 136922 w 136921"/>
                    <a:gd name="connsiteY6" fmla="*/ 106495 h 121708"/>
                    <a:gd name="connsiteX7" fmla="*/ 136922 w 136921"/>
                    <a:gd name="connsiteY7" fmla="*/ 15214 h 121708"/>
                    <a:gd name="connsiteX8" fmla="*/ 121708 w 136921"/>
                    <a:gd name="connsiteY8" fmla="*/ 0 h 121708"/>
                    <a:gd name="connsiteX9" fmla="*/ 106495 w 136921"/>
                    <a:gd name="connsiteY9" fmla="*/ 91281 h 121708"/>
                    <a:gd name="connsiteX10" fmla="*/ 30427 w 136921"/>
                    <a:gd name="connsiteY10" fmla="*/ 91281 h 121708"/>
                    <a:gd name="connsiteX11" fmla="*/ 30427 w 136921"/>
                    <a:gd name="connsiteY11" fmla="*/ 30427 h 121708"/>
                    <a:gd name="connsiteX12" fmla="*/ 106495 w 136921"/>
                    <a:gd name="connsiteY12" fmla="*/ 30427 h 121708"/>
                    <a:gd name="connsiteX13" fmla="*/ 106495 w 136921"/>
                    <a:gd name="connsiteY13" fmla="*/ 91281 h 121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6921" h="121708">
                      <a:moveTo>
                        <a:pt x="121708" y="0"/>
                      </a:moveTo>
                      <a:lnTo>
                        <a:pt x="15214" y="0"/>
                      </a:lnTo>
                      <a:cubicBezTo>
                        <a:pt x="6085" y="0"/>
                        <a:pt x="0" y="6085"/>
                        <a:pt x="0" y="15214"/>
                      </a:cubicBezTo>
                      <a:lnTo>
                        <a:pt x="0" y="106495"/>
                      </a:lnTo>
                      <a:cubicBezTo>
                        <a:pt x="0" y="115623"/>
                        <a:pt x="6085" y="121708"/>
                        <a:pt x="15214" y="121708"/>
                      </a:cubicBezTo>
                      <a:lnTo>
                        <a:pt x="121708" y="121708"/>
                      </a:lnTo>
                      <a:cubicBezTo>
                        <a:pt x="130836" y="121708"/>
                        <a:pt x="136922" y="115623"/>
                        <a:pt x="136922" y="106495"/>
                      </a:cubicBezTo>
                      <a:lnTo>
                        <a:pt x="136922" y="15214"/>
                      </a:lnTo>
                      <a:cubicBezTo>
                        <a:pt x="136922" y="6085"/>
                        <a:pt x="130836" y="0"/>
                        <a:pt x="121708" y="0"/>
                      </a:cubicBezTo>
                      <a:close/>
                      <a:moveTo>
                        <a:pt x="106495" y="91281"/>
                      </a:moveTo>
                      <a:lnTo>
                        <a:pt x="30427" y="91281"/>
                      </a:lnTo>
                      <a:lnTo>
                        <a:pt x="30427" y="30427"/>
                      </a:lnTo>
                      <a:lnTo>
                        <a:pt x="106495" y="30427"/>
                      </a:lnTo>
                      <a:lnTo>
                        <a:pt x="106495" y="91281"/>
                      </a:lnTo>
                      <a:close/>
                    </a:path>
                  </a:pathLst>
                </a:custGeom>
                <a:grpFill/>
                <a:ln w="15081" cap="flat">
                  <a:noFill/>
                  <a:prstDash val="solid"/>
                  <a:miter/>
                </a:ln>
              </p:spPr>
              <p:txBody>
                <a:bodyPr rtlCol="0" anchor="ctr"/>
                <a:lstStyle/>
                <a:p>
                  <a:pPr defTabSz="554492"/>
                  <a:endParaRPr lang="en-US" sz="1092" kern="0">
                    <a:solidFill>
                      <a:srgbClr val="202020"/>
                    </a:solidFill>
                    <a:latin typeface="Arial" panose="020B0604020202020204"/>
                  </a:endParaRPr>
                </a:p>
              </p:txBody>
            </p:sp>
          </p:grpSp>
          <p:grpSp>
            <p:nvGrpSpPr>
              <p:cNvPr id="49" name="Graphic 2176">
                <a:extLst>
                  <a:ext uri="{FF2B5EF4-FFF2-40B4-BE49-F238E27FC236}">
                    <a16:creationId xmlns:a16="http://schemas.microsoft.com/office/drawing/2014/main" id="{D87F5012-BB3B-3C42-8936-EA42A0F9EC4B}"/>
                  </a:ext>
                </a:extLst>
              </p:cNvPr>
              <p:cNvGrpSpPr/>
              <p:nvPr/>
            </p:nvGrpSpPr>
            <p:grpSpPr>
              <a:xfrm>
                <a:off x="4986300" y="4033960"/>
                <a:ext cx="349531" cy="359039"/>
                <a:chOff x="4477695" y="3674745"/>
                <a:chExt cx="349531" cy="359039"/>
              </a:xfrm>
              <a:solidFill>
                <a:srgbClr val="FFFFFF"/>
              </a:solidFill>
            </p:grpSpPr>
            <p:sp>
              <p:nvSpPr>
                <p:cNvPr id="59" name="Freeform 66">
                  <a:extLst>
                    <a:ext uri="{FF2B5EF4-FFF2-40B4-BE49-F238E27FC236}">
                      <a16:creationId xmlns:a16="http://schemas.microsoft.com/office/drawing/2014/main" id="{540C5FCC-13B5-C844-A734-EF8E1E02414D}"/>
                    </a:ext>
                  </a:extLst>
                </p:cNvPr>
                <p:cNvSpPr/>
                <p:nvPr/>
              </p:nvSpPr>
              <p:spPr>
                <a:xfrm>
                  <a:off x="4614616" y="3674745"/>
                  <a:ext cx="182562" cy="182562"/>
                </a:xfrm>
                <a:custGeom>
                  <a:avLst/>
                  <a:gdLst>
                    <a:gd name="connsiteX0" fmla="*/ 91281 w 182562"/>
                    <a:gd name="connsiteY0" fmla="*/ 182563 h 182562"/>
                    <a:gd name="connsiteX1" fmla="*/ 182563 w 182562"/>
                    <a:gd name="connsiteY1" fmla="*/ 91281 h 182562"/>
                    <a:gd name="connsiteX2" fmla="*/ 91281 w 182562"/>
                    <a:gd name="connsiteY2" fmla="*/ 0 h 182562"/>
                    <a:gd name="connsiteX3" fmla="*/ 0 w 182562"/>
                    <a:gd name="connsiteY3" fmla="*/ 91281 h 182562"/>
                    <a:gd name="connsiteX4" fmla="*/ 91281 w 182562"/>
                    <a:gd name="connsiteY4" fmla="*/ 182563 h 182562"/>
                    <a:gd name="connsiteX5" fmla="*/ 91281 w 182562"/>
                    <a:gd name="connsiteY5" fmla="*/ 30427 h 182562"/>
                    <a:gd name="connsiteX6" fmla="*/ 152135 w 182562"/>
                    <a:gd name="connsiteY6" fmla="*/ 91281 h 182562"/>
                    <a:gd name="connsiteX7" fmla="*/ 91281 w 182562"/>
                    <a:gd name="connsiteY7" fmla="*/ 152135 h 182562"/>
                    <a:gd name="connsiteX8" fmla="*/ 30427 w 182562"/>
                    <a:gd name="connsiteY8" fmla="*/ 91281 h 182562"/>
                    <a:gd name="connsiteX9" fmla="*/ 91281 w 182562"/>
                    <a:gd name="connsiteY9" fmla="*/ 30427 h 18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562" h="182562">
                      <a:moveTo>
                        <a:pt x="91281" y="182563"/>
                      </a:moveTo>
                      <a:cubicBezTo>
                        <a:pt x="141486" y="182563"/>
                        <a:pt x="182563" y="141486"/>
                        <a:pt x="182563" y="91281"/>
                      </a:cubicBezTo>
                      <a:cubicBezTo>
                        <a:pt x="182563" y="41077"/>
                        <a:pt x="141486" y="0"/>
                        <a:pt x="91281" y="0"/>
                      </a:cubicBezTo>
                      <a:cubicBezTo>
                        <a:pt x="41077" y="0"/>
                        <a:pt x="0" y="41077"/>
                        <a:pt x="0" y="91281"/>
                      </a:cubicBezTo>
                      <a:cubicBezTo>
                        <a:pt x="0" y="141486"/>
                        <a:pt x="41077" y="182563"/>
                        <a:pt x="91281" y="182563"/>
                      </a:cubicBezTo>
                      <a:close/>
                      <a:moveTo>
                        <a:pt x="91281" y="30427"/>
                      </a:moveTo>
                      <a:cubicBezTo>
                        <a:pt x="124751" y="30427"/>
                        <a:pt x="152135" y="57811"/>
                        <a:pt x="152135" y="91281"/>
                      </a:cubicBezTo>
                      <a:cubicBezTo>
                        <a:pt x="152135" y="124751"/>
                        <a:pt x="124751" y="152135"/>
                        <a:pt x="91281" y="152135"/>
                      </a:cubicBezTo>
                      <a:cubicBezTo>
                        <a:pt x="57811" y="152135"/>
                        <a:pt x="30427" y="124751"/>
                        <a:pt x="30427" y="91281"/>
                      </a:cubicBezTo>
                      <a:cubicBezTo>
                        <a:pt x="30427" y="57811"/>
                        <a:pt x="57811" y="30427"/>
                        <a:pt x="91281" y="30427"/>
                      </a:cubicBezTo>
                      <a:close/>
                    </a:path>
                  </a:pathLst>
                </a:custGeom>
                <a:grpFill/>
                <a:ln w="15081" cap="flat">
                  <a:noFill/>
                  <a:prstDash val="solid"/>
                  <a:miter/>
                </a:ln>
              </p:spPr>
              <p:txBody>
                <a:bodyPr rtlCol="0" anchor="ctr"/>
                <a:lstStyle/>
                <a:p>
                  <a:pPr defTabSz="554492"/>
                  <a:endParaRPr lang="en-US" sz="1092" kern="0">
                    <a:solidFill>
                      <a:srgbClr val="202020"/>
                    </a:solidFill>
                    <a:latin typeface="Arial" panose="020B0604020202020204"/>
                  </a:endParaRPr>
                </a:p>
              </p:txBody>
            </p:sp>
            <p:sp>
              <p:nvSpPr>
                <p:cNvPr id="60" name="Freeform 67">
                  <a:extLst>
                    <a:ext uri="{FF2B5EF4-FFF2-40B4-BE49-F238E27FC236}">
                      <a16:creationId xmlns:a16="http://schemas.microsoft.com/office/drawing/2014/main" id="{A438F1FC-3D4D-B84A-9594-253BF3D19611}"/>
                    </a:ext>
                  </a:extLst>
                </p:cNvPr>
                <p:cNvSpPr/>
                <p:nvPr/>
              </p:nvSpPr>
              <p:spPr>
                <a:xfrm>
                  <a:off x="4690684" y="3735599"/>
                  <a:ext cx="30427" cy="60854"/>
                </a:xfrm>
                <a:custGeom>
                  <a:avLst/>
                  <a:gdLst>
                    <a:gd name="connsiteX0" fmla="*/ 15214 w 30427"/>
                    <a:gd name="connsiteY0" fmla="*/ 60854 h 60854"/>
                    <a:gd name="connsiteX1" fmla="*/ 30427 w 30427"/>
                    <a:gd name="connsiteY1" fmla="*/ 45641 h 60854"/>
                    <a:gd name="connsiteX2" fmla="*/ 30427 w 30427"/>
                    <a:gd name="connsiteY2" fmla="*/ 15214 h 60854"/>
                    <a:gd name="connsiteX3" fmla="*/ 15214 w 30427"/>
                    <a:gd name="connsiteY3" fmla="*/ 0 h 60854"/>
                    <a:gd name="connsiteX4" fmla="*/ 0 w 30427"/>
                    <a:gd name="connsiteY4" fmla="*/ 15214 h 60854"/>
                    <a:gd name="connsiteX5" fmla="*/ 0 w 30427"/>
                    <a:gd name="connsiteY5" fmla="*/ 45641 h 60854"/>
                    <a:gd name="connsiteX6" fmla="*/ 15214 w 30427"/>
                    <a:gd name="connsiteY6" fmla="*/ 60854 h 6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27" h="60854">
                      <a:moveTo>
                        <a:pt x="15214" y="60854"/>
                      </a:moveTo>
                      <a:cubicBezTo>
                        <a:pt x="24342" y="60854"/>
                        <a:pt x="30427" y="54769"/>
                        <a:pt x="30427" y="45641"/>
                      </a:cubicBezTo>
                      <a:lnTo>
                        <a:pt x="30427" y="15214"/>
                      </a:lnTo>
                      <a:cubicBezTo>
                        <a:pt x="30427" y="6085"/>
                        <a:pt x="24342" y="0"/>
                        <a:pt x="15214" y="0"/>
                      </a:cubicBezTo>
                      <a:cubicBezTo>
                        <a:pt x="6085" y="0"/>
                        <a:pt x="0" y="6085"/>
                        <a:pt x="0" y="15214"/>
                      </a:cubicBezTo>
                      <a:lnTo>
                        <a:pt x="0" y="45641"/>
                      </a:lnTo>
                      <a:cubicBezTo>
                        <a:pt x="0" y="54769"/>
                        <a:pt x="6085" y="60854"/>
                        <a:pt x="15214" y="60854"/>
                      </a:cubicBezTo>
                      <a:close/>
                    </a:path>
                  </a:pathLst>
                </a:custGeom>
                <a:grpFill/>
                <a:ln w="15081" cap="flat">
                  <a:noFill/>
                  <a:prstDash val="solid"/>
                  <a:miter/>
                </a:ln>
              </p:spPr>
              <p:txBody>
                <a:bodyPr rtlCol="0" anchor="ctr"/>
                <a:lstStyle/>
                <a:p>
                  <a:pPr defTabSz="554492"/>
                  <a:endParaRPr lang="en-US" sz="1092" kern="0">
                    <a:solidFill>
                      <a:srgbClr val="202020"/>
                    </a:solidFill>
                    <a:latin typeface="Arial" panose="020B0604020202020204"/>
                  </a:endParaRPr>
                </a:p>
              </p:txBody>
            </p:sp>
            <p:sp>
              <p:nvSpPr>
                <p:cNvPr id="61" name="Freeform 68">
                  <a:extLst>
                    <a:ext uri="{FF2B5EF4-FFF2-40B4-BE49-F238E27FC236}">
                      <a16:creationId xmlns:a16="http://schemas.microsoft.com/office/drawing/2014/main" id="{AF6C6482-0464-F546-B3A8-5AD09AF2F985}"/>
                    </a:ext>
                  </a:extLst>
                </p:cNvPr>
                <p:cNvSpPr/>
                <p:nvPr/>
              </p:nvSpPr>
              <p:spPr>
                <a:xfrm>
                  <a:off x="4477695" y="3842093"/>
                  <a:ext cx="349531" cy="191690"/>
                </a:xfrm>
                <a:custGeom>
                  <a:avLst/>
                  <a:gdLst>
                    <a:gd name="connsiteX0" fmla="*/ 348390 w 349531"/>
                    <a:gd name="connsiteY0" fmla="*/ 115623 h 191690"/>
                    <a:gd name="connsiteX1" fmla="*/ 342305 w 349531"/>
                    <a:gd name="connsiteY1" fmla="*/ 103452 h 191690"/>
                    <a:gd name="connsiteX2" fmla="*/ 286015 w 349531"/>
                    <a:gd name="connsiteY2" fmla="*/ 62376 h 191690"/>
                    <a:gd name="connsiteX3" fmla="*/ 258630 w 349531"/>
                    <a:gd name="connsiteY3" fmla="*/ 62376 h 191690"/>
                    <a:gd name="connsiteX4" fmla="*/ 243417 w 349531"/>
                    <a:gd name="connsiteY4" fmla="*/ 77589 h 191690"/>
                    <a:gd name="connsiteX5" fmla="*/ 258630 w 349531"/>
                    <a:gd name="connsiteY5" fmla="*/ 92803 h 191690"/>
                    <a:gd name="connsiteX6" fmla="*/ 286015 w 349531"/>
                    <a:gd name="connsiteY6" fmla="*/ 92803 h 191690"/>
                    <a:gd name="connsiteX7" fmla="*/ 313399 w 349531"/>
                    <a:gd name="connsiteY7" fmla="*/ 114102 h 191690"/>
                    <a:gd name="connsiteX8" fmla="*/ 155178 w 349531"/>
                    <a:gd name="connsiteY8" fmla="*/ 162785 h 191690"/>
                    <a:gd name="connsiteX9" fmla="*/ 120187 w 349531"/>
                    <a:gd name="connsiteY9" fmla="*/ 161264 h 191690"/>
                    <a:gd name="connsiteX10" fmla="*/ 28906 w 349531"/>
                    <a:gd name="connsiteY10" fmla="*/ 115623 h 191690"/>
                    <a:gd name="connsiteX11" fmla="*/ 28906 w 349531"/>
                    <a:gd name="connsiteY11" fmla="*/ 30427 h 191690"/>
                    <a:gd name="connsiteX12" fmla="*/ 92803 w 349531"/>
                    <a:gd name="connsiteY12" fmla="*/ 54769 h 191690"/>
                    <a:gd name="connsiteX13" fmla="*/ 106495 w 349531"/>
                    <a:gd name="connsiteY13" fmla="*/ 60854 h 191690"/>
                    <a:gd name="connsiteX14" fmla="*/ 152135 w 349531"/>
                    <a:gd name="connsiteY14" fmla="*/ 60854 h 191690"/>
                    <a:gd name="connsiteX15" fmla="*/ 194733 w 349531"/>
                    <a:gd name="connsiteY15" fmla="*/ 91281 h 191690"/>
                    <a:gd name="connsiteX16" fmla="*/ 121708 w 349531"/>
                    <a:gd name="connsiteY16" fmla="*/ 91281 h 191690"/>
                    <a:gd name="connsiteX17" fmla="*/ 106495 w 349531"/>
                    <a:gd name="connsiteY17" fmla="*/ 106495 h 191690"/>
                    <a:gd name="connsiteX18" fmla="*/ 121708 w 349531"/>
                    <a:gd name="connsiteY18" fmla="*/ 121708 h 191690"/>
                    <a:gd name="connsiteX19" fmla="*/ 212990 w 349531"/>
                    <a:gd name="connsiteY19" fmla="*/ 121708 h 191690"/>
                    <a:gd name="connsiteX20" fmla="*/ 228203 w 349531"/>
                    <a:gd name="connsiteY20" fmla="*/ 106495 h 191690"/>
                    <a:gd name="connsiteX21" fmla="*/ 152135 w 349531"/>
                    <a:gd name="connsiteY21" fmla="*/ 30427 h 191690"/>
                    <a:gd name="connsiteX22" fmla="*/ 114102 w 349531"/>
                    <a:gd name="connsiteY22" fmla="*/ 30427 h 191690"/>
                    <a:gd name="connsiteX23" fmla="*/ 30427 w 349531"/>
                    <a:gd name="connsiteY23" fmla="*/ 0 h 191690"/>
                    <a:gd name="connsiteX24" fmla="*/ 15214 w 349531"/>
                    <a:gd name="connsiteY24" fmla="*/ 0 h 191690"/>
                    <a:gd name="connsiteX25" fmla="*/ 0 w 349531"/>
                    <a:gd name="connsiteY25" fmla="*/ 15214 h 191690"/>
                    <a:gd name="connsiteX26" fmla="*/ 0 w 349531"/>
                    <a:gd name="connsiteY26" fmla="*/ 121708 h 191690"/>
                    <a:gd name="connsiteX27" fmla="*/ 7607 w 349531"/>
                    <a:gd name="connsiteY27" fmla="*/ 135401 h 191690"/>
                    <a:gd name="connsiteX28" fmla="*/ 108016 w 349531"/>
                    <a:gd name="connsiteY28" fmla="*/ 185605 h 191690"/>
                    <a:gd name="connsiteX29" fmla="*/ 141486 w 349531"/>
                    <a:gd name="connsiteY29" fmla="*/ 191691 h 191690"/>
                    <a:gd name="connsiteX30" fmla="*/ 164306 w 349531"/>
                    <a:gd name="connsiteY30" fmla="*/ 188648 h 191690"/>
                    <a:gd name="connsiteX31" fmla="*/ 339262 w 349531"/>
                    <a:gd name="connsiteY31" fmla="*/ 136922 h 191690"/>
                    <a:gd name="connsiteX32" fmla="*/ 348390 w 349531"/>
                    <a:gd name="connsiteY32" fmla="*/ 129315 h 191690"/>
                    <a:gd name="connsiteX33" fmla="*/ 348390 w 349531"/>
                    <a:gd name="connsiteY33" fmla="*/ 115623 h 191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49531" h="191690">
                      <a:moveTo>
                        <a:pt x="348390" y="115623"/>
                      </a:moveTo>
                      <a:lnTo>
                        <a:pt x="342305" y="103452"/>
                      </a:lnTo>
                      <a:cubicBezTo>
                        <a:pt x="334698" y="77589"/>
                        <a:pt x="311878" y="62376"/>
                        <a:pt x="286015" y="62376"/>
                      </a:cubicBezTo>
                      <a:lnTo>
                        <a:pt x="258630" y="62376"/>
                      </a:lnTo>
                      <a:cubicBezTo>
                        <a:pt x="249502" y="62376"/>
                        <a:pt x="243417" y="68461"/>
                        <a:pt x="243417" y="77589"/>
                      </a:cubicBezTo>
                      <a:cubicBezTo>
                        <a:pt x="243417" y="86717"/>
                        <a:pt x="249502" y="92803"/>
                        <a:pt x="258630" y="92803"/>
                      </a:cubicBezTo>
                      <a:lnTo>
                        <a:pt x="286015" y="92803"/>
                      </a:lnTo>
                      <a:cubicBezTo>
                        <a:pt x="299707" y="92803"/>
                        <a:pt x="310356" y="100409"/>
                        <a:pt x="313399" y="114102"/>
                      </a:cubicBezTo>
                      <a:lnTo>
                        <a:pt x="155178" y="162785"/>
                      </a:lnTo>
                      <a:cubicBezTo>
                        <a:pt x="144529" y="165828"/>
                        <a:pt x="132358" y="165828"/>
                        <a:pt x="120187" y="161264"/>
                      </a:cubicBezTo>
                      <a:lnTo>
                        <a:pt x="28906" y="115623"/>
                      </a:lnTo>
                      <a:lnTo>
                        <a:pt x="28906" y="30427"/>
                      </a:lnTo>
                      <a:cubicBezTo>
                        <a:pt x="44119" y="30427"/>
                        <a:pt x="80632" y="36512"/>
                        <a:pt x="92803" y="54769"/>
                      </a:cubicBezTo>
                      <a:cubicBezTo>
                        <a:pt x="97367" y="57811"/>
                        <a:pt x="101931" y="60854"/>
                        <a:pt x="106495" y="60854"/>
                      </a:cubicBezTo>
                      <a:lnTo>
                        <a:pt x="152135" y="60854"/>
                      </a:lnTo>
                      <a:cubicBezTo>
                        <a:pt x="171913" y="60854"/>
                        <a:pt x="188648" y="73025"/>
                        <a:pt x="194733" y="91281"/>
                      </a:cubicBezTo>
                      <a:lnTo>
                        <a:pt x="121708" y="91281"/>
                      </a:lnTo>
                      <a:cubicBezTo>
                        <a:pt x="112580" y="91281"/>
                        <a:pt x="106495" y="97367"/>
                        <a:pt x="106495" y="106495"/>
                      </a:cubicBezTo>
                      <a:cubicBezTo>
                        <a:pt x="106495" y="115623"/>
                        <a:pt x="112580" y="121708"/>
                        <a:pt x="121708" y="121708"/>
                      </a:cubicBezTo>
                      <a:lnTo>
                        <a:pt x="212990" y="121708"/>
                      </a:lnTo>
                      <a:cubicBezTo>
                        <a:pt x="222118" y="121708"/>
                        <a:pt x="228203" y="115623"/>
                        <a:pt x="228203" y="106495"/>
                      </a:cubicBezTo>
                      <a:cubicBezTo>
                        <a:pt x="228203" y="63897"/>
                        <a:pt x="194733" y="30427"/>
                        <a:pt x="152135" y="30427"/>
                      </a:cubicBezTo>
                      <a:lnTo>
                        <a:pt x="114102" y="30427"/>
                      </a:lnTo>
                      <a:cubicBezTo>
                        <a:pt x="91281" y="6085"/>
                        <a:pt x="50205" y="0"/>
                        <a:pt x="30427" y="0"/>
                      </a:cubicBezTo>
                      <a:lnTo>
                        <a:pt x="15214" y="0"/>
                      </a:lnTo>
                      <a:cubicBezTo>
                        <a:pt x="6085" y="0"/>
                        <a:pt x="0" y="6085"/>
                        <a:pt x="0" y="15214"/>
                      </a:cubicBezTo>
                      <a:lnTo>
                        <a:pt x="0" y="121708"/>
                      </a:lnTo>
                      <a:cubicBezTo>
                        <a:pt x="0" y="127794"/>
                        <a:pt x="3043" y="132358"/>
                        <a:pt x="7607" y="135401"/>
                      </a:cubicBezTo>
                      <a:lnTo>
                        <a:pt x="108016" y="185605"/>
                      </a:lnTo>
                      <a:cubicBezTo>
                        <a:pt x="118666" y="190169"/>
                        <a:pt x="130836" y="191691"/>
                        <a:pt x="141486" y="191691"/>
                      </a:cubicBezTo>
                      <a:cubicBezTo>
                        <a:pt x="149093" y="191691"/>
                        <a:pt x="156699" y="190169"/>
                        <a:pt x="164306" y="188648"/>
                      </a:cubicBezTo>
                      <a:lnTo>
                        <a:pt x="339262" y="136922"/>
                      </a:lnTo>
                      <a:cubicBezTo>
                        <a:pt x="343826" y="135401"/>
                        <a:pt x="346869" y="132358"/>
                        <a:pt x="348390" y="129315"/>
                      </a:cubicBezTo>
                      <a:cubicBezTo>
                        <a:pt x="349911" y="124751"/>
                        <a:pt x="349911" y="120187"/>
                        <a:pt x="348390" y="115623"/>
                      </a:cubicBezTo>
                      <a:close/>
                    </a:path>
                  </a:pathLst>
                </a:custGeom>
                <a:grpFill/>
                <a:ln w="15081" cap="flat">
                  <a:noFill/>
                  <a:prstDash val="solid"/>
                  <a:miter/>
                </a:ln>
              </p:spPr>
              <p:txBody>
                <a:bodyPr rtlCol="0" anchor="ctr"/>
                <a:lstStyle/>
                <a:p>
                  <a:pPr defTabSz="554492"/>
                  <a:endParaRPr lang="en-US" sz="1092" kern="0">
                    <a:solidFill>
                      <a:srgbClr val="202020"/>
                    </a:solidFill>
                    <a:latin typeface="Arial" panose="020B0604020202020204"/>
                  </a:endParaRPr>
                </a:p>
              </p:txBody>
            </p:sp>
          </p:grpSp>
          <p:sp>
            <p:nvSpPr>
              <p:cNvPr id="50" name="Graphic 2434">
                <a:extLst>
                  <a:ext uri="{FF2B5EF4-FFF2-40B4-BE49-F238E27FC236}">
                    <a16:creationId xmlns:a16="http://schemas.microsoft.com/office/drawing/2014/main" id="{E0F315EA-5A1C-CB4D-A835-E3B04517520F}"/>
                  </a:ext>
                </a:extLst>
              </p:cNvPr>
              <p:cNvSpPr/>
              <p:nvPr/>
            </p:nvSpPr>
            <p:spPr>
              <a:xfrm>
                <a:off x="3409724" y="4559543"/>
                <a:ext cx="365125" cy="304270"/>
              </a:xfrm>
              <a:custGeom>
                <a:avLst/>
                <a:gdLst>
                  <a:gd name="connsiteX0" fmla="*/ 304271 w 365125"/>
                  <a:gd name="connsiteY0" fmla="*/ 91281 h 304270"/>
                  <a:gd name="connsiteX1" fmla="*/ 304271 w 365125"/>
                  <a:gd name="connsiteY1" fmla="*/ 15214 h 304270"/>
                  <a:gd name="connsiteX2" fmla="*/ 289057 w 365125"/>
                  <a:gd name="connsiteY2" fmla="*/ 0 h 304270"/>
                  <a:gd name="connsiteX3" fmla="*/ 228203 w 365125"/>
                  <a:gd name="connsiteY3" fmla="*/ 0 h 304270"/>
                  <a:gd name="connsiteX4" fmla="*/ 212990 w 365125"/>
                  <a:gd name="connsiteY4" fmla="*/ 15214 h 304270"/>
                  <a:gd name="connsiteX5" fmla="*/ 182563 w 365125"/>
                  <a:gd name="connsiteY5" fmla="*/ 45641 h 304270"/>
                  <a:gd name="connsiteX6" fmla="*/ 152135 w 365125"/>
                  <a:gd name="connsiteY6" fmla="*/ 15214 h 304270"/>
                  <a:gd name="connsiteX7" fmla="*/ 136922 w 365125"/>
                  <a:gd name="connsiteY7" fmla="*/ 0 h 304270"/>
                  <a:gd name="connsiteX8" fmla="*/ 76068 w 365125"/>
                  <a:gd name="connsiteY8" fmla="*/ 0 h 304270"/>
                  <a:gd name="connsiteX9" fmla="*/ 60854 w 365125"/>
                  <a:gd name="connsiteY9" fmla="*/ 15214 h 304270"/>
                  <a:gd name="connsiteX10" fmla="*/ 60854 w 365125"/>
                  <a:gd name="connsiteY10" fmla="*/ 91281 h 304270"/>
                  <a:gd name="connsiteX11" fmla="*/ 0 w 365125"/>
                  <a:gd name="connsiteY11" fmla="*/ 152135 h 304270"/>
                  <a:gd name="connsiteX12" fmla="*/ 60854 w 365125"/>
                  <a:gd name="connsiteY12" fmla="*/ 212990 h 304270"/>
                  <a:gd name="connsiteX13" fmla="*/ 60854 w 365125"/>
                  <a:gd name="connsiteY13" fmla="*/ 289057 h 304270"/>
                  <a:gd name="connsiteX14" fmla="*/ 76068 w 365125"/>
                  <a:gd name="connsiteY14" fmla="*/ 304271 h 304270"/>
                  <a:gd name="connsiteX15" fmla="*/ 136922 w 365125"/>
                  <a:gd name="connsiteY15" fmla="*/ 304271 h 304270"/>
                  <a:gd name="connsiteX16" fmla="*/ 152135 w 365125"/>
                  <a:gd name="connsiteY16" fmla="*/ 289057 h 304270"/>
                  <a:gd name="connsiteX17" fmla="*/ 182563 w 365125"/>
                  <a:gd name="connsiteY17" fmla="*/ 258630 h 304270"/>
                  <a:gd name="connsiteX18" fmla="*/ 212990 w 365125"/>
                  <a:gd name="connsiteY18" fmla="*/ 289057 h 304270"/>
                  <a:gd name="connsiteX19" fmla="*/ 228203 w 365125"/>
                  <a:gd name="connsiteY19" fmla="*/ 304271 h 304270"/>
                  <a:gd name="connsiteX20" fmla="*/ 289057 w 365125"/>
                  <a:gd name="connsiteY20" fmla="*/ 304271 h 304270"/>
                  <a:gd name="connsiteX21" fmla="*/ 304271 w 365125"/>
                  <a:gd name="connsiteY21" fmla="*/ 289057 h 304270"/>
                  <a:gd name="connsiteX22" fmla="*/ 304271 w 365125"/>
                  <a:gd name="connsiteY22" fmla="*/ 212990 h 304270"/>
                  <a:gd name="connsiteX23" fmla="*/ 365125 w 365125"/>
                  <a:gd name="connsiteY23" fmla="*/ 152135 h 304270"/>
                  <a:gd name="connsiteX24" fmla="*/ 304271 w 365125"/>
                  <a:gd name="connsiteY24" fmla="*/ 91281 h 304270"/>
                  <a:gd name="connsiteX25" fmla="*/ 304271 w 365125"/>
                  <a:gd name="connsiteY25" fmla="*/ 182563 h 304270"/>
                  <a:gd name="connsiteX26" fmla="*/ 293621 w 365125"/>
                  <a:gd name="connsiteY26" fmla="*/ 181041 h 304270"/>
                  <a:gd name="connsiteX27" fmla="*/ 279929 w 365125"/>
                  <a:gd name="connsiteY27" fmla="*/ 182563 h 304270"/>
                  <a:gd name="connsiteX28" fmla="*/ 273844 w 365125"/>
                  <a:gd name="connsiteY28" fmla="*/ 194733 h 304270"/>
                  <a:gd name="connsiteX29" fmla="*/ 273844 w 365125"/>
                  <a:gd name="connsiteY29" fmla="*/ 273844 h 304270"/>
                  <a:gd name="connsiteX30" fmla="*/ 241895 w 365125"/>
                  <a:gd name="connsiteY30" fmla="*/ 273844 h 304270"/>
                  <a:gd name="connsiteX31" fmla="*/ 182563 w 365125"/>
                  <a:gd name="connsiteY31" fmla="*/ 228203 h 304270"/>
                  <a:gd name="connsiteX32" fmla="*/ 123230 w 365125"/>
                  <a:gd name="connsiteY32" fmla="*/ 273844 h 304270"/>
                  <a:gd name="connsiteX33" fmla="*/ 91281 w 365125"/>
                  <a:gd name="connsiteY33" fmla="*/ 273844 h 304270"/>
                  <a:gd name="connsiteX34" fmla="*/ 91281 w 365125"/>
                  <a:gd name="connsiteY34" fmla="*/ 194733 h 304270"/>
                  <a:gd name="connsiteX35" fmla="*/ 85196 w 365125"/>
                  <a:gd name="connsiteY35" fmla="*/ 182563 h 304270"/>
                  <a:gd name="connsiteX36" fmla="*/ 71504 w 365125"/>
                  <a:gd name="connsiteY36" fmla="*/ 181041 h 304270"/>
                  <a:gd name="connsiteX37" fmla="*/ 60854 w 365125"/>
                  <a:gd name="connsiteY37" fmla="*/ 182563 h 304270"/>
                  <a:gd name="connsiteX38" fmla="*/ 30427 w 365125"/>
                  <a:gd name="connsiteY38" fmla="*/ 152135 h 304270"/>
                  <a:gd name="connsiteX39" fmla="*/ 60854 w 365125"/>
                  <a:gd name="connsiteY39" fmla="*/ 121708 h 304270"/>
                  <a:gd name="connsiteX40" fmla="*/ 71504 w 365125"/>
                  <a:gd name="connsiteY40" fmla="*/ 123230 h 304270"/>
                  <a:gd name="connsiteX41" fmla="*/ 85196 w 365125"/>
                  <a:gd name="connsiteY41" fmla="*/ 121708 h 304270"/>
                  <a:gd name="connsiteX42" fmla="*/ 91281 w 365125"/>
                  <a:gd name="connsiteY42" fmla="*/ 109538 h 304270"/>
                  <a:gd name="connsiteX43" fmla="*/ 91281 w 365125"/>
                  <a:gd name="connsiteY43" fmla="*/ 30427 h 304270"/>
                  <a:gd name="connsiteX44" fmla="*/ 123230 w 365125"/>
                  <a:gd name="connsiteY44" fmla="*/ 30427 h 304270"/>
                  <a:gd name="connsiteX45" fmla="*/ 182563 w 365125"/>
                  <a:gd name="connsiteY45" fmla="*/ 76068 h 304270"/>
                  <a:gd name="connsiteX46" fmla="*/ 241895 w 365125"/>
                  <a:gd name="connsiteY46" fmla="*/ 30427 h 304270"/>
                  <a:gd name="connsiteX47" fmla="*/ 273844 w 365125"/>
                  <a:gd name="connsiteY47" fmla="*/ 30427 h 304270"/>
                  <a:gd name="connsiteX48" fmla="*/ 273844 w 365125"/>
                  <a:gd name="connsiteY48" fmla="*/ 109538 h 304270"/>
                  <a:gd name="connsiteX49" fmla="*/ 279929 w 365125"/>
                  <a:gd name="connsiteY49" fmla="*/ 121708 h 304270"/>
                  <a:gd name="connsiteX50" fmla="*/ 293621 w 365125"/>
                  <a:gd name="connsiteY50" fmla="*/ 123230 h 304270"/>
                  <a:gd name="connsiteX51" fmla="*/ 304271 w 365125"/>
                  <a:gd name="connsiteY51" fmla="*/ 121708 h 304270"/>
                  <a:gd name="connsiteX52" fmla="*/ 334698 w 365125"/>
                  <a:gd name="connsiteY52" fmla="*/ 152135 h 304270"/>
                  <a:gd name="connsiteX53" fmla="*/ 304271 w 365125"/>
                  <a:gd name="connsiteY53" fmla="*/ 182563 h 304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65125" h="304270">
                    <a:moveTo>
                      <a:pt x="304271" y="91281"/>
                    </a:moveTo>
                    <a:lnTo>
                      <a:pt x="304271" y="15214"/>
                    </a:lnTo>
                    <a:cubicBezTo>
                      <a:pt x="304271" y="6085"/>
                      <a:pt x="298185" y="0"/>
                      <a:pt x="289057" y="0"/>
                    </a:cubicBezTo>
                    <a:lnTo>
                      <a:pt x="228203" y="0"/>
                    </a:lnTo>
                    <a:cubicBezTo>
                      <a:pt x="219075" y="0"/>
                      <a:pt x="212990" y="6085"/>
                      <a:pt x="212990" y="15214"/>
                    </a:cubicBezTo>
                    <a:cubicBezTo>
                      <a:pt x="212990" y="31948"/>
                      <a:pt x="199297" y="45641"/>
                      <a:pt x="182563" y="45641"/>
                    </a:cubicBezTo>
                    <a:cubicBezTo>
                      <a:pt x="165828" y="45641"/>
                      <a:pt x="152135" y="31948"/>
                      <a:pt x="152135" y="15214"/>
                    </a:cubicBezTo>
                    <a:cubicBezTo>
                      <a:pt x="152135" y="6085"/>
                      <a:pt x="146050" y="0"/>
                      <a:pt x="136922" y="0"/>
                    </a:cubicBezTo>
                    <a:lnTo>
                      <a:pt x="76068" y="0"/>
                    </a:lnTo>
                    <a:cubicBezTo>
                      <a:pt x="66940" y="0"/>
                      <a:pt x="60854" y="6085"/>
                      <a:pt x="60854" y="15214"/>
                    </a:cubicBezTo>
                    <a:lnTo>
                      <a:pt x="60854" y="91281"/>
                    </a:lnTo>
                    <a:cubicBezTo>
                      <a:pt x="27384" y="91281"/>
                      <a:pt x="0" y="118666"/>
                      <a:pt x="0" y="152135"/>
                    </a:cubicBezTo>
                    <a:cubicBezTo>
                      <a:pt x="0" y="185605"/>
                      <a:pt x="27384" y="212990"/>
                      <a:pt x="60854" y="212990"/>
                    </a:cubicBezTo>
                    <a:lnTo>
                      <a:pt x="60854" y="289057"/>
                    </a:lnTo>
                    <a:cubicBezTo>
                      <a:pt x="60854" y="298185"/>
                      <a:pt x="66940" y="304271"/>
                      <a:pt x="76068" y="304271"/>
                    </a:cubicBezTo>
                    <a:lnTo>
                      <a:pt x="136922" y="304271"/>
                    </a:lnTo>
                    <a:cubicBezTo>
                      <a:pt x="146050" y="304271"/>
                      <a:pt x="152135" y="298185"/>
                      <a:pt x="152135" y="289057"/>
                    </a:cubicBezTo>
                    <a:cubicBezTo>
                      <a:pt x="152135" y="272322"/>
                      <a:pt x="165828" y="258630"/>
                      <a:pt x="182563" y="258630"/>
                    </a:cubicBezTo>
                    <a:cubicBezTo>
                      <a:pt x="199297" y="258630"/>
                      <a:pt x="212990" y="272322"/>
                      <a:pt x="212990" y="289057"/>
                    </a:cubicBezTo>
                    <a:cubicBezTo>
                      <a:pt x="212990" y="298185"/>
                      <a:pt x="219075" y="304271"/>
                      <a:pt x="228203" y="304271"/>
                    </a:cubicBezTo>
                    <a:lnTo>
                      <a:pt x="289057" y="304271"/>
                    </a:lnTo>
                    <a:cubicBezTo>
                      <a:pt x="298185" y="304271"/>
                      <a:pt x="304271" y="298185"/>
                      <a:pt x="304271" y="289057"/>
                    </a:cubicBezTo>
                    <a:lnTo>
                      <a:pt x="304271" y="212990"/>
                    </a:lnTo>
                    <a:cubicBezTo>
                      <a:pt x="337741" y="212990"/>
                      <a:pt x="365125" y="185605"/>
                      <a:pt x="365125" y="152135"/>
                    </a:cubicBezTo>
                    <a:cubicBezTo>
                      <a:pt x="365125" y="118666"/>
                      <a:pt x="337741" y="91281"/>
                      <a:pt x="304271" y="91281"/>
                    </a:cubicBezTo>
                    <a:close/>
                    <a:moveTo>
                      <a:pt x="304271" y="182563"/>
                    </a:moveTo>
                    <a:cubicBezTo>
                      <a:pt x="301228" y="182563"/>
                      <a:pt x="298185" y="181041"/>
                      <a:pt x="293621" y="181041"/>
                    </a:cubicBezTo>
                    <a:cubicBezTo>
                      <a:pt x="289057" y="179520"/>
                      <a:pt x="284493" y="179520"/>
                      <a:pt x="279929" y="182563"/>
                    </a:cubicBezTo>
                    <a:cubicBezTo>
                      <a:pt x="275365" y="185605"/>
                      <a:pt x="273844" y="190169"/>
                      <a:pt x="273844" y="194733"/>
                    </a:cubicBezTo>
                    <a:lnTo>
                      <a:pt x="273844" y="273844"/>
                    </a:lnTo>
                    <a:lnTo>
                      <a:pt x="241895" y="273844"/>
                    </a:lnTo>
                    <a:cubicBezTo>
                      <a:pt x="235810" y="247981"/>
                      <a:pt x="211468" y="228203"/>
                      <a:pt x="182563" y="228203"/>
                    </a:cubicBezTo>
                    <a:cubicBezTo>
                      <a:pt x="153657" y="228203"/>
                      <a:pt x="130836" y="247981"/>
                      <a:pt x="123230" y="273844"/>
                    </a:cubicBezTo>
                    <a:lnTo>
                      <a:pt x="91281" y="273844"/>
                    </a:lnTo>
                    <a:lnTo>
                      <a:pt x="91281" y="194733"/>
                    </a:lnTo>
                    <a:cubicBezTo>
                      <a:pt x="91281" y="190169"/>
                      <a:pt x="88239" y="185605"/>
                      <a:pt x="85196" y="182563"/>
                    </a:cubicBezTo>
                    <a:cubicBezTo>
                      <a:pt x="80632" y="179520"/>
                      <a:pt x="76068" y="179520"/>
                      <a:pt x="71504" y="181041"/>
                    </a:cubicBezTo>
                    <a:cubicBezTo>
                      <a:pt x="66940" y="181041"/>
                      <a:pt x="63897" y="182563"/>
                      <a:pt x="60854" y="182563"/>
                    </a:cubicBezTo>
                    <a:cubicBezTo>
                      <a:pt x="44119" y="182563"/>
                      <a:pt x="30427" y="168870"/>
                      <a:pt x="30427" y="152135"/>
                    </a:cubicBezTo>
                    <a:cubicBezTo>
                      <a:pt x="30427" y="135401"/>
                      <a:pt x="44119" y="121708"/>
                      <a:pt x="60854" y="121708"/>
                    </a:cubicBezTo>
                    <a:cubicBezTo>
                      <a:pt x="63897" y="121708"/>
                      <a:pt x="66940" y="123230"/>
                      <a:pt x="71504" y="123230"/>
                    </a:cubicBezTo>
                    <a:cubicBezTo>
                      <a:pt x="76068" y="124751"/>
                      <a:pt x="80632" y="124751"/>
                      <a:pt x="85196" y="121708"/>
                    </a:cubicBezTo>
                    <a:cubicBezTo>
                      <a:pt x="88239" y="118666"/>
                      <a:pt x="91281" y="114102"/>
                      <a:pt x="91281" y="109538"/>
                    </a:cubicBezTo>
                    <a:lnTo>
                      <a:pt x="91281" y="30427"/>
                    </a:lnTo>
                    <a:lnTo>
                      <a:pt x="123230" y="30427"/>
                    </a:lnTo>
                    <a:cubicBezTo>
                      <a:pt x="129315" y="56290"/>
                      <a:pt x="153657" y="76068"/>
                      <a:pt x="182563" y="76068"/>
                    </a:cubicBezTo>
                    <a:cubicBezTo>
                      <a:pt x="211468" y="76068"/>
                      <a:pt x="234289" y="56290"/>
                      <a:pt x="241895" y="30427"/>
                    </a:cubicBezTo>
                    <a:lnTo>
                      <a:pt x="273844" y="30427"/>
                    </a:lnTo>
                    <a:lnTo>
                      <a:pt x="273844" y="109538"/>
                    </a:lnTo>
                    <a:cubicBezTo>
                      <a:pt x="273844" y="114102"/>
                      <a:pt x="276886" y="118666"/>
                      <a:pt x="279929" y="121708"/>
                    </a:cubicBezTo>
                    <a:cubicBezTo>
                      <a:pt x="284493" y="124751"/>
                      <a:pt x="289057" y="124751"/>
                      <a:pt x="293621" y="123230"/>
                    </a:cubicBezTo>
                    <a:cubicBezTo>
                      <a:pt x="298185" y="121708"/>
                      <a:pt x="299707" y="121708"/>
                      <a:pt x="304271" y="121708"/>
                    </a:cubicBezTo>
                    <a:cubicBezTo>
                      <a:pt x="321006" y="121708"/>
                      <a:pt x="334698" y="135401"/>
                      <a:pt x="334698" y="152135"/>
                    </a:cubicBezTo>
                    <a:cubicBezTo>
                      <a:pt x="334698" y="168870"/>
                      <a:pt x="321006" y="182563"/>
                      <a:pt x="304271" y="182563"/>
                    </a:cubicBezTo>
                    <a:close/>
                  </a:path>
                </a:pathLst>
              </a:custGeom>
              <a:solidFill>
                <a:srgbClr val="FFFFFF"/>
              </a:solidFill>
              <a:ln w="15081" cap="flat">
                <a:noFill/>
                <a:prstDash val="solid"/>
                <a:miter/>
              </a:ln>
            </p:spPr>
            <p:txBody>
              <a:bodyPr rtlCol="0" anchor="ctr"/>
              <a:lstStyle/>
              <a:p>
                <a:pPr defTabSz="554492"/>
                <a:endParaRPr lang="en-US" sz="1092" kern="0">
                  <a:solidFill>
                    <a:srgbClr val="202020"/>
                  </a:solidFill>
                  <a:latin typeface="Arial" panose="020B0604020202020204"/>
                </a:endParaRPr>
              </a:p>
            </p:txBody>
          </p:sp>
          <p:sp>
            <p:nvSpPr>
              <p:cNvPr id="51" name="Rectangle 60"/>
              <p:cNvSpPr/>
              <p:nvPr/>
            </p:nvSpPr>
            <p:spPr>
              <a:xfrm>
                <a:off x="1999361" y="4090461"/>
                <a:ext cx="297691" cy="289769"/>
              </a:xfrm>
              <a:prstGeom prst="rect">
                <a:avLst/>
              </a:prstGeom>
            </p:spPr>
            <p:txBody>
              <a:bodyPr wrap="none">
                <a:spAutoFit/>
              </a:bodyPr>
              <a:lstStyle/>
              <a:p>
                <a:pPr defTabSz="554492"/>
                <a:r>
                  <a:rPr lang="en-PH" sz="1092" b="1" kern="0" dirty="0">
                    <a:solidFill>
                      <a:srgbClr val="FFFFFF"/>
                    </a:solidFill>
                    <a:latin typeface="Arial" panose="020B0604020202020204"/>
                  </a:rPr>
                  <a:t>1</a:t>
                </a:r>
                <a:endParaRPr lang="en-GB" sz="1092" b="1" kern="0" dirty="0">
                  <a:solidFill>
                    <a:srgbClr val="FFFFFF"/>
                  </a:solidFill>
                  <a:latin typeface="Arial" panose="020B0604020202020204"/>
                </a:endParaRPr>
              </a:p>
            </p:txBody>
          </p:sp>
          <p:sp>
            <p:nvSpPr>
              <p:cNvPr id="52" name="Rectangle 61"/>
              <p:cNvSpPr/>
              <p:nvPr/>
            </p:nvSpPr>
            <p:spPr>
              <a:xfrm>
                <a:off x="3355710" y="3830881"/>
                <a:ext cx="297691" cy="289769"/>
              </a:xfrm>
              <a:prstGeom prst="rect">
                <a:avLst/>
              </a:prstGeom>
            </p:spPr>
            <p:txBody>
              <a:bodyPr wrap="none">
                <a:spAutoFit/>
              </a:bodyPr>
              <a:lstStyle/>
              <a:p>
                <a:pPr defTabSz="554492"/>
                <a:r>
                  <a:rPr lang="en-PH" sz="1092" b="1" kern="0" dirty="0">
                    <a:solidFill>
                      <a:srgbClr val="FFFFFF"/>
                    </a:solidFill>
                    <a:latin typeface="Arial" panose="020B0604020202020204"/>
                  </a:rPr>
                  <a:t>2</a:t>
                </a:r>
                <a:endParaRPr lang="en-GB" sz="1092" b="1" kern="0" dirty="0">
                  <a:solidFill>
                    <a:srgbClr val="FFFFFF"/>
                  </a:solidFill>
                  <a:latin typeface="Arial" panose="020B0604020202020204"/>
                </a:endParaRPr>
              </a:p>
            </p:txBody>
          </p:sp>
          <p:sp>
            <p:nvSpPr>
              <p:cNvPr id="53" name="Rectangle 62"/>
              <p:cNvSpPr/>
              <p:nvPr/>
            </p:nvSpPr>
            <p:spPr>
              <a:xfrm>
                <a:off x="4471750" y="3495608"/>
                <a:ext cx="297691" cy="289769"/>
              </a:xfrm>
              <a:prstGeom prst="rect">
                <a:avLst/>
              </a:prstGeom>
            </p:spPr>
            <p:txBody>
              <a:bodyPr wrap="none">
                <a:spAutoFit/>
              </a:bodyPr>
              <a:lstStyle/>
              <a:p>
                <a:pPr defTabSz="554492"/>
                <a:r>
                  <a:rPr lang="en-PH" sz="1092" b="1" kern="0" dirty="0">
                    <a:solidFill>
                      <a:srgbClr val="FFFFFF"/>
                    </a:solidFill>
                    <a:latin typeface="Arial" panose="020B0604020202020204"/>
                  </a:rPr>
                  <a:t>3</a:t>
                </a:r>
                <a:endParaRPr lang="en-GB" sz="1092" b="1" kern="0" dirty="0">
                  <a:solidFill>
                    <a:srgbClr val="FFFFFF"/>
                  </a:solidFill>
                  <a:latin typeface="Arial" panose="020B0604020202020204"/>
                </a:endParaRPr>
              </a:p>
            </p:txBody>
          </p:sp>
          <p:sp>
            <p:nvSpPr>
              <p:cNvPr id="55" name="Rectangle 63"/>
              <p:cNvSpPr/>
              <p:nvPr/>
            </p:nvSpPr>
            <p:spPr>
              <a:xfrm>
                <a:off x="5086495" y="3044101"/>
                <a:ext cx="297691" cy="289769"/>
              </a:xfrm>
              <a:prstGeom prst="rect">
                <a:avLst/>
              </a:prstGeom>
            </p:spPr>
            <p:txBody>
              <a:bodyPr wrap="none">
                <a:spAutoFit/>
              </a:bodyPr>
              <a:lstStyle/>
              <a:p>
                <a:pPr defTabSz="554492"/>
                <a:r>
                  <a:rPr lang="en-PH" sz="1092" b="1" kern="0" dirty="0">
                    <a:solidFill>
                      <a:srgbClr val="FFFFFF"/>
                    </a:solidFill>
                    <a:latin typeface="Arial" panose="020B0604020202020204"/>
                  </a:rPr>
                  <a:t>4</a:t>
                </a:r>
                <a:endParaRPr lang="en-GB" sz="1092" b="1" kern="0" dirty="0">
                  <a:solidFill>
                    <a:srgbClr val="FFFFFF"/>
                  </a:solidFill>
                  <a:latin typeface="Arial" panose="020B0604020202020204"/>
                </a:endParaRPr>
              </a:p>
            </p:txBody>
          </p:sp>
          <p:sp>
            <p:nvSpPr>
              <p:cNvPr id="57" name="Rectangle 64"/>
              <p:cNvSpPr/>
              <p:nvPr/>
            </p:nvSpPr>
            <p:spPr>
              <a:xfrm>
                <a:off x="5830838" y="4266301"/>
                <a:ext cx="297691" cy="289769"/>
              </a:xfrm>
              <a:prstGeom prst="rect">
                <a:avLst/>
              </a:prstGeom>
            </p:spPr>
            <p:txBody>
              <a:bodyPr wrap="none">
                <a:spAutoFit/>
              </a:bodyPr>
              <a:lstStyle/>
              <a:p>
                <a:pPr defTabSz="554492"/>
                <a:r>
                  <a:rPr lang="en-PH" sz="1092" b="1" kern="0" dirty="0">
                    <a:solidFill>
                      <a:srgbClr val="FFFFFF"/>
                    </a:solidFill>
                    <a:latin typeface="Arial" panose="020B0604020202020204"/>
                  </a:rPr>
                  <a:t>5</a:t>
                </a:r>
                <a:endParaRPr lang="en-GB" sz="1092" b="1" kern="0" dirty="0">
                  <a:solidFill>
                    <a:srgbClr val="FFFFFF"/>
                  </a:solidFill>
                  <a:latin typeface="Arial" panose="020B0604020202020204"/>
                </a:endParaRPr>
              </a:p>
            </p:txBody>
          </p:sp>
          <p:sp>
            <p:nvSpPr>
              <p:cNvPr id="58" name="Graphic 2022">
                <a:extLst>
                  <a:ext uri="{FF2B5EF4-FFF2-40B4-BE49-F238E27FC236}">
                    <a16:creationId xmlns:a16="http://schemas.microsoft.com/office/drawing/2014/main" id="{66D93706-A268-084E-8BBE-6B89BF7C2FC1}"/>
                  </a:ext>
                </a:extLst>
              </p:cNvPr>
              <p:cNvSpPr/>
              <p:nvPr/>
            </p:nvSpPr>
            <p:spPr>
              <a:xfrm>
                <a:off x="3946163" y="5216792"/>
                <a:ext cx="487832" cy="561009"/>
              </a:xfrm>
              <a:custGeom>
                <a:avLst/>
                <a:gdLst>
                  <a:gd name="connsiteX0" fmla="*/ 299707 w 304270"/>
                  <a:gd name="connsiteY0" fmla="*/ 126272 h 349911"/>
                  <a:gd name="connsiteX1" fmla="*/ 254066 w 304270"/>
                  <a:gd name="connsiteY1" fmla="*/ 80632 h 349911"/>
                  <a:gd name="connsiteX2" fmla="*/ 249502 w 304270"/>
                  <a:gd name="connsiteY2" fmla="*/ 77589 h 349911"/>
                  <a:gd name="connsiteX3" fmla="*/ 237331 w 304270"/>
                  <a:gd name="connsiteY3" fmla="*/ 77589 h 349911"/>
                  <a:gd name="connsiteX4" fmla="*/ 232767 w 304270"/>
                  <a:gd name="connsiteY4" fmla="*/ 80632 h 349911"/>
                  <a:gd name="connsiteX5" fmla="*/ 187127 w 304270"/>
                  <a:gd name="connsiteY5" fmla="*/ 126272 h 349911"/>
                  <a:gd name="connsiteX6" fmla="*/ 187127 w 304270"/>
                  <a:gd name="connsiteY6" fmla="*/ 147571 h 349911"/>
                  <a:gd name="connsiteX7" fmla="*/ 208426 w 304270"/>
                  <a:gd name="connsiteY7" fmla="*/ 147571 h 349911"/>
                  <a:gd name="connsiteX8" fmla="*/ 228203 w 304270"/>
                  <a:gd name="connsiteY8" fmla="*/ 127794 h 349911"/>
                  <a:gd name="connsiteX9" fmla="*/ 228203 w 304270"/>
                  <a:gd name="connsiteY9" fmla="*/ 219075 h 349911"/>
                  <a:gd name="connsiteX10" fmla="*/ 167349 w 304270"/>
                  <a:gd name="connsiteY10" fmla="*/ 249502 h 349911"/>
                  <a:gd name="connsiteX11" fmla="*/ 167349 w 304270"/>
                  <a:gd name="connsiteY11" fmla="*/ 51726 h 349911"/>
                  <a:gd name="connsiteX12" fmla="*/ 187127 w 304270"/>
                  <a:gd name="connsiteY12" fmla="*/ 71504 h 349911"/>
                  <a:gd name="connsiteX13" fmla="*/ 208426 w 304270"/>
                  <a:gd name="connsiteY13" fmla="*/ 71504 h 349911"/>
                  <a:gd name="connsiteX14" fmla="*/ 208426 w 304270"/>
                  <a:gd name="connsiteY14" fmla="*/ 50205 h 349911"/>
                  <a:gd name="connsiteX15" fmla="*/ 162785 w 304270"/>
                  <a:gd name="connsiteY15" fmla="*/ 4564 h 349911"/>
                  <a:gd name="connsiteX16" fmla="*/ 158221 w 304270"/>
                  <a:gd name="connsiteY16" fmla="*/ 1521 h 349911"/>
                  <a:gd name="connsiteX17" fmla="*/ 152135 w 304270"/>
                  <a:gd name="connsiteY17" fmla="*/ 0 h 349911"/>
                  <a:gd name="connsiteX18" fmla="*/ 152135 w 304270"/>
                  <a:gd name="connsiteY18" fmla="*/ 0 h 349911"/>
                  <a:gd name="connsiteX19" fmla="*/ 146050 w 304270"/>
                  <a:gd name="connsiteY19" fmla="*/ 1521 h 349911"/>
                  <a:gd name="connsiteX20" fmla="*/ 141486 w 304270"/>
                  <a:gd name="connsiteY20" fmla="*/ 4564 h 349911"/>
                  <a:gd name="connsiteX21" fmla="*/ 95845 w 304270"/>
                  <a:gd name="connsiteY21" fmla="*/ 50205 h 349911"/>
                  <a:gd name="connsiteX22" fmla="*/ 95845 w 304270"/>
                  <a:gd name="connsiteY22" fmla="*/ 71504 h 349911"/>
                  <a:gd name="connsiteX23" fmla="*/ 117144 w 304270"/>
                  <a:gd name="connsiteY23" fmla="*/ 71504 h 349911"/>
                  <a:gd name="connsiteX24" fmla="*/ 136922 w 304270"/>
                  <a:gd name="connsiteY24" fmla="*/ 51726 h 349911"/>
                  <a:gd name="connsiteX25" fmla="*/ 136922 w 304270"/>
                  <a:gd name="connsiteY25" fmla="*/ 279929 h 349911"/>
                  <a:gd name="connsiteX26" fmla="*/ 76068 w 304270"/>
                  <a:gd name="connsiteY26" fmla="*/ 249502 h 349911"/>
                  <a:gd name="connsiteX27" fmla="*/ 76068 w 304270"/>
                  <a:gd name="connsiteY27" fmla="*/ 173434 h 349911"/>
                  <a:gd name="connsiteX28" fmla="*/ 95845 w 304270"/>
                  <a:gd name="connsiteY28" fmla="*/ 193212 h 349911"/>
                  <a:gd name="connsiteX29" fmla="*/ 106495 w 304270"/>
                  <a:gd name="connsiteY29" fmla="*/ 197776 h 349911"/>
                  <a:gd name="connsiteX30" fmla="*/ 117144 w 304270"/>
                  <a:gd name="connsiteY30" fmla="*/ 193212 h 349911"/>
                  <a:gd name="connsiteX31" fmla="*/ 117144 w 304270"/>
                  <a:gd name="connsiteY31" fmla="*/ 171913 h 349911"/>
                  <a:gd name="connsiteX32" fmla="*/ 71504 w 304270"/>
                  <a:gd name="connsiteY32" fmla="*/ 126272 h 349911"/>
                  <a:gd name="connsiteX33" fmla="*/ 66940 w 304270"/>
                  <a:gd name="connsiteY33" fmla="*/ 123230 h 349911"/>
                  <a:gd name="connsiteX34" fmla="*/ 54769 w 304270"/>
                  <a:gd name="connsiteY34" fmla="*/ 123230 h 349911"/>
                  <a:gd name="connsiteX35" fmla="*/ 50205 w 304270"/>
                  <a:gd name="connsiteY35" fmla="*/ 126272 h 349911"/>
                  <a:gd name="connsiteX36" fmla="*/ 4564 w 304270"/>
                  <a:gd name="connsiteY36" fmla="*/ 171913 h 349911"/>
                  <a:gd name="connsiteX37" fmla="*/ 4564 w 304270"/>
                  <a:gd name="connsiteY37" fmla="*/ 193212 h 349911"/>
                  <a:gd name="connsiteX38" fmla="*/ 25863 w 304270"/>
                  <a:gd name="connsiteY38" fmla="*/ 193212 h 349911"/>
                  <a:gd name="connsiteX39" fmla="*/ 45641 w 304270"/>
                  <a:gd name="connsiteY39" fmla="*/ 173434 h 349911"/>
                  <a:gd name="connsiteX40" fmla="*/ 45641 w 304270"/>
                  <a:gd name="connsiteY40" fmla="*/ 258630 h 349911"/>
                  <a:gd name="connsiteX41" fmla="*/ 54769 w 304270"/>
                  <a:gd name="connsiteY41" fmla="*/ 272322 h 349911"/>
                  <a:gd name="connsiteX42" fmla="*/ 136922 w 304270"/>
                  <a:gd name="connsiteY42" fmla="*/ 313399 h 349911"/>
                  <a:gd name="connsiteX43" fmla="*/ 136922 w 304270"/>
                  <a:gd name="connsiteY43" fmla="*/ 334698 h 349911"/>
                  <a:gd name="connsiteX44" fmla="*/ 152135 w 304270"/>
                  <a:gd name="connsiteY44" fmla="*/ 349911 h 349911"/>
                  <a:gd name="connsiteX45" fmla="*/ 167349 w 304270"/>
                  <a:gd name="connsiteY45" fmla="*/ 334698 h 349911"/>
                  <a:gd name="connsiteX46" fmla="*/ 167349 w 304270"/>
                  <a:gd name="connsiteY46" fmla="*/ 282972 h 349911"/>
                  <a:gd name="connsiteX47" fmla="*/ 249502 w 304270"/>
                  <a:gd name="connsiteY47" fmla="*/ 241895 h 349911"/>
                  <a:gd name="connsiteX48" fmla="*/ 258630 w 304270"/>
                  <a:gd name="connsiteY48" fmla="*/ 228203 h 349911"/>
                  <a:gd name="connsiteX49" fmla="*/ 258630 w 304270"/>
                  <a:gd name="connsiteY49" fmla="*/ 127794 h 349911"/>
                  <a:gd name="connsiteX50" fmla="*/ 278408 w 304270"/>
                  <a:gd name="connsiteY50" fmla="*/ 147571 h 349911"/>
                  <a:gd name="connsiteX51" fmla="*/ 289057 w 304270"/>
                  <a:gd name="connsiteY51" fmla="*/ 152135 h 349911"/>
                  <a:gd name="connsiteX52" fmla="*/ 299707 w 304270"/>
                  <a:gd name="connsiteY52" fmla="*/ 147571 h 349911"/>
                  <a:gd name="connsiteX53" fmla="*/ 299707 w 304270"/>
                  <a:gd name="connsiteY53" fmla="*/ 126272 h 349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04270" h="349911">
                    <a:moveTo>
                      <a:pt x="299707" y="126272"/>
                    </a:moveTo>
                    <a:lnTo>
                      <a:pt x="254066" y="80632"/>
                    </a:lnTo>
                    <a:cubicBezTo>
                      <a:pt x="252545" y="79110"/>
                      <a:pt x="251023" y="77589"/>
                      <a:pt x="249502" y="77589"/>
                    </a:cubicBezTo>
                    <a:cubicBezTo>
                      <a:pt x="246459" y="76068"/>
                      <a:pt x="241895" y="76068"/>
                      <a:pt x="237331" y="77589"/>
                    </a:cubicBezTo>
                    <a:cubicBezTo>
                      <a:pt x="235810" y="79110"/>
                      <a:pt x="234289" y="79110"/>
                      <a:pt x="232767" y="80632"/>
                    </a:cubicBezTo>
                    <a:lnTo>
                      <a:pt x="187127" y="126272"/>
                    </a:lnTo>
                    <a:cubicBezTo>
                      <a:pt x="181041" y="132358"/>
                      <a:pt x="181041" y="141486"/>
                      <a:pt x="187127" y="147571"/>
                    </a:cubicBezTo>
                    <a:cubicBezTo>
                      <a:pt x="193212" y="153657"/>
                      <a:pt x="202340" y="153657"/>
                      <a:pt x="208426" y="147571"/>
                    </a:cubicBezTo>
                    <a:lnTo>
                      <a:pt x="228203" y="127794"/>
                    </a:lnTo>
                    <a:lnTo>
                      <a:pt x="228203" y="219075"/>
                    </a:lnTo>
                    <a:lnTo>
                      <a:pt x="167349" y="249502"/>
                    </a:lnTo>
                    <a:lnTo>
                      <a:pt x="167349" y="51726"/>
                    </a:lnTo>
                    <a:lnTo>
                      <a:pt x="187127" y="71504"/>
                    </a:lnTo>
                    <a:cubicBezTo>
                      <a:pt x="193212" y="77589"/>
                      <a:pt x="202340" y="77589"/>
                      <a:pt x="208426" y="71504"/>
                    </a:cubicBezTo>
                    <a:cubicBezTo>
                      <a:pt x="214511" y="65418"/>
                      <a:pt x="214511" y="56290"/>
                      <a:pt x="208426" y="50205"/>
                    </a:cubicBezTo>
                    <a:lnTo>
                      <a:pt x="162785" y="4564"/>
                    </a:lnTo>
                    <a:cubicBezTo>
                      <a:pt x="161264" y="3043"/>
                      <a:pt x="159742" y="1521"/>
                      <a:pt x="158221" y="1521"/>
                    </a:cubicBezTo>
                    <a:cubicBezTo>
                      <a:pt x="156699" y="0"/>
                      <a:pt x="153657" y="0"/>
                      <a:pt x="152135" y="0"/>
                    </a:cubicBezTo>
                    <a:cubicBezTo>
                      <a:pt x="152135" y="0"/>
                      <a:pt x="152135" y="0"/>
                      <a:pt x="152135" y="0"/>
                    </a:cubicBezTo>
                    <a:cubicBezTo>
                      <a:pt x="150614" y="0"/>
                      <a:pt x="147571" y="0"/>
                      <a:pt x="146050" y="1521"/>
                    </a:cubicBezTo>
                    <a:cubicBezTo>
                      <a:pt x="144529" y="1521"/>
                      <a:pt x="143007" y="3043"/>
                      <a:pt x="141486" y="4564"/>
                    </a:cubicBezTo>
                    <a:lnTo>
                      <a:pt x="95845" y="50205"/>
                    </a:lnTo>
                    <a:cubicBezTo>
                      <a:pt x="89760" y="56290"/>
                      <a:pt x="89760" y="65418"/>
                      <a:pt x="95845" y="71504"/>
                    </a:cubicBezTo>
                    <a:cubicBezTo>
                      <a:pt x="101931" y="77589"/>
                      <a:pt x="111059" y="77589"/>
                      <a:pt x="117144" y="71504"/>
                    </a:cubicBezTo>
                    <a:lnTo>
                      <a:pt x="136922" y="51726"/>
                    </a:lnTo>
                    <a:lnTo>
                      <a:pt x="136922" y="279929"/>
                    </a:lnTo>
                    <a:lnTo>
                      <a:pt x="76068" y="249502"/>
                    </a:lnTo>
                    <a:lnTo>
                      <a:pt x="76068" y="173434"/>
                    </a:lnTo>
                    <a:lnTo>
                      <a:pt x="95845" y="193212"/>
                    </a:lnTo>
                    <a:cubicBezTo>
                      <a:pt x="98888" y="196255"/>
                      <a:pt x="101931" y="197776"/>
                      <a:pt x="106495" y="197776"/>
                    </a:cubicBezTo>
                    <a:cubicBezTo>
                      <a:pt x="111059" y="197776"/>
                      <a:pt x="114102" y="196255"/>
                      <a:pt x="117144" y="193212"/>
                    </a:cubicBezTo>
                    <a:cubicBezTo>
                      <a:pt x="123230" y="187127"/>
                      <a:pt x="123230" y="177998"/>
                      <a:pt x="117144" y="171913"/>
                    </a:cubicBezTo>
                    <a:lnTo>
                      <a:pt x="71504" y="126272"/>
                    </a:lnTo>
                    <a:cubicBezTo>
                      <a:pt x="69982" y="124751"/>
                      <a:pt x="68461" y="123230"/>
                      <a:pt x="66940" y="123230"/>
                    </a:cubicBezTo>
                    <a:cubicBezTo>
                      <a:pt x="62376" y="121708"/>
                      <a:pt x="59333" y="121708"/>
                      <a:pt x="54769" y="123230"/>
                    </a:cubicBezTo>
                    <a:cubicBezTo>
                      <a:pt x="53247" y="123230"/>
                      <a:pt x="51726" y="124751"/>
                      <a:pt x="50205" y="126272"/>
                    </a:cubicBezTo>
                    <a:lnTo>
                      <a:pt x="4564" y="171913"/>
                    </a:lnTo>
                    <a:cubicBezTo>
                      <a:pt x="-1521" y="177998"/>
                      <a:pt x="-1521" y="187127"/>
                      <a:pt x="4564" y="193212"/>
                    </a:cubicBezTo>
                    <a:cubicBezTo>
                      <a:pt x="10649" y="199297"/>
                      <a:pt x="19778" y="199297"/>
                      <a:pt x="25863" y="193212"/>
                    </a:cubicBezTo>
                    <a:lnTo>
                      <a:pt x="45641" y="173434"/>
                    </a:lnTo>
                    <a:lnTo>
                      <a:pt x="45641" y="258630"/>
                    </a:lnTo>
                    <a:cubicBezTo>
                      <a:pt x="45641" y="264716"/>
                      <a:pt x="48683" y="269280"/>
                      <a:pt x="54769" y="272322"/>
                    </a:cubicBezTo>
                    <a:lnTo>
                      <a:pt x="136922" y="313399"/>
                    </a:lnTo>
                    <a:lnTo>
                      <a:pt x="136922" y="334698"/>
                    </a:lnTo>
                    <a:cubicBezTo>
                      <a:pt x="136922" y="343826"/>
                      <a:pt x="143007" y="349911"/>
                      <a:pt x="152135" y="349911"/>
                    </a:cubicBezTo>
                    <a:cubicBezTo>
                      <a:pt x="161264" y="349911"/>
                      <a:pt x="167349" y="343826"/>
                      <a:pt x="167349" y="334698"/>
                    </a:cubicBezTo>
                    <a:lnTo>
                      <a:pt x="167349" y="282972"/>
                    </a:lnTo>
                    <a:lnTo>
                      <a:pt x="249502" y="241895"/>
                    </a:lnTo>
                    <a:cubicBezTo>
                      <a:pt x="254066" y="238853"/>
                      <a:pt x="258630" y="234289"/>
                      <a:pt x="258630" y="228203"/>
                    </a:cubicBezTo>
                    <a:lnTo>
                      <a:pt x="258630" y="127794"/>
                    </a:lnTo>
                    <a:lnTo>
                      <a:pt x="278408" y="147571"/>
                    </a:lnTo>
                    <a:cubicBezTo>
                      <a:pt x="281451" y="150614"/>
                      <a:pt x="286015" y="152135"/>
                      <a:pt x="289057" y="152135"/>
                    </a:cubicBezTo>
                    <a:cubicBezTo>
                      <a:pt x="292100" y="152135"/>
                      <a:pt x="296664" y="150614"/>
                      <a:pt x="299707" y="147571"/>
                    </a:cubicBezTo>
                    <a:cubicBezTo>
                      <a:pt x="305792" y="141486"/>
                      <a:pt x="305792" y="132358"/>
                      <a:pt x="299707" y="126272"/>
                    </a:cubicBezTo>
                    <a:close/>
                  </a:path>
                </a:pathLst>
              </a:custGeom>
              <a:solidFill>
                <a:srgbClr val="002C77"/>
              </a:solidFill>
              <a:ln w="15081" cap="flat">
                <a:noFill/>
                <a:prstDash val="solid"/>
                <a:miter/>
              </a:ln>
            </p:spPr>
            <p:txBody>
              <a:bodyPr rtlCol="0" anchor="ctr"/>
              <a:lstStyle/>
              <a:p>
                <a:pPr defTabSz="554492"/>
                <a:endParaRPr lang="en-US" sz="1092" kern="0">
                  <a:solidFill>
                    <a:srgbClr val="202020"/>
                  </a:solidFill>
                  <a:latin typeface="Arial" panose="020B0604020202020204"/>
                </a:endParaRPr>
              </a:p>
            </p:txBody>
          </p:sp>
        </p:grpSp>
        <p:sp>
          <p:nvSpPr>
            <p:cNvPr id="34" name="Rectangle 10">
              <a:extLst>
                <a:ext uri="{FF2B5EF4-FFF2-40B4-BE49-F238E27FC236}">
                  <a16:creationId xmlns:a16="http://schemas.microsoft.com/office/drawing/2014/main" id="{FBAF79D6-37A4-2F42-9C6F-269F69DA65B3}"/>
                </a:ext>
              </a:extLst>
            </p:cNvPr>
            <p:cNvSpPr>
              <a:spLocks noChangeArrowheads="1"/>
            </p:cNvSpPr>
            <p:nvPr/>
          </p:nvSpPr>
          <p:spPr bwMode="auto">
            <a:xfrm>
              <a:off x="3421414" y="626244"/>
              <a:ext cx="1677185" cy="261141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554492"/>
              <a:r>
                <a:rPr lang="en-SG" sz="1200" b="1" kern="0" dirty="0">
                  <a:solidFill>
                    <a:srgbClr val="00A8C8"/>
                  </a:solidFill>
                  <a:latin typeface="Arial" panose="020B0604020202020204"/>
                </a:rPr>
                <a:t>No consensus on war exclusion.</a:t>
              </a:r>
            </a:p>
            <a:p>
              <a:pPr defTabSz="554492"/>
              <a:endParaRPr lang="en-SG" sz="1200" b="1" kern="0" dirty="0">
                <a:solidFill>
                  <a:srgbClr val="00A8C8"/>
                </a:solidFill>
                <a:latin typeface="Arial" panose="020B0604020202020204"/>
              </a:endParaRPr>
            </a:p>
            <a:p>
              <a:pPr defTabSz="554492"/>
              <a:r>
                <a:rPr lang="en-SG" sz="1200" b="1" kern="0" dirty="0">
                  <a:solidFill>
                    <a:srgbClr val="00A8C8"/>
                  </a:solidFill>
                  <a:latin typeface="Arial" panose="020B0604020202020204"/>
                </a:rPr>
                <a:t>Ransomware continues to be main worry.</a:t>
              </a:r>
            </a:p>
            <a:p>
              <a:pPr defTabSz="554492"/>
              <a:endParaRPr lang="en-SG" sz="1200" b="1" kern="0" dirty="0">
                <a:solidFill>
                  <a:srgbClr val="00A8C8"/>
                </a:solidFill>
                <a:latin typeface="Arial" panose="020B0604020202020204"/>
              </a:endParaRPr>
            </a:p>
            <a:p>
              <a:pPr defTabSz="554492"/>
              <a:r>
                <a:rPr lang="en-SG" sz="1200" b="1" kern="0" dirty="0">
                  <a:solidFill>
                    <a:srgbClr val="00A8C8"/>
                  </a:solidFill>
                  <a:latin typeface="Arial" panose="020B0604020202020204"/>
                </a:rPr>
                <a:t>Supply chain and systemic risk has now garnered more focus</a:t>
              </a:r>
            </a:p>
            <a:p>
              <a:pPr defTabSz="554492"/>
              <a:endParaRPr lang="en-SG" sz="1200" b="1" kern="0" dirty="0">
                <a:solidFill>
                  <a:srgbClr val="00A8C8"/>
                </a:solidFill>
                <a:latin typeface="Arial" panose="020B0604020202020204"/>
              </a:endParaRPr>
            </a:p>
            <a:p>
              <a:pPr defTabSz="554492"/>
              <a:endParaRPr lang="en-SG" sz="849" b="1" kern="0" dirty="0">
                <a:solidFill>
                  <a:srgbClr val="00A8C8"/>
                </a:solidFill>
                <a:latin typeface="Arial" panose="020B0604020202020204"/>
              </a:endParaRPr>
            </a:p>
          </p:txBody>
        </p:sp>
        <p:sp>
          <p:nvSpPr>
            <p:cNvPr id="35" name="Rectangle 10">
              <a:extLst>
                <a:ext uri="{FF2B5EF4-FFF2-40B4-BE49-F238E27FC236}">
                  <a16:creationId xmlns:a16="http://schemas.microsoft.com/office/drawing/2014/main" id="{79BCD408-3CF0-D94F-A96D-84F8840B298E}"/>
                </a:ext>
              </a:extLst>
            </p:cNvPr>
            <p:cNvSpPr>
              <a:spLocks noChangeArrowheads="1"/>
            </p:cNvSpPr>
            <p:nvPr/>
          </p:nvSpPr>
          <p:spPr bwMode="auto">
            <a:xfrm>
              <a:off x="5469691" y="638173"/>
              <a:ext cx="2177243" cy="267149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554492"/>
              <a:r>
                <a:rPr lang="en-US" sz="1200" b="1" kern="0" dirty="0">
                  <a:solidFill>
                    <a:srgbClr val="4ECCFA"/>
                  </a:solidFill>
                  <a:latin typeface="Arial" panose="020B0604020202020204"/>
                </a:rPr>
                <a:t>London:</a:t>
              </a:r>
            </a:p>
            <a:p>
              <a:pPr defTabSz="554492"/>
              <a:r>
                <a:rPr lang="en-US" sz="1200" b="1" kern="0" dirty="0">
                  <a:solidFill>
                    <a:srgbClr val="4ECCFA"/>
                  </a:solidFill>
                  <a:latin typeface="Arial" panose="020B0604020202020204"/>
                </a:rPr>
                <a:t>New primary players such as: Mosaic, Arch. Munich Re continue to be key partners for Latam.</a:t>
              </a:r>
            </a:p>
            <a:p>
              <a:pPr defTabSz="554492"/>
              <a:endParaRPr lang="en-US" sz="1200" b="1" kern="0" dirty="0">
                <a:solidFill>
                  <a:srgbClr val="4ECCFA"/>
                </a:solidFill>
                <a:latin typeface="Arial" panose="020B0604020202020204"/>
              </a:endParaRPr>
            </a:p>
            <a:p>
              <a:pPr defTabSz="554492"/>
              <a:r>
                <a:rPr lang="en-US" sz="1200" b="1" kern="0" dirty="0">
                  <a:solidFill>
                    <a:srgbClr val="4ECCFA"/>
                  </a:solidFill>
                  <a:latin typeface="Arial" panose="020B0604020202020204"/>
                </a:rPr>
                <a:t>Spain:</a:t>
              </a:r>
            </a:p>
            <a:p>
              <a:pPr defTabSz="554492"/>
              <a:r>
                <a:rPr lang="en-US" sz="1200" b="1" kern="0" dirty="0">
                  <a:solidFill>
                    <a:srgbClr val="4ECCFA"/>
                  </a:solidFill>
                  <a:latin typeface="Arial" panose="020B0604020202020204"/>
                </a:rPr>
                <a:t>Following London trend but slower.</a:t>
              </a:r>
            </a:p>
            <a:p>
              <a:pPr defTabSz="554492"/>
              <a:endParaRPr lang="en-US" sz="1200" b="1" kern="0" dirty="0">
                <a:solidFill>
                  <a:srgbClr val="4ECCFA"/>
                </a:solidFill>
                <a:latin typeface="Arial" panose="020B0604020202020204"/>
              </a:endParaRPr>
            </a:p>
            <a:p>
              <a:pPr defTabSz="554492"/>
              <a:r>
                <a:rPr lang="en-US" sz="1200" b="1" kern="0" dirty="0">
                  <a:solidFill>
                    <a:srgbClr val="4ECCFA"/>
                  </a:solidFill>
                  <a:latin typeface="Arial" panose="020B0604020202020204"/>
                </a:rPr>
                <a:t>Regional Markets: Beazley, Everest, Munich and AIG. </a:t>
              </a:r>
            </a:p>
          </p:txBody>
        </p:sp>
        <p:sp>
          <p:nvSpPr>
            <p:cNvPr id="36" name="Rectangle 10">
              <a:extLst>
                <a:ext uri="{FF2B5EF4-FFF2-40B4-BE49-F238E27FC236}">
                  <a16:creationId xmlns:a16="http://schemas.microsoft.com/office/drawing/2014/main" id="{79BCD408-3CF0-D94F-A96D-84F8840B298E}"/>
                </a:ext>
              </a:extLst>
            </p:cNvPr>
            <p:cNvSpPr>
              <a:spLocks noChangeArrowheads="1"/>
            </p:cNvSpPr>
            <p:nvPr/>
          </p:nvSpPr>
          <p:spPr bwMode="auto">
            <a:xfrm>
              <a:off x="6870201" y="3272842"/>
              <a:ext cx="1780696" cy="226049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554492"/>
              <a:r>
                <a:rPr lang="en-GB" sz="1200" b="1" kern="0" dirty="0">
                  <a:solidFill>
                    <a:srgbClr val="008080"/>
                  </a:solidFill>
                  <a:latin typeface="Arial" panose="020B0604020202020204"/>
                </a:rPr>
                <a:t>Europe: Ransomware still occurring but better controls are enabling less frequency, however severity keeps in the agenda. </a:t>
              </a:r>
            </a:p>
            <a:p>
              <a:pPr defTabSz="554492"/>
              <a:endParaRPr lang="en-GB" sz="1200" b="1" kern="0" dirty="0">
                <a:solidFill>
                  <a:srgbClr val="008080"/>
                </a:solidFill>
                <a:latin typeface="Arial" panose="020B0604020202020204"/>
              </a:endParaRPr>
            </a:p>
            <a:p>
              <a:pPr defTabSz="554492"/>
              <a:r>
                <a:rPr lang="en-GB" sz="1200" b="1" kern="0" dirty="0">
                  <a:solidFill>
                    <a:srgbClr val="008080"/>
                  </a:solidFill>
                  <a:latin typeface="Arial" panose="020B0604020202020204"/>
                </a:rPr>
                <a:t>In </a:t>
              </a:r>
              <a:r>
                <a:rPr lang="en-GB" sz="1200" b="1" kern="0">
                  <a:solidFill>
                    <a:srgbClr val="008080"/>
                  </a:solidFill>
                  <a:latin typeface="Arial" panose="020B0604020202020204"/>
                </a:rPr>
                <a:t>Latam </a:t>
              </a:r>
              <a:r>
                <a:rPr lang="en-GB" sz="1200" b="1" kern="0" dirty="0">
                  <a:solidFill>
                    <a:srgbClr val="008080"/>
                  </a:solidFill>
                  <a:latin typeface="Arial" panose="020B0604020202020204"/>
                </a:rPr>
                <a:t>Cyber losses are occurring more frequently.</a:t>
              </a:r>
            </a:p>
          </p:txBody>
        </p:sp>
      </p:grpSp>
      <p:sp>
        <p:nvSpPr>
          <p:cNvPr id="88" name="Rectángulo 87">
            <a:extLst>
              <a:ext uri="{FF2B5EF4-FFF2-40B4-BE49-F238E27FC236}">
                <a16:creationId xmlns:a16="http://schemas.microsoft.com/office/drawing/2014/main" id="{04AE0CF4-7942-5D29-1361-5FF9CBF7F912}"/>
              </a:ext>
            </a:extLst>
          </p:cNvPr>
          <p:cNvSpPr/>
          <p:nvPr/>
        </p:nvSpPr>
        <p:spPr>
          <a:xfrm>
            <a:off x="8271907" y="1829"/>
            <a:ext cx="3899122" cy="6858000"/>
          </a:xfrm>
          <a:prstGeom prst="rect">
            <a:avLst/>
          </a:prstGeom>
          <a:solidFill>
            <a:srgbClr val="002060"/>
          </a:solidFill>
          <a:ln w="12700" cap="flat" cmpd="sng" algn="ctr">
            <a:solidFill>
              <a:srgbClr val="4472C4">
                <a:shade val="50000"/>
              </a:srgbClr>
            </a:solidFill>
            <a:prstDash val="solid"/>
            <a:miter lim="800000"/>
          </a:ln>
          <a:effectLst/>
        </p:spPr>
        <p:txBody>
          <a:bodyPr rtlCol="0" anchor="ctr"/>
          <a:lstStyle/>
          <a:p>
            <a:pPr algn="ctr" defTabSz="554492"/>
            <a:endParaRPr lang="es-ES" sz="1092" kern="0" dirty="0">
              <a:solidFill>
                <a:prstClr val="white"/>
              </a:solidFill>
              <a:latin typeface="Calibri" panose="020F0502020204030204"/>
            </a:endParaRPr>
          </a:p>
        </p:txBody>
      </p:sp>
      <p:pic>
        <p:nvPicPr>
          <p:cNvPr id="89" name="Gráfico 61">
            <a:extLst>
              <a:ext uri="{FF2B5EF4-FFF2-40B4-BE49-F238E27FC236}">
                <a16:creationId xmlns:a16="http://schemas.microsoft.com/office/drawing/2014/main" id="{4706549E-AF4E-A135-CFF4-7C52B58C4D39}"/>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21612"/>
          <a:stretch/>
        </p:blipFill>
        <p:spPr>
          <a:xfrm>
            <a:off x="8364518" y="100854"/>
            <a:ext cx="3795769" cy="2975465"/>
          </a:xfrm>
          <a:prstGeom prst="rect">
            <a:avLst/>
          </a:prstGeom>
        </p:spPr>
      </p:pic>
      <p:sp>
        <p:nvSpPr>
          <p:cNvPr id="91" name="CuadroTexto 90">
            <a:extLst>
              <a:ext uri="{FF2B5EF4-FFF2-40B4-BE49-F238E27FC236}">
                <a16:creationId xmlns:a16="http://schemas.microsoft.com/office/drawing/2014/main" id="{7099C108-1A04-4DAF-2AE8-F89260D089F3}"/>
              </a:ext>
            </a:extLst>
          </p:cNvPr>
          <p:cNvSpPr txBox="1"/>
          <p:nvPr/>
        </p:nvSpPr>
        <p:spPr>
          <a:xfrm>
            <a:off x="8928070" y="1116830"/>
            <a:ext cx="2435141" cy="652166"/>
          </a:xfrm>
          <a:prstGeom prst="rect">
            <a:avLst/>
          </a:prstGeom>
          <a:noFill/>
        </p:spPr>
        <p:txBody>
          <a:bodyPr wrap="square">
            <a:spAutoFit/>
          </a:bodyPr>
          <a:lstStyle/>
          <a:p>
            <a:pPr algn="ctr" defTabSz="554492">
              <a:defRPr/>
            </a:pPr>
            <a:r>
              <a:rPr lang="en-US" sz="3638" kern="0" dirty="0">
                <a:solidFill>
                  <a:prstClr val="white"/>
                </a:solidFill>
                <a:latin typeface="Arial" panose="020B0604020202020204"/>
              </a:rPr>
              <a:t>Cyber</a:t>
            </a:r>
          </a:p>
        </p:txBody>
      </p:sp>
      <p:sp>
        <p:nvSpPr>
          <p:cNvPr id="94" name="Rectangle 10">
            <a:extLst>
              <a:ext uri="{FF2B5EF4-FFF2-40B4-BE49-F238E27FC236}">
                <a16:creationId xmlns:a16="http://schemas.microsoft.com/office/drawing/2014/main" id="{FBAF79D6-37A4-2F42-9C6F-269F69DA65B3}"/>
              </a:ext>
            </a:extLst>
          </p:cNvPr>
          <p:cNvSpPr>
            <a:spLocks noChangeArrowheads="1"/>
          </p:cNvSpPr>
          <p:nvPr/>
        </p:nvSpPr>
        <p:spPr bwMode="auto">
          <a:xfrm>
            <a:off x="2076603" y="2161096"/>
            <a:ext cx="1325851" cy="129266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554492"/>
            <a:r>
              <a:rPr lang="en-US" sz="1200" b="1" kern="0" dirty="0">
                <a:solidFill>
                  <a:srgbClr val="006D9E"/>
                </a:solidFill>
                <a:latin typeface="Arial" panose="020B0604020202020204"/>
              </a:rPr>
              <a:t>Broader appetite for complex industries.</a:t>
            </a:r>
          </a:p>
          <a:p>
            <a:pPr defTabSz="554492"/>
            <a:endParaRPr lang="en-US" sz="1200" b="1" kern="0" dirty="0">
              <a:solidFill>
                <a:srgbClr val="006D9E"/>
              </a:solidFill>
              <a:latin typeface="Arial" panose="020B0604020202020204"/>
            </a:endParaRPr>
          </a:p>
          <a:p>
            <a:pPr defTabSz="554492"/>
            <a:r>
              <a:rPr lang="en-US" sz="1200" b="1" kern="0" dirty="0">
                <a:solidFill>
                  <a:srgbClr val="006D9E"/>
                </a:solidFill>
                <a:latin typeface="Arial" panose="020B0604020202020204"/>
              </a:rPr>
              <a:t>Higher interest for Latam, new primary players. </a:t>
            </a:r>
          </a:p>
        </p:txBody>
      </p:sp>
      <p:sp>
        <p:nvSpPr>
          <p:cNvPr id="96" name="Rectangle 10">
            <a:extLst>
              <a:ext uri="{FF2B5EF4-FFF2-40B4-BE49-F238E27FC236}">
                <a16:creationId xmlns:a16="http://schemas.microsoft.com/office/drawing/2014/main" id="{FBAF79D6-37A4-2F42-9C6F-269F69DA65B3}"/>
              </a:ext>
            </a:extLst>
          </p:cNvPr>
          <p:cNvSpPr>
            <a:spLocks noChangeArrowheads="1"/>
          </p:cNvSpPr>
          <p:nvPr/>
        </p:nvSpPr>
        <p:spPr bwMode="auto">
          <a:xfrm>
            <a:off x="2236487" y="3090786"/>
            <a:ext cx="1316234" cy="11201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554492"/>
            <a:endParaRPr lang="en-US" sz="728" b="1" kern="0" dirty="0">
              <a:solidFill>
                <a:srgbClr val="006D9E"/>
              </a:solidFill>
              <a:latin typeface="Arial" panose="020B0604020202020204"/>
            </a:endParaRPr>
          </a:p>
        </p:txBody>
      </p:sp>
      <p:sp>
        <p:nvSpPr>
          <p:cNvPr id="100" name="Content Placeholder 8">
            <a:extLst>
              <a:ext uri="{FF2B5EF4-FFF2-40B4-BE49-F238E27FC236}">
                <a16:creationId xmlns:a16="http://schemas.microsoft.com/office/drawing/2014/main" id="{97405B8F-1645-3937-428B-CE180C259AD0}"/>
              </a:ext>
            </a:extLst>
          </p:cNvPr>
          <p:cNvSpPr txBox="1">
            <a:spLocks/>
          </p:cNvSpPr>
          <p:nvPr/>
        </p:nvSpPr>
        <p:spPr>
          <a:xfrm>
            <a:off x="8702892" y="3339532"/>
            <a:ext cx="3277240" cy="970009"/>
          </a:xfrm>
          <a:prstGeom prst="rect">
            <a:avLst/>
          </a:prstGeom>
        </p:spPr>
        <p:txBody>
          <a:bodyPr lIns="0" tIns="0" rIns="0" bIns="0"/>
          <a:lstStyle>
            <a:lvl1pPr marL="0" indent="0" algn="l" defTabSz="457200" rtl="0" eaLnBrk="1" latinLnBrk="0" hangingPunct="1">
              <a:spcBef>
                <a:spcPts val="0"/>
              </a:spcBef>
              <a:buFont typeface="Arial"/>
              <a:buNone/>
              <a:defRPr sz="1800" b="0" kern="1200">
                <a:solidFill>
                  <a:schemeClr val="tx1"/>
                </a:solidFill>
                <a:latin typeface="+mn-lt"/>
                <a:ea typeface="+mn-ea"/>
                <a:cs typeface="+mn-cs"/>
              </a:defRPr>
            </a:lvl1pPr>
            <a:lvl2pPr marL="228600" indent="-225425" algn="l" defTabSz="457200" rtl="0" eaLnBrk="1" latinLnBrk="0" hangingPunct="1">
              <a:spcBef>
                <a:spcPts val="0"/>
              </a:spcBef>
              <a:buFont typeface="Arial" panose="020B0604020202020204" pitchFamily="34" charset="0"/>
              <a:buChar char="•"/>
              <a:tabLst/>
              <a:defRPr sz="1500" kern="1200">
                <a:solidFill>
                  <a:schemeClr val="tx1"/>
                </a:solidFill>
                <a:latin typeface="+mn-lt"/>
                <a:ea typeface="+mn-ea"/>
                <a:cs typeface="+mn-cs"/>
              </a:defRPr>
            </a:lvl2pPr>
            <a:lvl3pPr marL="457200" indent="-228600" algn="l" defTabSz="457200" rtl="0" eaLnBrk="1" latinLnBrk="0" hangingPunct="1">
              <a:spcBef>
                <a:spcPts val="0"/>
              </a:spcBef>
              <a:buFont typeface="Arial" panose="020B0604020202020204" pitchFamily="34" charset="0"/>
              <a:buChar char="–"/>
              <a:tabLst/>
              <a:defRPr sz="1200" kern="1200">
                <a:solidFill>
                  <a:schemeClr val="tx1"/>
                </a:solidFill>
                <a:latin typeface="+mn-lt"/>
                <a:ea typeface="+mn-ea"/>
                <a:cs typeface="+mn-cs"/>
              </a:defRPr>
            </a:lvl3pPr>
            <a:lvl4pPr marL="685800" indent="-228600" algn="l" defTabSz="457200" rtl="0" eaLnBrk="1" latinLnBrk="0" hangingPunct="1">
              <a:spcBef>
                <a:spcPts val="0"/>
              </a:spcBef>
              <a:buFont typeface="Arial" panose="020B0604020202020204" pitchFamily="34" charset="0"/>
              <a:buChar char="•"/>
              <a:tabLst/>
              <a:defRPr sz="1200" kern="1200">
                <a:solidFill>
                  <a:schemeClr val="tx1"/>
                </a:solidFill>
                <a:latin typeface="+mn-lt"/>
                <a:ea typeface="+mn-ea"/>
                <a:cs typeface="+mn-cs"/>
              </a:defRPr>
            </a:lvl4pPr>
            <a:lvl5pPr marL="914400" indent="-228600" algn="l" defTabSz="457200" rtl="0" eaLnBrk="1" latinLnBrk="0" hangingPunct="1">
              <a:spcBef>
                <a:spcPts val="0"/>
              </a:spcBef>
              <a:buFont typeface="Arial" panose="020B0604020202020204" pitchFamily="34" charset="0"/>
              <a:buChar char="–"/>
              <a:tabLst/>
              <a:defRPr sz="1200" kern="1200">
                <a:solidFill>
                  <a:schemeClr val="tx1"/>
                </a:solidFill>
                <a:latin typeface="+mn-lt"/>
                <a:ea typeface="+mn-ea"/>
                <a:cs typeface="+mn-cs"/>
              </a:defRPr>
            </a:lvl5pPr>
            <a:lvl6pPr marL="1146175" indent="-227013" algn="l" defTabSz="457200" rtl="0" eaLnBrk="1" latinLnBrk="0" hangingPunct="1">
              <a:spcBef>
                <a:spcPts val="0"/>
              </a:spcBef>
              <a:buFont typeface="Arial"/>
              <a:buChar char="•"/>
              <a:tabLst/>
              <a:defRPr sz="1200" kern="1200">
                <a:solidFill>
                  <a:schemeClr val="tx1"/>
                </a:solidFill>
                <a:latin typeface="+mn-lt"/>
                <a:ea typeface="+mn-ea"/>
                <a:cs typeface="+mn-cs"/>
              </a:defRPr>
            </a:lvl6pPr>
            <a:lvl7pPr marL="1374775" indent="-228600" algn="l" defTabSz="457200" rtl="0" eaLnBrk="1" latinLnBrk="0" hangingPunct="1">
              <a:spcBef>
                <a:spcPts val="0"/>
              </a:spcBef>
              <a:buFont typeface="System Font Regular"/>
              <a:buChar char="–"/>
              <a:tabLst/>
              <a:defRPr sz="1200" kern="1200">
                <a:solidFill>
                  <a:schemeClr val="tx1"/>
                </a:solidFill>
                <a:latin typeface="+mn-lt"/>
                <a:ea typeface="+mn-ea"/>
                <a:cs typeface="+mn-cs"/>
              </a:defRPr>
            </a:lvl7pPr>
            <a:lvl8pPr marL="1601788" indent="-227013" algn="l" defTabSz="457200" rtl="0" eaLnBrk="1" latinLnBrk="0" hangingPunct="1">
              <a:spcBef>
                <a:spcPts val="0"/>
              </a:spcBef>
              <a:buFont typeface="Arial"/>
              <a:buChar char="•"/>
              <a:tabLst/>
              <a:defRPr sz="1200" kern="1200">
                <a:solidFill>
                  <a:schemeClr val="tx1"/>
                </a:solidFill>
                <a:latin typeface="+mn-lt"/>
                <a:ea typeface="+mn-ea"/>
                <a:cs typeface="+mn-cs"/>
              </a:defRPr>
            </a:lvl8pPr>
            <a:lvl9pPr marL="1830388" indent="-219075" algn="l" defTabSz="457200" rtl="0" eaLnBrk="1" latinLnBrk="0" hangingPunct="1">
              <a:spcBef>
                <a:spcPts val="0"/>
              </a:spcBef>
              <a:buFont typeface="System Font Regular"/>
              <a:buChar char="–"/>
              <a:tabLst/>
              <a:defRPr sz="1200" kern="1200">
                <a:solidFill>
                  <a:schemeClr val="tx1"/>
                </a:solidFill>
                <a:latin typeface="+mn-lt"/>
                <a:ea typeface="+mn-ea"/>
                <a:cs typeface="+mn-cs"/>
              </a:defRPr>
            </a:lvl9pPr>
          </a:lstStyle>
          <a:p>
            <a:pPr defTabSz="277246">
              <a:spcAft>
                <a:spcPts val="364"/>
              </a:spcAft>
            </a:pPr>
            <a:r>
              <a:rPr lang="en-US" sz="2668" b="1" dirty="0">
                <a:solidFill>
                  <a:srgbClr val="009DE0"/>
                </a:solidFill>
                <a:latin typeface="Arial" panose="020B0604020202020204"/>
                <a:cs typeface="Arial" panose="020B0604020202020204" pitchFamily="34" charset="0"/>
              </a:rPr>
              <a:t>More reinsurance  markets active in </a:t>
            </a:r>
            <a:r>
              <a:rPr lang="en-US" sz="2668" b="1" dirty="0" err="1">
                <a:solidFill>
                  <a:srgbClr val="009DE0"/>
                </a:solidFill>
                <a:latin typeface="Arial" panose="020B0604020202020204"/>
                <a:cs typeface="Arial" panose="020B0604020202020204" pitchFamily="34" charset="0"/>
              </a:rPr>
              <a:t>Latam</a:t>
            </a:r>
            <a:r>
              <a:rPr lang="en-US" sz="2668" b="1" dirty="0">
                <a:solidFill>
                  <a:srgbClr val="009DE0"/>
                </a:solidFill>
                <a:latin typeface="Arial" panose="020B0604020202020204"/>
                <a:cs typeface="Arial" panose="020B0604020202020204" pitchFamily="34" charset="0"/>
              </a:rPr>
              <a:t> with broader appetite.</a:t>
            </a:r>
            <a:endParaRPr lang="en-US" sz="2668" b="1" dirty="0">
              <a:solidFill>
                <a:srgbClr val="FF0000"/>
              </a:solidFill>
              <a:latin typeface="Arial" panose="020B0604020202020204"/>
              <a:cs typeface="Arial" panose="020B0604020202020204" pitchFamily="34" charset="0"/>
            </a:endParaRPr>
          </a:p>
        </p:txBody>
      </p:sp>
      <p:sp>
        <p:nvSpPr>
          <p:cNvPr id="101" name="Content Placeholder 8">
            <a:extLst>
              <a:ext uri="{FF2B5EF4-FFF2-40B4-BE49-F238E27FC236}">
                <a16:creationId xmlns:a16="http://schemas.microsoft.com/office/drawing/2014/main" id="{97405B8F-1645-3937-428B-CE180C259AD0}"/>
              </a:ext>
            </a:extLst>
          </p:cNvPr>
          <p:cNvSpPr txBox="1">
            <a:spLocks/>
          </p:cNvSpPr>
          <p:nvPr/>
        </p:nvSpPr>
        <p:spPr>
          <a:xfrm>
            <a:off x="8418520" y="5599518"/>
            <a:ext cx="3277240" cy="970009"/>
          </a:xfrm>
          <a:prstGeom prst="rect">
            <a:avLst/>
          </a:prstGeom>
        </p:spPr>
        <p:txBody>
          <a:bodyPr lIns="0" tIns="0" rIns="0" bIns="0"/>
          <a:lstStyle>
            <a:lvl1pPr marL="0" indent="0" algn="l" defTabSz="457200" rtl="0" eaLnBrk="1" latinLnBrk="0" hangingPunct="1">
              <a:spcBef>
                <a:spcPts val="0"/>
              </a:spcBef>
              <a:buFont typeface="Arial"/>
              <a:buNone/>
              <a:defRPr sz="1800" b="0" kern="1200">
                <a:solidFill>
                  <a:schemeClr val="tx1"/>
                </a:solidFill>
                <a:latin typeface="+mn-lt"/>
                <a:ea typeface="+mn-ea"/>
                <a:cs typeface="+mn-cs"/>
              </a:defRPr>
            </a:lvl1pPr>
            <a:lvl2pPr marL="228600" indent="-225425" algn="l" defTabSz="457200" rtl="0" eaLnBrk="1" latinLnBrk="0" hangingPunct="1">
              <a:spcBef>
                <a:spcPts val="0"/>
              </a:spcBef>
              <a:buFont typeface="Arial" panose="020B0604020202020204" pitchFamily="34" charset="0"/>
              <a:buChar char="•"/>
              <a:tabLst/>
              <a:defRPr sz="1500" kern="1200">
                <a:solidFill>
                  <a:schemeClr val="tx1"/>
                </a:solidFill>
                <a:latin typeface="+mn-lt"/>
                <a:ea typeface="+mn-ea"/>
                <a:cs typeface="+mn-cs"/>
              </a:defRPr>
            </a:lvl2pPr>
            <a:lvl3pPr marL="457200" indent="-228600" algn="l" defTabSz="457200" rtl="0" eaLnBrk="1" latinLnBrk="0" hangingPunct="1">
              <a:spcBef>
                <a:spcPts val="0"/>
              </a:spcBef>
              <a:buFont typeface="Arial" panose="020B0604020202020204" pitchFamily="34" charset="0"/>
              <a:buChar char="–"/>
              <a:tabLst/>
              <a:defRPr sz="1200" kern="1200">
                <a:solidFill>
                  <a:schemeClr val="tx1"/>
                </a:solidFill>
                <a:latin typeface="+mn-lt"/>
                <a:ea typeface="+mn-ea"/>
                <a:cs typeface="+mn-cs"/>
              </a:defRPr>
            </a:lvl3pPr>
            <a:lvl4pPr marL="685800" indent="-228600" algn="l" defTabSz="457200" rtl="0" eaLnBrk="1" latinLnBrk="0" hangingPunct="1">
              <a:spcBef>
                <a:spcPts val="0"/>
              </a:spcBef>
              <a:buFont typeface="Arial" panose="020B0604020202020204" pitchFamily="34" charset="0"/>
              <a:buChar char="•"/>
              <a:tabLst/>
              <a:defRPr sz="1200" kern="1200">
                <a:solidFill>
                  <a:schemeClr val="tx1"/>
                </a:solidFill>
                <a:latin typeface="+mn-lt"/>
                <a:ea typeface="+mn-ea"/>
                <a:cs typeface="+mn-cs"/>
              </a:defRPr>
            </a:lvl4pPr>
            <a:lvl5pPr marL="914400" indent="-228600" algn="l" defTabSz="457200" rtl="0" eaLnBrk="1" latinLnBrk="0" hangingPunct="1">
              <a:spcBef>
                <a:spcPts val="0"/>
              </a:spcBef>
              <a:buFont typeface="Arial" panose="020B0604020202020204" pitchFamily="34" charset="0"/>
              <a:buChar char="–"/>
              <a:tabLst/>
              <a:defRPr sz="1200" kern="1200">
                <a:solidFill>
                  <a:schemeClr val="tx1"/>
                </a:solidFill>
                <a:latin typeface="+mn-lt"/>
                <a:ea typeface="+mn-ea"/>
                <a:cs typeface="+mn-cs"/>
              </a:defRPr>
            </a:lvl5pPr>
            <a:lvl6pPr marL="1146175" indent="-227013" algn="l" defTabSz="457200" rtl="0" eaLnBrk="1" latinLnBrk="0" hangingPunct="1">
              <a:spcBef>
                <a:spcPts val="0"/>
              </a:spcBef>
              <a:buFont typeface="Arial"/>
              <a:buChar char="•"/>
              <a:tabLst/>
              <a:defRPr sz="1200" kern="1200">
                <a:solidFill>
                  <a:schemeClr val="tx1"/>
                </a:solidFill>
                <a:latin typeface="+mn-lt"/>
                <a:ea typeface="+mn-ea"/>
                <a:cs typeface="+mn-cs"/>
              </a:defRPr>
            </a:lvl6pPr>
            <a:lvl7pPr marL="1374775" indent="-228600" algn="l" defTabSz="457200" rtl="0" eaLnBrk="1" latinLnBrk="0" hangingPunct="1">
              <a:spcBef>
                <a:spcPts val="0"/>
              </a:spcBef>
              <a:buFont typeface="System Font Regular"/>
              <a:buChar char="–"/>
              <a:tabLst/>
              <a:defRPr sz="1200" kern="1200">
                <a:solidFill>
                  <a:schemeClr val="tx1"/>
                </a:solidFill>
                <a:latin typeface="+mn-lt"/>
                <a:ea typeface="+mn-ea"/>
                <a:cs typeface="+mn-cs"/>
              </a:defRPr>
            </a:lvl7pPr>
            <a:lvl8pPr marL="1601788" indent="-227013" algn="l" defTabSz="457200" rtl="0" eaLnBrk="1" latinLnBrk="0" hangingPunct="1">
              <a:spcBef>
                <a:spcPts val="0"/>
              </a:spcBef>
              <a:buFont typeface="Arial"/>
              <a:buChar char="•"/>
              <a:tabLst/>
              <a:defRPr sz="1200" kern="1200">
                <a:solidFill>
                  <a:schemeClr val="tx1"/>
                </a:solidFill>
                <a:latin typeface="+mn-lt"/>
                <a:ea typeface="+mn-ea"/>
                <a:cs typeface="+mn-cs"/>
              </a:defRPr>
            </a:lvl8pPr>
            <a:lvl9pPr marL="1830388" indent="-219075" algn="l" defTabSz="457200" rtl="0" eaLnBrk="1" latinLnBrk="0" hangingPunct="1">
              <a:spcBef>
                <a:spcPts val="0"/>
              </a:spcBef>
              <a:buFont typeface="System Font Regular"/>
              <a:buChar char="–"/>
              <a:tabLst/>
              <a:defRPr sz="1200" kern="1200">
                <a:solidFill>
                  <a:schemeClr val="tx1"/>
                </a:solidFill>
                <a:latin typeface="+mn-lt"/>
                <a:ea typeface="+mn-ea"/>
                <a:cs typeface="+mn-cs"/>
              </a:defRPr>
            </a:lvl9pPr>
          </a:lstStyle>
          <a:p>
            <a:pPr defTabSz="277246">
              <a:spcAft>
                <a:spcPts val="364"/>
              </a:spcAft>
            </a:pPr>
            <a:endParaRPr lang="en-US" sz="2668" b="1" dirty="0">
              <a:solidFill>
                <a:srgbClr val="009DE0"/>
              </a:solidFill>
              <a:latin typeface="Arial" panose="020B0604020202020204"/>
              <a:cs typeface="Arial" panose="020B0604020202020204" pitchFamily="34" charset="0"/>
            </a:endParaRPr>
          </a:p>
        </p:txBody>
      </p:sp>
      <p:sp>
        <p:nvSpPr>
          <p:cNvPr id="102" name="Content Placeholder 8">
            <a:extLst>
              <a:ext uri="{FF2B5EF4-FFF2-40B4-BE49-F238E27FC236}">
                <a16:creationId xmlns:a16="http://schemas.microsoft.com/office/drawing/2014/main" id="{97405B8F-1645-3937-428B-CE180C259AD0}"/>
              </a:ext>
            </a:extLst>
          </p:cNvPr>
          <p:cNvSpPr txBox="1">
            <a:spLocks/>
          </p:cNvSpPr>
          <p:nvPr/>
        </p:nvSpPr>
        <p:spPr>
          <a:xfrm>
            <a:off x="8415292" y="5380799"/>
            <a:ext cx="3277240" cy="970009"/>
          </a:xfrm>
          <a:prstGeom prst="rect">
            <a:avLst/>
          </a:prstGeom>
        </p:spPr>
        <p:txBody>
          <a:bodyPr lIns="0" tIns="0" rIns="0" bIns="0"/>
          <a:lstStyle>
            <a:lvl1pPr marL="0" indent="0" algn="l" defTabSz="457200" rtl="0" eaLnBrk="1" latinLnBrk="0" hangingPunct="1">
              <a:spcBef>
                <a:spcPts val="0"/>
              </a:spcBef>
              <a:buFont typeface="Arial"/>
              <a:buNone/>
              <a:defRPr sz="1800" b="0" kern="1200">
                <a:solidFill>
                  <a:schemeClr val="tx1"/>
                </a:solidFill>
                <a:latin typeface="+mn-lt"/>
                <a:ea typeface="+mn-ea"/>
                <a:cs typeface="+mn-cs"/>
              </a:defRPr>
            </a:lvl1pPr>
            <a:lvl2pPr marL="228600" indent="-225425" algn="l" defTabSz="457200" rtl="0" eaLnBrk="1" latinLnBrk="0" hangingPunct="1">
              <a:spcBef>
                <a:spcPts val="0"/>
              </a:spcBef>
              <a:buFont typeface="Arial" panose="020B0604020202020204" pitchFamily="34" charset="0"/>
              <a:buChar char="•"/>
              <a:tabLst/>
              <a:defRPr sz="1500" kern="1200">
                <a:solidFill>
                  <a:schemeClr val="tx1"/>
                </a:solidFill>
                <a:latin typeface="+mn-lt"/>
                <a:ea typeface="+mn-ea"/>
                <a:cs typeface="+mn-cs"/>
              </a:defRPr>
            </a:lvl2pPr>
            <a:lvl3pPr marL="457200" indent="-228600" algn="l" defTabSz="457200" rtl="0" eaLnBrk="1" latinLnBrk="0" hangingPunct="1">
              <a:spcBef>
                <a:spcPts val="0"/>
              </a:spcBef>
              <a:buFont typeface="Arial" panose="020B0604020202020204" pitchFamily="34" charset="0"/>
              <a:buChar char="–"/>
              <a:tabLst/>
              <a:defRPr sz="1200" kern="1200">
                <a:solidFill>
                  <a:schemeClr val="tx1"/>
                </a:solidFill>
                <a:latin typeface="+mn-lt"/>
                <a:ea typeface="+mn-ea"/>
                <a:cs typeface="+mn-cs"/>
              </a:defRPr>
            </a:lvl3pPr>
            <a:lvl4pPr marL="685800" indent="-228600" algn="l" defTabSz="457200" rtl="0" eaLnBrk="1" latinLnBrk="0" hangingPunct="1">
              <a:spcBef>
                <a:spcPts val="0"/>
              </a:spcBef>
              <a:buFont typeface="Arial" panose="020B0604020202020204" pitchFamily="34" charset="0"/>
              <a:buChar char="•"/>
              <a:tabLst/>
              <a:defRPr sz="1200" kern="1200">
                <a:solidFill>
                  <a:schemeClr val="tx1"/>
                </a:solidFill>
                <a:latin typeface="+mn-lt"/>
                <a:ea typeface="+mn-ea"/>
                <a:cs typeface="+mn-cs"/>
              </a:defRPr>
            </a:lvl4pPr>
            <a:lvl5pPr marL="914400" indent="-228600" algn="l" defTabSz="457200" rtl="0" eaLnBrk="1" latinLnBrk="0" hangingPunct="1">
              <a:spcBef>
                <a:spcPts val="0"/>
              </a:spcBef>
              <a:buFont typeface="Arial" panose="020B0604020202020204" pitchFamily="34" charset="0"/>
              <a:buChar char="–"/>
              <a:tabLst/>
              <a:defRPr sz="1200" kern="1200">
                <a:solidFill>
                  <a:schemeClr val="tx1"/>
                </a:solidFill>
                <a:latin typeface="+mn-lt"/>
                <a:ea typeface="+mn-ea"/>
                <a:cs typeface="+mn-cs"/>
              </a:defRPr>
            </a:lvl5pPr>
            <a:lvl6pPr marL="1146175" indent="-227013" algn="l" defTabSz="457200" rtl="0" eaLnBrk="1" latinLnBrk="0" hangingPunct="1">
              <a:spcBef>
                <a:spcPts val="0"/>
              </a:spcBef>
              <a:buFont typeface="Arial"/>
              <a:buChar char="•"/>
              <a:tabLst/>
              <a:defRPr sz="1200" kern="1200">
                <a:solidFill>
                  <a:schemeClr val="tx1"/>
                </a:solidFill>
                <a:latin typeface="+mn-lt"/>
                <a:ea typeface="+mn-ea"/>
                <a:cs typeface="+mn-cs"/>
              </a:defRPr>
            </a:lvl6pPr>
            <a:lvl7pPr marL="1374775" indent="-228600" algn="l" defTabSz="457200" rtl="0" eaLnBrk="1" latinLnBrk="0" hangingPunct="1">
              <a:spcBef>
                <a:spcPts val="0"/>
              </a:spcBef>
              <a:buFont typeface="System Font Regular"/>
              <a:buChar char="–"/>
              <a:tabLst/>
              <a:defRPr sz="1200" kern="1200">
                <a:solidFill>
                  <a:schemeClr val="tx1"/>
                </a:solidFill>
                <a:latin typeface="+mn-lt"/>
                <a:ea typeface="+mn-ea"/>
                <a:cs typeface="+mn-cs"/>
              </a:defRPr>
            </a:lvl7pPr>
            <a:lvl8pPr marL="1601788" indent="-227013" algn="l" defTabSz="457200" rtl="0" eaLnBrk="1" latinLnBrk="0" hangingPunct="1">
              <a:spcBef>
                <a:spcPts val="0"/>
              </a:spcBef>
              <a:buFont typeface="Arial"/>
              <a:buChar char="•"/>
              <a:tabLst/>
              <a:defRPr sz="1200" kern="1200">
                <a:solidFill>
                  <a:schemeClr val="tx1"/>
                </a:solidFill>
                <a:latin typeface="+mn-lt"/>
                <a:ea typeface="+mn-ea"/>
                <a:cs typeface="+mn-cs"/>
              </a:defRPr>
            </a:lvl8pPr>
            <a:lvl9pPr marL="1830388" indent="-219075" algn="l" defTabSz="457200" rtl="0" eaLnBrk="1" latinLnBrk="0" hangingPunct="1">
              <a:spcBef>
                <a:spcPts val="0"/>
              </a:spcBef>
              <a:buFont typeface="System Font Regular"/>
              <a:buChar char="–"/>
              <a:tabLst/>
              <a:defRPr sz="1200" kern="1200">
                <a:solidFill>
                  <a:schemeClr val="tx1"/>
                </a:solidFill>
                <a:latin typeface="+mn-lt"/>
                <a:ea typeface="+mn-ea"/>
                <a:cs typeface="+mn-cs"/>
              </a:defRPr>
            </a:lvl9pPr>
          </a:lstStyle>
          <a:p>
            <a:pPr defTabSz="277246">
              <a:spcAft>
                <a:spcPts val="364"/>
              </a:spcAft>
            </a:pPr>
            <a:endParaRPr lang="en-US" sz="2668" b="1" dirty="0">
              <a:solidFill>
                <a:srgbClr val="FF0000"/>
              </a:solidFill>
              <a:latin typeface="Arial" panose="020B0604020202020204"/>
              <a:cs typeface="Arial" panose="020B0604020202020204" pitchFamily="34" charset="0"/>
            </a:endParaRPr>
          </a:p>
        </p:txBody>
      </p:sp>
    </p:spTree>
    <p:extLst>
      <p:ext uri="{BB962C8B-B14F-4D97-AF65-F5344CB8AC3E}">
        <p14:creationId xmlns:p14="http://schemas.microsoft.com/office/powerpoint/2010/main" val="10442801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3">
            <a:extLst>
              <a:ext uri="{FF2B5EF4-FFF2-40B4-BE49-F238E27FC236}">
                <a16:creationId xmlns:a16="http://schemas.microsoft.com/office/drawing/2014/main" id="{87D94352-56C8-7BEF-290C-CCF07BE3ABBF}"/>
              </a:ext>
            </a:extLst>
          </p:cNvPr>
          <p:cNvSpPr txBox="1">
            <a:spLocks/>
          </p:cNvSpPr>
          <p:nvPr>
            <p:custDataLst>
              <p:custData r:id="rId1"/>
            </p:custDataLst>
          </p:nvPr>
        </p:nvSpPr>
        <p:spPr>
          <a:xfrm>
            <a:off x="11430000" y="6516000"/>
            <a:ext cx="280800" cy="123111"/>
          </a:xfrm>
          <a:prstGeom prst="rect">
            <a:avLst/>
          </a:prstGeom>
          <a:noFill/>
        </p:spPr>
        <p:txBody>
          <a:bodyPr wrap="square" lIns="0" tIns="0" rIns="0" bIns="0" rtlCol="0">
            <a:spAutoFit/>
          </a:bodyPr>
          <a:lstStyle>
            <a:defPPr>
              <a:defRPr lang="en-GB"/>
            </a:defPPr>
            <a:lvl1pPr marL="0" algn="r" defTabSz="457200" rtl="0" eaLnBrk="1" latinLnBrk="0" hangingPunct="1">
              <a:defRPr lang="en-GB" sz="800" kern="1200" smtClean="0">
                <a:solidFill>
                  <a:schemeClr val="tx1"/>
                </a:solidFill>
                <a:effectLst/>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F66040D-6F20-4F4B-8995-856BEECD84BE}" type="slidenum">
              <a:rPr lang="en-IN" smtClean="0"/>
              <a:pPr/>
              <a:t>4</a:t>
            </a:fld>
            <a:endParaRPr lang="en-IN" dirty="0"/>
          </a:p>
        </p:txBody>
      </p:sp>
      <p:pic>
        <p:nvPicPr>
          <p:cNvPr id="6" name="Imagen 5">
            <a:extLst>
              <a:ext uri="{FF2B5EF4-FFF2-40B4-BE49-F238E27FC236}">
                <a16:creationId xmlns:a16="http://schemas.microsoft.com/office/drawing/2014/main" id="{D5A8B308-6906-454B-9052-B5CCF6FD98F1}"/>
              </a:ext>
            </a:extLst>
          </p:cNvPr>
          <p:cNvPicPr>
            <a:picLocks noChangeAspect="1"/>
          </p:cNvPicPr>
          <p:nvPr/>
        </p:nvPicPr>
        <p:blipFill>
          <a:blip r:embed="rId4"/>
          <a:stretch>
            <a:fillRect/>
          </a:stretch>
        </p:blipFill>
        <p:spPr>
          <a:xfrm>
            <a:off x="135635" y="6460047"/>
            <a:ext cx="1800225" cy="304800"/>
          </a:xfrm>
          <a:prstGeom prst="rect">
            <a:avLst/>
          </a:prstGeom>
        </p:spPr>
      </p:pic>
      <p:pic>
        <p:nvPicPr>
          <p:cNvPr id="9" name="Imagen 8">
            <a:extLst>
              <a:ext uri="{FF2B5EF4-FFF2-40B4-BE49-F238E27FC236}">
                <a16:creationId xmlns:a16="http://schemas.microsoft.com/office/drawing/2014/main" id="{ADEF86A6-C986-4F46-8A4D-1CF46C82FC44}"/>
              </a:ext>
            </a:extLst>
          </p:cNvPr>
          <p:cNvPicPr>
            <a:picLocks noChangeAspect="1"/>
          </p:cNvPicPr>
          <p:nvPr/>
        </p:nvPicPr>
        <p:blipFill>
          <a:blip r:embed="rId5"/>
          <a:stretch>
            <a:fillRect/>
          </a:stretch>
        </p:blipFill>
        <p:spPr>
          <a:xfrm>
            <a:off x="135635" y="233528"/>
            <a:ext cx="11530012" cy="6533984"/>
          </a:xfrm>
          <a:prstGeom prst="rect">
            <a:avLst/>
          </a:prstGeom>
        </p:spPr>
      </p:pic>
    </p:spTree>
    <p:extLst>
      <p:ext uri="{BB962C8B-B14F-4D97-AF65-F5344CB8AC3E}">
        <p14:creationId xmlns:p14="http://schemas.microsoft.com/office/powerpoint/2010/main" val="2886935482"/>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s-PE" sz="2800" dirty="0">
                <a:latin typeface="MMC Display"/>
              </a:rPr>
              <a:t>El panorama de ciberseguridad cambia rápidamente y las organizaciones deben estar preparadas para hacerle frente</a:t>
            </a:r>
          </a:p>
        </p:txBody>
      </p:sp>
      <p:grpSp>
        <p:nvGrpSpPr>
          <p:cNvPr id="2" name="Group 1"/>
          <p:cNvGrpSpPr/>
          <p:nvPr/>
        </p:nvGrpSpPr>
        <p:grpSpPr>
          <a:xfrm>
            <a:off x="643350" y="1507734"/>
            <a:ext cx="11122662" cy="4729776"/>
            <a:chOff x="566322" y="2597636"/>
            <a:chExt cx="19704472" cy="8379086"/>
          </a:xfrm>
        </p:grpSpPr>
        <p:sp>
          <p:nvSpPr>
            <p:cNvPr id="95" name="Rectángulo 71">
              <a:extLst>
                <a:ext uri="{FF2B5EF4-FFF2-40B4-BE49-F238E27FC236}">
                  <a16:creationId xmlns:a16="http://schemas.microsoft.com/office/drawing/2014/main" id="{18F23870-1C9E-BC23-45F3-B9A2C39E3B44}"/>
                </a:ext>
              </a:extLst>
            </p:cNvPr>
            <p:cNvSpPr/>
            <p:nvPr/>
          </p:nvSpPr>
          <p:spPr>
            <a:xfrm>
              <a:off x="708011" y="5527112"/>
              <a:ext cx="6027704" cy="2527295"/>
            </a:xfrm>
            <a:prstGeom prst="rect">
              <a:avLst/>
            </a:prstGeom>
            <a:noFill/>
            <a:ln>
              <a:noFill/>
              <a:prstDash val="dash"/>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53923"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202020"/>
                </a:solidFill>
                <a:effectLst/>
                <a:uLnTx/>
                <a:uFillTx/>
              </a:endParaRPr>
            </a:p>
          </p:txBody>
        </p:sp>
        <p:sp>
          <p:nvSpPr>
            <p:cNvPr id="96" name="Rectángulo 73">
              <a:extLst>
                <a:ext uri="{FF2B5EF4-FFF2-40B4-BE49-F238E27FC236}">
                  <a16:creationId xmlns:a16="http://schemas.microsoft.com/office/drawing/2014/main" id="{CFF657E8-1FCD-35C5-5D8C-054EC87005CD}"/>
                </a:ext>
              </a:extLst>
            </p:cNvPr>
            <p:cNvSpPr/>
            <p:nvPr/>
          </p:nvSpPr>
          <p:spPr>
            <a:xfrm>
              <a:off x="13197538" y="2837310"/>
              <a:ext cx="6546498" cy="3312615"/>
            </a:xfrm>
            <a:prstGeom prst="rect">
              <a:avLst/>
            </a:prstGeom>
            <a:noFill/>
            <a:ln>
              <a:noFill/>
              <a:prstDash val="dash"/>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53923"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202020"/>
                </a:solidFill>
                <a:effectLst/>
                <a:uLnTx/>
                <a:uFillTx/>
              </a:endParaRPr>
            </a:p>
          </p:txBody>
        </p:sp>
        <p:sp>
          <p:nvSpPr>
            <p:cNvPr id="97" name="Rectángulo 75">
              <a:extLst>
                <a:ext uri="{FF2B5EF4-FFF2-40B4-BE49-F238E27FC236}">
                  <a16:creationId xmlns:a16="http://schemas.microsoft.com/office/drawing/2014/main" id="{6E68AE0F-8998-A300-F780-ADDD38928256}"/>
                </a:ext>
              </a:extLst>
            </p:cNvPr>
            <p:cNvSpPr/>
            <p:nvPr/>
          </p:nvSpPr>
          <p:spPr>
            <a:xfrm>
              <a:off x="14226995" y="7137868"/>
              <a:ext cx="5517042" cy="2920532"/>
            </a:xfrm>
            <a:prstGeom prst="rect">
              <a:avLst/>
            </a:prstGeom>
            <a:noFill/>
            <a:ln>
              <a:noFill/>
              <a:prstDash val="dash"/>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53923"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202020"/>
                </a:solidFill>
                <a:effectLst/>
                <a:uLnTx/>
                <a:uFillTx/>
              </a:endParaRPr>
            </a:p>
          </p:txBody>
        </p:sp>
        <p:sp>
          <p:nvSpPr>
            <p:cNvPr id="98" name="Rectángulo 77">
              <a:extLst>
                <a:ext uri="{FF2B5EF4-FFF2-40B4-BE49-F238E27FC236}">
                  <a16:creationId xmlns:a16="http://schemas.microsoft.com/office/drawing/2014/main" id="{1840823D-F3A3-62CD-1127-E2C4750BACC5}"/>
                </a:ext>
              </a:extLst>
            </p:cNvPr>
            <p:cNvSpPr/>
            <p:nvPr/>
          </p:nvSpPr>
          <p:spPr>
            <a:xfrm>
              <a:off x="1261479" y="8489983"/>
              <a:ext cx="7194326" cy="2486739"/>
            </a:xfrm>
            <a:prstGeom prst="rect">
              <a:avLst/>
            </a:prstGeom>
            <a:noFill/>
            <a:ln>
              <a:noFill/>
              <a:prstDash val="dash"/>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53923"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202020"/>
                </a:solidFill>
                <a:effectLst/>
                <a:uLnTx/>
                <a:uFillTx/>
              </a:endParaRPr>
            </a:p>
          </p:txBody>
        </p:sp>
        <p:sp>
          <p:nvSpPr>
            <p:cNvPr id="99" name="Rectángulo 5">
              <a:extLst>
                <a:ext uri="{FF2B5EF4-FFF2-40B4-BE49-F238E27FC236}">
                  <a16:creationId xmlns:a16="http://schemas.microsoft.com/office/drawing/2014/main" id="{2CEDE5B9-2848-AECC-6544-89F923122E96}"/>
                </a:ext>
              </a:extLst>
            </p:cNvPr>
            <p:cNvSpPr/>
            <p:nvPr/>
          </p:nvSpPr>
          <p:spPr>
            <a:xfrm>
              <a:off x="708011" y="2597636"/>
              <a:ext cx="6027703" cy="2589120"/>
            </a:xfrm>
            <a:prstGeom prst="rect">
              <a:avLst/>
            </a:prstGeom>
            <a:noFill/>
            <a:ln>
              <a:noFill/>
              <a:prstDash val="dash"/>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53923"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202020"/>
                </a:solidFill>
                <a:effectLst/>
                <a:uLnTx/>
                <a:uFillTx/>
              </a:endParaRPr>
            </a:p>
          </p:txBody>
        </p:sp>
        <p:sp>
          <p:nvSpPr>
            <p:cNvPr id="100" name="Oval 10">
              <a:extLst>
                <a:ext uri="{FF2B5EF4-FFF2-40B4-BE49-F238E27FC236}">
                  <a16:creationId xmlns:a16="http://schemas.microsoft.com/office/drawing/2014/main" id="{AD2E5E06-85F5-373B-A367-B75BBDEA583E}"/>
                </a:ext>
              </a:extLst>
            </p:cNvPr>
            <p:cNvSpPr>
              <a:spLocks noChangeAspect="1"/>
            </p:cNvSpPr>
            <p:nvPr/>
          </p:nvSpPr>
          <p:spPr>
            <a:xfrm rot="821239" flipV="1">
              <a:off x="7752988" y="3776296"/>
              <a:ext cx="5068708" cy="5068708"/>
            </a:xfrm>
            <a:prstGeom prst="ellipse">
              <a:avLst/>
            </a:prstGeom>
            <a:noFill/>
            <a:ln w="44450" cap="flat" cmpd="sng" algn="ctr">
              <a:solidFill>
                <a:srgbClr val="8096B2"/>
              </a:solidFill>
              <a:prstDash val="solid"/>
              <a:miter lim="800000"/>
            </a:ln>
            <a:effectLst/>
          </p:spPr>
          <p:txBody>
            <a:bodyPr rtlCol="0" anchor="ctr"/>
            <a:lstStyle/>
            <a:p>
              <a:pPr marL="0" marR="0" lvl="0" indent="0" algn="ctr" defTabSz="753923"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01" name="Oval 100">
              <a:extLst>
                <a:ext uri="{FF2B5EF4-FFF2-40B4-BE49-F238E27FC236}">
                  <a16:creationId xmlns:a16="http://schemas.microsoft.com/office/drawing/2014/main" id="{E2C5A68C-CAD4-5C4C-AA16-6306052E921D}"/>
                </a:ext>
              </a:extLst>
            </p:cNvPr>
            <p:cNvSpPr>
              <a:spLocks noChangeAspect="1"/>
            </p:cNvSpPr>
            <p:nvPr/>
          </p:nvSpPr>
          <p:spPr>
            <a:xfrm flipV="1">
              <a:off x="11108805" y="3652470"/>
              <a:ext cx="1481812" cy="1481812"/>
            </a:xfrm>
            <a:prstGeom prst="ellipse">
              <a:avLst/>
            </a:prstGeom>
            <a:solidFill>
              <a:srgbClr val="009DE0"/>
            </a:solidFill>
            <a:ln w="6350" cap="flat" cmpd="sng" algn="ctr">
              <a:noFill/>
              <a:prstDash val="solid"/>
              <a:miter lim="800000"/>
            </a:ln>
            <a:effectLst/>
          </p:spPr>
          <p:txBody>
            <a:bodyPr rtlCol="0" anchor="ctr"/>
            <a:lstStyle/>
            <a:p>
              <a:pPr marL="0" marR="0" lvl="0" indent="0" algn="ctr" defTabSz="753923"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02" name="Oval 101">
              <a:extLst>
                <a:ext uri="{FF2B5EF4-FFF2-40B4-BE49-F238E27FC236}">
                  <a16:creationId xmlns:a16="http://schemas.microsoft.com/office/drawing/2014/main" id="{A6E104E2-4C72-054D-853A-58210EE86E12}"/>
                </a:ext>
              </a:extLst>
            </p:cNvPr>
            <p:cNvSpPr>
              <a:spLocks noChangeAspect="1"/>
            </p:cNvSpPr>
            <p:nvPr/>
          </p:nvSpPr>
          <p:spPr>
            <a:xfrm flipV="1">
              <a:off x="7374483" y="6527341"/>
              <a:ext cx="1481812" cy="1481812"/>
            </a:xfrm>
            <a:prstGeom prst="ellipse">
              <a:avLst/>
            </a:prstGeom>
            <a:solidFill>
              <a:srgbClr val="76D3FF"/>
            </a:solidFill>
            <a:ln w="6350" cap="flat" cmpd="sng" algn="ctr">
              <a:noFill/>
              <a:prstDash val="solid"/>
              <a:miter lim="800000"/>
            </a:ln>
            <a:effectLst/>
          </p:spPr>
          <p:txBody>
            <a:bodyPr rtlCol="0" anchor="ctr"/>
            <a:lstStyle/>
            <a:p>
              <a:pPr marL="0" marR="0" lvl="0" indent="0" algn="ctr" defTabSz="753923"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03" name="Oval 102">
              <a:extLst>
                <a:ext uri="{FF2B5EF4-FFF2-40B4-BE49-F238E27FC236}">
                  <a16:creationId xmlns:a16="http://schemas.microsoft.com/office/drawing/2014/main" id="{DDF79F90-7CB3-1F45-84CB-4C2202E28632}"/>
                </a:ext>
              </a:extLst>
            </p:cNvPr>
            <p:cNvSpPr>
              <a:spLocks noChangeAspect="1"/>
            </p:cNvSpPr>
            <p:nvPr/>
          </p:nvSpPr>
          <p:spPr>
            <a:xfrm flipV="1">
              <a:off x="7988688" y="3680050"/>
              <a:ext cx="1481812" cy="1481812"/>
            </a:xfrm>
            <a:prstGeom prst="ellipse">
              <a:avLst/>
            </a:prstGeom>
            <a:solidFill>
              <a:srgbClr val="002C77"/>
            </a:solidFill>
            <a:ln w="6350" cap="flat" cmpd="sng" algn="ctr">
              <a:noFill/>
              <a:prstDash val="solid"/>
              <a:miter lim="800000"/>
            </a:ln>
            <a:effectLst/>
          </p:spPr>
          <p:txBody>
            <a:bodyPr rtlCol="0" anchor="ctr"/>
            <a:lstStyle/>
            <a:p>
              <a:pPr marL="0" marR="0" lvl="0" indent="0" algn="ctr" defTabSz="753923"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04" name="Oval 10">
              <a:extLst>
                <a:ext uri="{FF2B5EF4-FFF2-40B4-BE49-F238E27FC236}">
                  <a16:creationId xmlns:a16="http://schemas.microsoft.com/office/drawing/2014/main" id="{DDF79F90-7CB3-1F45-84CB-4C2202E28632}"/>
                </a:ext>
              </a:extLst>
            </p:cNvPr>
            <p:cNvSpPr>
              <a:spLocks noChangeAspect="1"/>
            </p:cNvSpPr>
            <p:nvPr/>
          </p:nvSpPr>
          <p:spPr>
            <a:xfrm flipV="1">
              <a:off x="9733879" y="8043155"/>
              <a:ext cx="1481812" cy="1481812"/>
            </a:xfrm>
            <a:prstGeom prst="ellipse">
              <a:avLst/>
            </a:prstGeom>
            <a:solidFill>
              <a:srgbClr val="00968F"/>
            </a:solidFill>
            <a:ln w="6350" cap="flat" cmpd="sng" algn="ctr">
              <a:noFill/>
              <a:prstDash val="solid"/>
              <a:miter lim="800000"/>
            </a:ln>
            <a:effectLst/>
          </p:spPr>
          <p:txBody>
            <a:bodyPr rtlCol="0" anchor="ctr"/>
            <a:lstStyle/>
            <a:p>
              <a:pPr marL="0" marR="0" lvl="0" indent="0" algn="ctr" defTabSz="753923"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202020"/>
                </a:solidFill>
                <a:effectLst/>
                <a:uLnTx/>
                <a:uFillTx/>
                <a:latin typeface="Calibri" panose="020F0502020204030204"/>
                <a:ea typeface="+mn-ea"/>
                <a:cs typeface="+mn-cs"/>
              </a:endParaRPr>
            </a:p>
          </p:txBody>
        </p:sp>
        <p:sp>
          <p:nvSpPr>
            <p:cNvPr id="105" name="Oval 9">
              <a:extLst>
                <a:ext uri="{FF2B5EF4-FFF2-40B4-BE49-F238E27FC236}">
                  <a16:creationId xmlns:a16="http://schemas.microsoft.com/office/drawing/2014/main" id="{A6E104E2-4C72-054D-853A-58210EE86E12}"/>
                </a:ext>
              </a:extLst>
            </p:cNvPr>
            <p:cNvSpPr>
              <a:spLocks noChangeAspect="1"/>
            </p:cNvSpPr>
            <p:nvPr/>
          </p:nvSpPr>
          <p:spPr>
            <a:xfrm flipV="1">
              <a:off x="11867599" y="6489711"/>
              <a:ext cx="1481812" cy="1481812"/>
            </a:xfrm>
            <a:prstGeom prst="ellipse">
              <a:avLst/>
            </a:prstGeom>
            <a:solidFill>
              <a:srgbClr val="0077A0"/>
            </a:solidFill>
            <a:ln w="6350" cap="flat" cmpd="sng" algn="ctr">
              <a:noFill/>
              <a:prstDash val="solid"/>
              <a:miter lim="800000"/>
            </a:ln>
            <a:effectLst/>
          </p:spPr>
          <p:txBody>
            <a:bodyPr rtlCol="0" anchor="ctr"/>
            <a:lstStyle/>
            <a:p>
              <a:pPr marL="0" marR="0" lvl="0" indent="0" algn="ctr" defTabSz="753923"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06" name="CuadroTexto 82">
              <a:extLst>
                <a:ext uri="{FF2B5EF4-FFF2-40B4-BE49-F238E27FC236}">
                  <a16:creationId xmlns:a16="http://schemas.microsoft.com/office/drawing/2014/main" id="{7223DC3F-E7E1-55DD-1987-80112EE7176E}"/>
                </a:ext>
              </a:extLst>
            </p:cNvPr>
            <p:cNvSpPr txBox="1"/>
            <p:nvPr/>
          </p:nvSpPr>
          <p:spPr>
            <a:xfrm>
              <a:off x="13724296" y="3090511"/>
              <a:ext cx="6546498" cy="926916"/>
            </a:xfrm>
            <a:prstGeom prst="rect">
              <a:avLst/>
            </a:prstGeom>
            <a:noFill/>
          </p:spPr>
          <p:txBody>
            <a:bodyPr wrap="square" l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PE" sz="1400" b="1" i="0" u="none" strike="noStrike" kern="0" cap="none" spc="0" normalizeH="0" baseline="0" noProof="0" dirty="0">
                  <a:ln>
                    <a:noFill/>
                  </a:ln>
                  <a:solidFill>
                    <a:schemeClr val="accent2"/>
                  </a:solidFill>
                  <a:effectLst/>
                  <a:uLnTx/>
                  <a:uFillTx/>
                </a:rPr>
                <a:t>El trabajo remoto está creando nuevos retos a nivel de ciberseguridad</a:t>
              </a:r>
            </a:p>
          </p:txBody>
        </p:sp>
        <p:sp>
          <p:nvSpPr>
            <p:cNvPr id="107" name="CuadroTexto 84">
              <a:extLst>
                <a:ext uri="{FF2B5EF4-FFF2-40B4-BE49-F238E27FC236}">
                  <a16:creationId xmlns:a16="http://schemas.microsoft.com/office/drawing/2014/main" id="{539DA271-145E-9E6E-72B7-5F79496DEC24}"/>
                </a:ext>
              </a:extLst>
            </p:cNvPr>
            <p:cNvSpPr txBox="1"/>
            <p:nvPr/>
          </p:nvSpPr>
          <p:spPr>
            <a:xfrm>
              <a:off x="566322" y="3251989"/>
              <a:ext cx="5135847" cy="926916"/>
            </a:xfrm>
            <a:prstGeom prst="rect">
              <a:avLst/>
            </a:prstGeom>
            <a:noFill/>
          </p:spPr>
          <p:txBody>
            <a:bodyPr wrap="square" lIns="0">
              <a:spAutoFit/>
            </a:bodyPr>
            <a:lstStyle/>
            <a:p>
              <a:pPr marL="0" marR="0" lvl="0" indent="0" defTabSz="753923" eaLnBrk="1" fontAlgn="auto" latinLnBrk="0" hangingPunct="1">
                <a:lnSpc>
                  <a:spcPct val="100000"/>
                </a:lnSpc>
                <a:spcBef>
                  <a:spcPts val="0"/>
                </a:spcBef>
                <a:spcAft>
                  <a:spcPts val="0"/>
                </a:spcAft>
                <a:buClrTx/>
                <a:buSzTx/>
                <a:buFontTx/>
                <a:buNone/>
                <a:tabLst/>
                <a:defRPr/>
              </a:pPr>
              <a:r>
                <a:rPr kumimoji="0" lang="es-CO" sz="1400" b="1" i="0" u="none" strike="noStrike" kern="0" cap="none" spc="0" normalizeH="0" baseline="0" noProof="0" dirty="0">
                  <a:ln>
                    <a:noFill/>
                  </a:ln>
                  <a:solidFill>
                    <a:schemeClr val="accent1"/>
                  </a:solidFill>
                  <a:effectLst/>
                  <a:uLnTx/>
                  <a:uFillTx/>
                </a:rPr>
                <a:t>Incremento en la sofisticación </a:t>
              </a:r>
              <a:br>
                <a:rPr kumimoji="0" lang="es-CO" sz="1400" b="1" i="0" u="none" strike="noStrike" kern="0" cap="none" spc="0" normalizeH="0" baseline="0" noProof="0" dirty="0">
                  <a:ln>
                    <a:noFill/>
                  </a:ln>
                  <a:solidFill>
                    <a:schemeClr val="accent1"/>
                  </a:solidFill>
                  <a:effectLst/>
                  <a:uLnTx/>
                  <a:uFillTx/>
                </a:rPr>
              </a:br>
              <a:r>
                <a:rPr kumimoji="0" lang="es-CO" sz="1400" b="1" i="0" u="none" strike="noStrike" kern="0" cap="none" spc="0" normalizeH="0" baseline="0" noProof="0" dirty="0">
                  <a:ln>
                    <a:noFill/>
                  </a:ln>
                  <a:solidFill>
                    <a:schemeClr val="accent1"/>
                  </a:solidFill>
                  <a:effectLst/>
                  <a:uLnTx/>
                  <a:uFillTx/>
                </a:rPr>
                <a:t>de ciberataques</a:t>
              </a:r>
              <a:endParaRPr kumimoji="0" lang="en-US" sz="1400" b="0" i="0" u="none" strike="noStrike" kern="0" cap="none" spc="0" normalizeH="0" baseline="0" noProof="0" dirty="0">
                <a:ln>
                  <a:noFill/>
                </a:ln>
                <a:solidFill>
                  <a:schemeClr val="accent1"/>
                </a:solidFill>
                <a:effectLst/>
                <a:uLnTx/>
                <a:uFillTx/>
              </a:endParaRPr>
            </a:p>
          </p:txBody>
        </p:sp>
        <p:sp>
          <p:nvSpPr>
            <p:cNvPr id="108" name="CuadroTexto 86">
              <a:extLst>
                <a:ext uri="{FF2B5EF4-FFF2-40B4-BE49-F238E27FC236}">
                  <a16:creationId xmlns:a16="http://schemas.microsoft.com/office/drawing/2014/main" id="{ED4945FD-33E8-5A7E-0CDA-34CEBDBA696C}"/>
                </a:ext>
              </a:extLst>
            </p:cNvPr>
            <p:cNvSpPr txBox="1"/>
            <p:nvPr/>
          </p:nvSpPr>
          <p:spPr>
            <a:xfrm>
              <a:off x="13724296" y="6775070"/>
              <a:ext cx="5517043" cy="926916"/>
            </a:xfrm>
            <a:prstGeom prst="rect">
              <a:avLst/>
            </a:prstGeom>
            <a:noFill/>
          </p:spPr>
          <p:txBody>
            <a:bodyPr wrap="square" l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PE" sz="1400" b="1" i="0" u="none" strike="noStrike" kern="0" cap="none" spc="0" normalizeH="0" baseline="0" noProof="0" dirty="0">
                  <a:ln>
                    <a:noFill/>
                  </a:ln>
                  <a:solidFill>
                    <a:schemeClr val="accent4"/>
                  </a:solidFill>
                  <a:effectLst/>
                  <a:uLnTx/>
                  <a:uFillTx/>
                </a:rPr>
                <a:t>La Nube puede incrementar </a:t>
              </a:r>
              <a:br>
                <a:rPr kumimoji="0" lang="es-PE" sz="1400" b="1" i="0" u="none" strike="noStrike" kern="0" cap="none" spc="0" normalizeH="0" baseline="0" noProof="0" dirty="0">
                  <a:ln>
                    <a:noFill/>
                  </a:ln>
                  <a:solidFill>
                    <a:schemeClr val="accent4"/>
                  </a:solidFill>
                  <a:effectLst/>
                  <a:uLnTx/>
                  <a:uFillTx/>
                </a:rPr>
              </a:br>
              <a:r>
                <a:rPr kumimoji="0" lang="es-PE" sz="1400" b="1" i="0" u="none" strike="noStrike" kern="0" cap="none" spc="0" normalizeH="0" baseline="0" noProof="0" dirty="0">
                  <a:ln>
                    <a:noFill/>
                  </a:ln>
                  <a:solidFill>
                    <a:schemeClr val="accent4"/>
                  </a:solidFill>
                  <a:effectLst/>
                  <a:uLnTx/>
                  <a:uFillTx/>
                </a:rPr>
                <a:t>las vulnerabilidades</a:t>
              </a:r>
            </a:p>
          </p:txBody>
        </p:sp>
        <p:sp>
          <p:nvSpPr>
            <p:cNvPr id="109" name="CuadroTexto 88">
              <a:extLst>
                <a:ext uri="{FF2B5EF4-FFF2-40B4-BE49-F238E27FC236}">
                  <a16:creationId xmlns:a16="http://schemas.microsoft.com/office/drawing/2014/main" id="{FF68DBC2-1248-05F6-68A8-5E956F50A328}"/>
                </a:ext>
              </a:extLst>
            </p:cNvPr>
            <p:cNvSpPr txBox="1"/>
            <p:nvPr/>
          </p:nvSpPr>
          <p:spPr>
            <a:xfrm>
              <a:off x="4720149" y="8931848"/>
              <a:ext cx="4628291" cy="926916"/>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PE" sz="1400" b="1" i="0" u="none" strike="noStrike" kern="0" cap="none" spc="0" normalizeH="0" baseline="0" noProof="0" dirty="0">
                  <a:ln>
                    <a:noFill/>
                  </a:ln>
                  <a:solidFill>
                    <a:schemeClr val="accent5"/>
                  </a:solidFill>
                  <a:effectLst/>
                  <a:uLnTx/>
                  <a:uFillTx/>
                </a:rPr>
                <a:t>Desarrollo de capacidades internas de ciber-resiliencia</a:t>
              </a:r>
            </a:p>
          </p:txBody>
        </p:sp>
        <p:sp>
          <p:nvSpPr>
            <p:cNvPr id="110" name="CuadroTexto 90">
              <a:extLst>
                <a:ext uri="{FF2B5EF4-FFF2-40B4-BE49-F238E27FC236}">
                  <a16:creationId xmlns:a16="http://schemas.microsoft.com/office/drawing/2014/main" id="{BACE20E2-4A6A-2761-B2AD-BFB716963C75}"/>
                </a:ext>
              </a:extLst>
            </p:cNvPr>
            <p:cNvSpPr txBox="1"/>
            <p:nvPr/>
          </p:nvSpPr>
          <p:spPr>
            <a:xfrm>
              <a:off x="566322" y="6327344"/>
              <a:ext cx="5840861" cy="926916"/>
            </a:xfrm>
            <a:prstGeom prst="rect">
              <a:avLst/>
            </a:prstGeom>
            <a:noFill/>
          </p:spPr>
          <p:txBody>
            <a:bodyPr wrap="square" l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PE" sz="1400" b="1" i="0" u="none" strike="noStrike" kern="0" cap="none" spc="0" normalizeH="0" baseline="0" noProof="0" dirty="0">
                  <a:ln>
                    <a:noFill/>
                  </a:ln>
                  <a:solidFill>
                    <a:schemeClr val="accent3">
                      <a:lumMod val="75000"/>
                    </a:schemeClr>
                  </a:solidFill>
                  <a:effectLst/>
                  <a:uLnTx/>
                  <a:uFillTx/>
                </a:rPr>
                <a:t>La tecnología y la transformación digital amplían la superficie de ataque</a:t>
              </a:r>
            </a:p>
          </p:txBody>
        </p:sp>
        <p:pic>
          <p:nvPicPr>
            <p:cNvPr id="111" name="Gráfico 68">
              <a:extLst>
                <a:ext uri="{FF2B5EF4-FFF2-40B4-BE49-F238E27FC236}">
                  <a16:creationId xmlns:a16="http://schemas.microsoft.com/office/drawing/2014/main" id="{5AB9EFC1-2EB7-E61D-A649-849448F370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10537" y="4017427"/>
              <a:ext cx="807414" cy="807414"/>
            </a:xfrm>
            <a:prstGeom prst="rect">
              <a:avLst/>
            </a:prstGeom>
          </p:spPr>
        </p:pic>
        <p:pic>
          <p:nvPicPr>
            <p:cNvPr id="112" name="Gráfico 70">
              <a:extLst>
                <a:ext uri="{FF2B5EF4-FFF2-40B4-BE49-F238E27FC236}">
                  <a16:creationId xmlns:a16="http://schemas.microsoft.com/office/drawing/2014/main" id="{4E782539-514C-8353-B006-38EC92D608A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412955" y="3931363"/>
              <a:ext cx="873511" cy="873511"/>
            </a:xfrm>
            <a:prstGeom prst="rect">
              <a:avLst/>
            </a:prstGeom>
          </p:spPr>
        </p:pic>
        <p:sp>
          <p:nvSpPr>
            <p:cNvPr id="113" name="Rectangle 38">
              <a:extLst>
                <a:ext uri="{FF2B5EF4-FFF2-40B4-BE49-F238E27FC236}">
                  <a16:creationId xmlns:a16="http://schemas.microsoft.com/office/drawing/2014/main" id="{071CFC16-739C-EA07-853A-41DA6EBCE807}"/>
                </a:ext>
              </a:extLst>
            </p:cNvPr>
            <p:cNvSpPr/>
            <p:nvPr/>
          </p:nvSpPr>
          <p:spPr>
            <a:xfrm>
              <a:off x="566322" y="4143635"/>
              <a:ext cx="5710710" cy="1431267"/>
            </a:xfrm>
            <a:prstGeom prst="rect">
              <a:avLst/>
            </a:prstGeom>
          </p:spPr>
          <p:txBody>
            <a:bodyPr wrap="square" lIns="0" tIns="0" rIns="0" bIns="0">
              <a:spAutoFit/>
            </a:bodyPr>
            <a:lstStyle/>
            <a:p>
              <a:pPr fontAlgn="ctr"/>
              <a:r>
                <a:rPr lang="es-PE" sz="1050" dirty="0">
                  <a:solidFill>
                    <a:prstClr val="black"/>
                  </a:solidFill>
                  <a:cs typeface="Arial" panose="020B0604020202020204" pitchFamily="34" charset="0"/>
                </a:rPr>
                <a:t>Los ciberataques se están volviendo cada vez más peligrosos a medida que emplean nuevos métodos que aprovechan técnicas de ingeniería social e incluso inteligencia artificial para superar los controles de seguridad tradicionales.</a:t>
              </a:r>
            </a:p>
          </p:txBody>
        </p:sp>
        <p:sp>
          <p:nvSpPr>
            <p:cNvPr id="114" name="Rectangle 40">
              <a:extLst>
                <a:ext uri="{FF2B5EF4-FFF2-40B4-BE49-F238E27FC236}">
                  <a16:creationId xmlns:a16="http://schemas.microsoft.com/office/drawing/2014/main" id="{3A059A3D-F3EE-8833-833D-7A9CDE27DEE8}"/>
                </a:ext>
              </a:extLst>
            </p:cNvPr>
            <p:cNvSpPr/>
            <p:nvPr/>
          </p:nvSpPr>
          <p:spPr>
            <a:xfrm>
              <a:off x="13724296" y="4030822"/>
              <a:ext cx="5996633" cy="2003775"/>
            </a:xfrm>
            <a:prstGeom prst="rect">
              <a:avLst/>
            </a:prstGeom>
          </p:spPr>
          <p:txBody>
            <a:bodyPr wrap="square" lIns="0" tIns="0" rIns="0" bIns="0">
              <a:spAutoFit/>
            </a:bodyPr>
            <a:lstStyle/>
            <a:p>
              <a:pPr fontAlgn="ctr"/>
              <a:r>
                <a:rPr lang="es-PE" sz="1050" dirty="0">
                  <a:solidFill>
                    <a:prstClr val="black"/>
                  </a:solidFill>
                  <a:cs typeface="Arial" panose="020B0604020202020204" pitchFamily="34" charset="0"/>
                </a:rPr>
                <a:t>A partir de la pandemia, los colaboradores y terceros no están protegidos permanentemente detrás de los sistemas de seguridad perimetral de la organización.</a:t>
              </a:r>
            </a:p>
            <a:p>
              <a:pPr fontAlgn="ctr"/>
              <a:r>
                <a:rPr lang="es-PE" sz="1050" dirty="0">
                  <a:solidFill>
                    <a:prstClr val="black"/>
                  </a:solidFill>
                  <a:cs typeface="Arial" panose="020B0604020202020204" pitchFamily="34" charset="0"/>
                </a:rPr>
                <a:t>El acceso desde ubicaciones remotas con base en la identidad del usuario requiere estrategias que tengan en cuenta soluciones de gestión de acceso e identidades bien definidas.</a:t>
              </a:r>
            </a:p>
          </p:txBody>
        </p:sp>
        <p:sp>
          <p:nvSpPr>
            <p:cNvPr id="115" name="Rectangle 36">
              <a:extLst>
                <a:ext uri="{FF2B5EF4-FFF2-40B4-BE49-F238E27FC236}">
                  <a16:creationId xmlns:a16="http://schemas.microsoft.com/office/drawing/2014/main" id="{13D8928E-3011-28A1-48AC-99441B64B2E0}"/>
                </a:ext>
              </a:extLst>
            </p:cNvPr>
            <p:cNvSpPr/>
            <p:nvPr/>
          </p:nvSpPr>
          <p:spPr>
            <a:xfrm>
              <a:off x="13724296" y="7631223"/>
              <a:ext cx="5186616" cy="1717521"/>
            </a:xfrm>
            <a:prstGeom prst="rect">
              <a:avLst/>
            </a:prstGeom>
          </p:spPr>
          <p:txBody>
            <a:bodyPr wrap="square" lIns="0" tIns="0" rIns="0" bIns="0">
              <a:spAutoFit/>
            </a:bodyPr>
            <a:lstStyle/>
            <a:p>
              <a:pPr fontAlgn="ctr"/>
              <a:r>
                <a:rPr lang="es-PE" sz="1050" dirty="0">
                  <a:solidFill>
                    <a:prstClr val="black"/>
                  </a:solidFill>
                  <a:cs typeface="Arial" panose="020B0604020202020204" pitchFamily="34" charset="0"/>
                </a:rPr>
                <a:t>La Nube brinda grandes beneficios en cuanto a escalamiento, elasticidad y capacidades de protección de la data sensible; sin embargo, también incrementa los riesgos de una brecha de datos si no se aplican y monitorean controles de acceso adecuados.</a:t>
              </a:r>
            </a:p>
          </p:txBody>
        </p:sp>
        <p:sp>
          <p:nvSpPr>
            <p:cNvPr id="116" name="Rectangle 42">
              <a:extLst>
                <a:ext uri="{FF2B5EF4-FFF2-40B4-BE49-F238E27FC236}">
                  <a16:creationId xmlns:a16="http://schemas.microsoft.com/office/drawing/2014/main" id="{5873D601-358A-E4CC-A468-EA898A606E42}"/>
                </a:ext>
              </a:extLst>
            </p:cNvPr>
            <p:cNvSpPr/>
            <p:nvPr/>
          </p:nvSpPr>
          <p:spPr>
            <a:xfrm>
              <a:off x="4884542" y="9762849"/>
              <a:ext cx="7061144" cy="1145015"/>
            </a:xfrm>
            <a:prstGeom prst="rect">
              <a:avLst/>
            </a:prstGeom>
          </p:spPr>
          <p:txBody>
            <a:bodyPr wrap="square" lIns="0" tIns="0" rIns="0" bIns="0">
              <a:spAutoFit/>
            </a:bodyPr>
            <a:lstStyle/>
            <a:p>
              <a:pPr fontAlgn="ctr"/>
              <a:r>
                <a:rPr lang="es-PE" sz="1050" dirty="0">
                  <a:solidFill>
                    <a:prstClr val="black"/>
                  </a:solidFill>
                  <a:cs typeface="Arial" panose="020B0604020202020204" pitchFamily="34" charset="0"/>
                </a:rPr>
                <a:t>Las aseguradoras que ofrecen seguros de riesgo cibernético están buscando mejorar el ratio de pérdida y brindando una mayor importancia al desarrollo de capacidades para que las organizaciones estén protegidas frente a </a:t>
              </a:r>
              <a:r>
                <a:rPr lang="es-PE" sz="1050" dirty="0" err="1">
                  <a:solidFill>
                    <a:prstClr val="black"/>
                  </a:solidFill>
                  <a:cs typeface="Arial" panose="020B0604020202020204" pitchFamily="34" charset="0"/>
                </a:rPr>
                <a:t>ciberamenazas</a:t>
              </a:r>
              <a:r>
                <a:rPr lang="es-PE" sz="1050" dirty="0">
                  <a:solidFill>
                    <a:prstClr val="black"/>
                  </a:solidFill>
                  <a:cs typeface="Arial" panose="020B0604020202020204" pitchFamily="34" charset="0"/>
                </a:rPr>
                <a:t>.</a:t>
              </a:r>
            </a:p>
          </p:txBody>
        </p:sp>
        <p:sp>
          <p:nvSpPr>
            <p:cNvPr id="117" name="Rectangle 36">
              <a:extLst>
                <a:ext uri="{FF2B5EF4-FFF2-40B4-BE49-F238E27FC236}">
                  <a16:creationId xmlns:a16="http://schemas.microsoft.com/office/drawing/2014/main" id="{7FBBA570-F2DD-4C29-12A9-83D23CC60916}"/>
                </a:ext>
              </a:extLst>
            </p:cNvPr>
            <p:cNvSpPr/>
            <p:nvPr/>
          </p:nvSpPr>
          <p:spPr>
            <a:xfrm>
              <a:off x="566322" y="7192703"/>
              <a:ext cx="5628151" cy="1145015"/>
            </a:xfrm>
            <a:prstGeom prst="rect">
              <a:avLst/>
            </a:prstGeom>
          </p:spPr>
          <p:txBody>
            <a:bodyPr wrap="square" lIns="0" tIns="0" rIns="0" bIns="0">
              <a:spAutoFit/>
            </a:bodyPr>
            <a:lstStyle/>
            <a:p>
              <a:pPr fontAlgn="ctr"/>
              <a:r>
                <a:rPr lang="es-PE" sz="1050" dirty="0">
                  <a:solidFill>
                    <a:prstClr val="black"/>
                  </a:solidFill>
                  <a:cs typeface="Arial" panose="020B0604020202020204" pitchFamily="34" charset="0"/>
                </a:rPr>
                <a:t>El aumento de la dependencia tecnológica ayuda a los clientes a interactuar con los negocios con mayor facilidad, pero también incrementa los posibles puntos de falla.</a:t>
              </a:r>
            </a:p>
          </p:txBody>
        </p:sp>
        <p:pic>
          <p:nvPicPr>
            <p:cNvPr id="124" name="Gráfico 87">
              <a:extLst>
                <a:ext uri="{FF2B5EF4-FFF2-40B4-BE49-F238E27FC236}">
                  <a16:creationId xmlns:a16="http://schemas.microsoft.com/office/drawing/2014/main" id="{1732A845-BE0A-BF49-166A-6C5607EBC1B8}"/>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601965" y="6757056"/>
              <a:ext cx="1008156" cy="1008156"/>
            </a:xfrm>
            <a:prstGeom prst="rect">
              <a:avLst/>
            </a:prstGeom>
          </p:spPr>
        </p:pic>
        <p:pic>
          <p:nvPicPr>
            <p:cNvPr id="125" name="Gráfico 93">
              <a:extLst>
                <a:ext uri="{FF2B5EF4-FFF2-40B4-BE49-F238E27FC236}">
                  <a16:creationId xmlns:a16="http://schemas.microsoft.com/office/drawing/2014/main" id="{5BF3DA0D-425A-97C1-E607-D4C5F5200D65}"/>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052049" y="8269419"/>
              <a:ext cx="912361" cy="1027943"/>
            </a:xfrm>
            <a:prstGeom prst="rect">
              <a:avLst/>
            </a:prstGeom>
          </p:spPr>
        </p:pic>
        <p:pic>
          <p:nvPicPr>
            <p:cNvPr id="126" name="Gráfico 94">
              <a:extLst>
                <a:ext uri="{FF2B5EF4-FFF2-40B4-BE49-F238E27FC236}">
                  <a16:creationId xmlns:a16="http://schemas.microsoft.com/office/drawing/2014/main" id="{9B880992-4CF4-46D4-960B-E06C264289FE}"/>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2083737" y="6757055"/>
              <a:ext cx="1132840" cy="917061"/>
            </a:xfrm>
            <a:prstGeom prst="rect">
              <a:avLst/>
            </a:prstGeom>
          </p:spPr>
        </p:pic>
      </p:grpSp>
      <p:sp>
        <p:nvSpPr>
          <p:cNvPr id="3" name="Slide Number Placeholder 3">
            <a:extLst>
              <a:ext uri="{FF2B5EF4-FFF2-40B4-BE49-F238E27FC236}">
                <a16:creationId xmlns:a16="http://schemas.microsoft.com/office/drawing/2014/main" id="{87D94352-56C8-7BEF-290C-CCF07BE3ABBF}"/>
              </a:ext>
            </a:extLst>
          </p:cNvPr>
          <p:cNvSpPr txBox="1">
            <a:spLocks/>
          </p:cNvSpPr>
          <p:nvPr>
            <p:custDataLst>
              <p:custData r:id="rId1"/>
            </p:custDataLst>
          </p:nvPr>
        </p:nvSpPr>
        <p:spPr>
          <a:xfrm>
            <a:off x="11430000" y="6516000"/>
            <a:ext cx="280800" cy="123111"/>
          </a:xfrm>
          <a:prstGeom prst="rect">
            <a:avLst/>
          </a:prstGeom>
          <a:noFill/>
        </p:spPr>
        <p:txBody>
          <a:bodyPr wrap="square" lIns="0" tIns="0" rIns="0" bIns="0" rtlCol="0">
            <a:spAutoFit/>
          </a:bodyPr>
          <a:lstStyle>
            <a:defPPr>
              <a:defRPr lang="en-GB"/>
            </a:defPPr>
            <a:lvl1pPr marL="0" algn="r" defTabSz="457200" rtl="0" eaLnBrk="1" latinLnBrk="0" hangingPunct="1">
              <a:defRPr lang="en-GB" sz="800" kern="1200" smtClean="0">
                <a:solidFill>
                  <a:schemeClr val="tx1"/>
                </a:solidFill>
                <a:effectLst/>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F66040D-6F20-4F4B-8995-856BEECD84BE}" type="slidenum">
              <a:rPr lang="en-IN" smtClean="0"/>
              <a:pPr/>
              <a:t>5</a:t>
            </a:fld>
            <a:endParaRPr lang="en-IN" dirty="0"/>
          </a:p>
        </p:txBody>
      </p:sp>
      <p:pic>
        <p:nvPicPr>
          <p:cNvPr id="6" name="Imagen 5">
            <a:extLst>
              <a:ext uri="{FF2B5EF4-FFF2-40B4-BE49-F238E27FC236}">
                <a16:creationId xmlns:a16="http://schemas.microsoft.com/office/drawing/2014/main" id="{D5A8B308-6906-454B-9052-B5CCF6FD98F1}"/>
              </a:ext>
            </a:extLst>
          </p:cNvPr>
          <p:cNvPicPr>
            <a:picLocks noChangeAspect="1"/>
          </p:cNvPicPr>
          <p:nvPr/>
        </p:nvPicPr>
        <p:blipFill>
          <a:blip r:embed="rId14"/>
          <a:stretch>
            <a:fillRect/>
          </a:stretch>
        </p:blipFill>
        <p:spPr>
          <a:xfrm>
            <a:off x="135635" y="6460047"/>
            <a:ext cx="1800225" cy="304800"/>
          </a:xfrm>
          <a:prstGeom prst="rect">
            <a:avLst/>
          </a:prstGeom>
        </p:spPr>
      </p:pic>
    </p:spTree>
    <p:extLst>
      <p:ext uri="{BB962C8B-B14F-4D97-AF65-F5344CB8AC3E}">
        <p14:creationId xmlns:p14="http://schemas.microsoft.com/office/powerpoint/2010/main" val="1821979874"/>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t="9" b="9"/>
          <a:stretch>
            <a:fillRect/>
          </a:stretch>
        </p:blipFill>
        <p:spPr/>
      </p:pic>
      <p:sp>
        <p:nvSpPr>
          <p:cNvPr id="2" name="Title 1"/>
          <p:cNvSpPr>
            <a:spLocks noGrp="1"/>
          </p:cNvSpPr>
          <p:nvPr>
            <p:ph type="title"/>
          </p:nvPr>
        </p:nvSpPr>
        <p:spPr>
          <a:xfrm>
            <a:off x="457201" y="355601"/>
            <a:ext cx="7068277" cy="495299"/>
          </a:xfrm>
        </p:spPr>
        <p:txBody>
          <a:bodyPr/>
          <a:lstStyle/>
          <a:p>
            <a:r>
              <a:rPr lang="es-PE" sz="2400" dirty="0">
                <a:latin typeface="MMC Display"/>
              </a:rPr>
              <a:t>Objetivos de ciberseguridad a nivel organizacional deben ser establecidos para construir ciber-resiliencia, ahora que un ciberataque es inminente</a:t>
            </a:r>
          </a:p>
        </p:txBody>
      </p:sp>
      <p:sp>
        <p:nvSpPr>
          <p:cNvPr id="14" name="Content Placeholder 13"/>
          <p:cNvSpPr>
            <a:spLocks noGrp="1"/>
          </p:cNvSpPr>
          <p:nvPr>
            <p:ph sz="quarter" idx="11"/>
          </p:nvPr>
        </p:nvSpPr>
        <p:spPr>
          <a:xfrm>
            <a:off x="485776" y="1736497"/>
            <a:ext cx="7400925" cy="4205542"/>
          </a:xfrm>
        </p:spPr>
        <p:txBody>
          <a:bodyPr/>
          <a:lstStyle/>
          <a:p>
            <a:r>
              <a:rPr lang="es-PE" sz="1600" dirty="0"/>
              <a:t>¿Qué haría diferente si usted supiera que hoy sería víctima de un ciberataque?</a:t>
            </a:r>
          </a:p>
        </p:txBody>
      </p:sp>
      <p:sp>
        <p:nvSpPr>
          <p:cNvPr id="17" name="TextBox 16"/>
          <p:cNvSpPr txBox="1"/>
          <p:nvPr/>
        </p:nvSpPr>
        <p:spPr>
          <a:xfrm>
            <a:off x="8743845" y="838000"/>
            <a:ext cx="2463816" cy="1477328"/>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PE" sz="9600" b="1" i="0" u="none" strike="noStrike" kern="1200" cap="none" spc="0" normalizeH="0" baseline="0" noProof="0" dirty="0">
                <a:ln>
                  <a:noFill/>
                </a:ln>
                <a:solidFill>
                  <a:srgbClr val="FFFFFF"/>
                </a:solidFill>
                <a:effectLst/>
                <a:uLnTx/>
                <a:uFillTx/>
                <a:latin typeface="Arial" panose="020B0604020202020204"/>
                <a:ea typeface="+mn-ea"/>
                <a:cs typeface="+mn-cs"/>
              </a:rPr>
              <a:t>75%</a:t>
            </a:r>
          </a:p>
        </p:txBody>
      </p:sp>
      <p:sp>
        <p:nvSpPr>
          <p:cNvPr id="18" name="TextBox 17"/>
          <p:cNvSpPr txBox="1"/>
          <p:nvPr/>
        </p:nvSpPr>
        <p:spPr>
          <a:xfrm>
            <a:off x="8862252" y="2315328"/>
            <a:ext cx="2847147" cy="2154436"/>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PE" sz="2800" b="1" i="0" u="none" strike="noStrike" kern="1200" cap="none" spc="0" normalizeH="0" baseline="0" noProof="0" dirty="0">
                <a:ln>
                  <a:noFill/>
                </a:ln>
                <a:solidFill>
                  <a:srgbClr val="FFFFFF"/>
                </a:solidFill>
                <a:effectLst/>
                <a:uLnTx/>
                <a:uFillTx/>
                <a:latin typeface="Arial" panose="020B0604020202020204"/>
                <a:ea typeface="+mn-ea"/>
                <a:cs typeface="+mn-cs"/>
              </a:rPr>
              <a:t>de las organizaciones han sido víctimas de ciberataques</a:t>
            </a:r>
          </a:p>
        </p:txBody>
      </p:sp>
      <p:pic>
        <p:nvPicPr>
          <p:cNvPr id="3" name="Picture 2"/>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602522" y="2454210"/>
            <a:ext cx="6922956" cy="3446648"/>
          </a:xfrm>
          <a:prstGeom prst="rect">
            <a:avLst/>
          </a:prstGeom>
        </p:spPr>
      </p:pic>
      <p:sp>
        <p:nvSpPr>
          <p:cNvPr id="10" name="Rectángulo 19">
            <a:extLst>
              <a:ext uri="{FF2B5EF4-FFF2-40B4-BE49-F238E27FC236}">
                <a16:creationId xmlns:a16="http://schemas.microsoft.com/office/drawing/2014/main" id="{F8D24E3B-952E-3C9F-CF95-7658758DB58C}"/>
              </a:ext>
            </a:extLst>
          </p:cNvPr>
          <p:cNvSpPr/>
          <p:nvPr/>
        </p:nvSpPr>
        <p:spPr>
          <a:xfrm>
            <a:off x="394330" y="6231467"/>
            <a:ext cx="3765269" cy="204736"/>
          </a:xfrm>
          <a:prstGeom prst="rect">
            <a:avLst/>
          </a:prstGeom>
        </p:spPr>
        <p:txBody>
          <a:bodyPr wrap="square">
            <a:spAutoFit/>
          </a:bodyPr>
          <a:lstStyle/>
          <a:p>
            <a:pPr marL="0" marR="0" lvl="0" indent="0" algn="l" defTabSz="277246" rtl="0" eaLnBrk="1" fontAlgn="base" latinLnBrk="0" hangingPunct="1">
              <a:lnSpc>
                <a:spcPct val="86000"/>
              </a:lnSpc>
              <a:spcBef>
                <a:spcPct val="0"/>
              </a:spcBef>
              <a:spcAft>
                <a:spcPct val="0"/>
              </a:spcAft>
              <a:buClrTx/>
              <a:buSzTx/>
              <a:buFontTx/>
              <a:buNone/>
              <a:tabLst/>
              <a:defRPr/>
            </a:pPr>
            <a:r>
              <a:rPr kumimoji="0" lang="es-MX" sz="849" b="0" i="0" u="none" strike="noStrike" kern="1200" cap="none" spc="0" normalizeH="0" baseline="0" noProof="0" dirty="0">
                <a:ln>
                  <a:noFill/>
                </a:ln>
                <a:solidFill>
                  <a:srgbClr val="37424A"/>
                </a:solidFill>
                <a:effectLst/>
                <a:uLnTx/>
                <a:uFillTx/>
                <a:latin typeface="Arial"/>
                <a:ea typeface="MS PGothic"/>
                <a:cs typeface="+mn-cs"/>
              </a:rPr>
              <a:t>Fuente: </a:t>
            </a:r>
            <a:r>
              <a:rPr kumimoji="0" lang="es-PE" sz="849" b="0" i="0" u="none" strike="noStrike" kern="1200" cap="none" spc="0" normalizeH="0" baseline="0" noProof="0" dirty="0">
                <a:ln>
                  <a:noFill/>
                </a:ln>
                <a:solidFill>
                  <a:srgbClr val="37424A"/>
                </a:solidFill>
                <a:effectLst/>
                <a:uLnTx/>
                <a:uFillTx/>
                <a:latin typeface="Arial"/>
                <a:ea typeface="MS PGothic"/>
                <a:cs typeface="+mn-cs"/>
              </a:rPr>
              <a:t>Estado de la resiliencia cibernética 2022 </a:t>
            </a:r>
            <a:r>
              <a:rPr kumimoji="0" lang="es-MX" sz="849" b="0" i="0" u="none" strike="noStrike" kern="1200" cap="none" spc="0" normalizeH="0" baseline="0" noProof="0" dirty="0">
                <a:ln>
                  <a:noFill/>
                </a:ln>
                <a:solidFill>
                  <a:srgbClr val="37424A"/>
                </a:solidFill>
                <a:effectLst/>
                <a:uLnTx/>
                <a:uFillTx/>
                <a:latin typeface="Arial"/>
                <a:ea typeface="MS PGothic"/>
                <a:cs typeface="+mn-cs"/>
              </a:rPr>
              <a:t>Marsh - Microsoft</a:t>
            </a:r>
          </a:p>
        </p:txBody>
      </p:sp>
      <p:pic>
        <p:nvPicPr>
          <p:cNvPr id="9" name="Imagen 8">
            <a:extLst>
              <a:ext uri="{FF2B5EF4-FFF2-40B4-BE49-F238E27FC236}">
                <a16:creationId xmlns:a16="http://schemas.microsoft.com/office/drawing/2014/main" id="{369342CB-81D8-4E8B-8012-E7D854733067}"/>
              </a:ext>
            </a:extLst>
          </p:cNvPr>
          <p:cNvPicPr>
            <a:picLocks noChangeAspect="1"/>
          </p:cNvPicPr>
          <p:nvPr/>
        </p:nvPicPr>
        <p:blipFill>
          <a:blip r:embed="rId5"/>
          <a:stretch>
            <a:fillRect/>
          </a:stretch>
        </p:blipFill>
        <p:spPr>
          <a:xfrm>
            <a:off x="394330" y="6460047"/>
            <a:ext cx="1800225" cy="304800"/>
          </a:xfrm>
          <a:prstGeom prst="rect">
            <a:avLst/>
          </a:prstGeom>
        </p:spPr>
      </p:pic>
    </p:spTree>
    <p:extLst>
      <p:ext uri="{BB962C8B-B14F-4D97-AF65-F5344CB8AC3E}">
        <p14:creationId xmlns:p14="http://schemas.microsoft.com/office/powerpoint/2010/main" val="2851020510"/>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863B982A-B2CE-4F80-9A65-87CA3E6A511A}"/>
              </a:ext>
            </a:extLst>
          </p:cNvPr>
          <p:cNvPicPr>
            <a:picLocks noChangeAspect="1"/>
          </p:cNvPicPr>
          <p:nvPr/>
        </p:nvPicPr>
        <p:blipFill>
          <a:blip r:embed="rId3"/>
          <a:stretch>
            <a:fillRect/>
          </a:stretch>
        </p:blipFill>
        <p:spPr>
          <a:xfrm>
            <a:off x="0" y="0"/>
            <a:ext cx="12192000" cy="6858000"/>
          </a:xfrm>
          <a:prstGeom prst="rect">
            <a:avLst/>
          </a:prstGeom>
        </p:spPr>
      </p:pic>
      <p:sp>
        <p:nvSpPr>
          <p:cNvPr id="2" name="Title 1"/>
          <p:cNvSpPr>
            <a:spLocks noGrp="1"/>
          </p:cNvSpPr>
          <p:nvPr>
            <p:ph type="title"/>
          </p:nvPr>
        </p:nvSpPr>
        <p:spPr>
          <a:xfrm>
            <a:off x="457201" y="342701"/>
            <a:ext cx="10115549" cy="495299"/>
          </a:xfrm>
        </p:spPr>
        <p:txBody>
          <a:bodyPr/>
          <a:lstStyle/>
          <a:p>
            <a:r>
              <a:rPr lang="es-PE" sz="3200" dirty="0" err="1">
                <a:solidFill>
                  <a:srgbClr val="FFFFFF"/>
                </a:solidFill>
                <a:latin typeface="MMC Display"/>
                <a:ea typeface="+mn-ea"/>
                <a:cs typeface="+mn-cs"/>
                <a:sym typeface="Arial"/>
              </a:rPr>
              <a:t>Blackcat</a:t>
            </a:r>
            <a:r>
              <a:rPr lang="es-PE" sz="3200" dirty="0">
                <a:solidFill>
                  <a:srgbClr val="FFFFFF"/>
                </a:solidFill>
                <a:latin typeface="MMC Display"/>
                <a:ea typeface="+mn-ea"/>
                <a:cs typeface="+mn-cs"/>
                <a:sym typeface="Arial"/>
              </a:rPr>
              <a:t> </a:t>
            </a:r>
            <a:r>
              <a:rPr lang="es-PE" sz="3200" dirty="0" err="1">
                <a:solidFill>
                  <a:srgbClr val="FFFFFF"/>
                </a:solidFill>
                <a:latin typeface="MMC Display"/>
                <a:ea typeface="+mn-ea"/>
                <a:cs typeface="+mn-cs"/>
                <a:sym typeface="Arial"/>
              </a:rPr>
              <a:t>Ransomware</a:t>
            </a:r>
            <a:endParaRPr lang="es-PE" sz="3200" dirty="0">
              <a:solidFill>
                <a:srgbClr val="FFFFFF"/>
              </a:solidFill>
              <a:latin typeface="MMC Display"/>
              <a:ea typeface="+mn-ea"/>
              <a:cs typeface="+mn-cs"/>
              <a:sym typeface="Arial"/>
            </a:endParaRPr>
          </a:p>
        </p:txBody>
      </p:sp>
      <p:sp>
        <p:nvSpPr>
          <p:cNvPr id="17" name="TextBox 16"/>
          <p:cNvSpPr txBox="1"/>
          <p:nvPr/>
        </p:nvSpPr>
        <p:spPr>
          <a:xfrm>
            <a:off x="190501" y="2797388"/>
            <a:ext cx="4063164" cy="677108"/>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s-PE" sz="4400" b="1" kern="1200" dirty="0">
                <a:solidFill>
                  <a:srgbClr val="FFFFFF"/>
                </a:solidFill>
                <a:latin typeface="MMC Display"/>
              </a:rPr>
              <a:t>Ataques Globales</a:t>
            </a:r>
            <a:endParaRPr kumimoji="0" lang="es-PE" sz="4400" b="1" i="0" u="none" strike="noStrike" kern="1200" cap="none" spc="0" normalizeH="0" baseline="0" noProof="0" dirty="0">
              <a:ln>
                <a:noFill/>
              </a:ln>
              <a:solidFill>
                <a:srgbClr val="FFFFFF"/>
              </a:solidFill>
              <a:effectLst/>
              <a:uLnTx/>
              <a:uFillTx/>
              <a:latin typeface="MMC Display"/>
            </a:endParaRPr>
          </a:p>
        </p:txBody>
      </p:sp>
      <p:sp>
        <p:nvSpPr>
          <p:cNvPr id="18" name="TextBox 17"/>
          <p:cNvSpPr txBox="1"/>
          <p:nvPr/>
        </p:nvSpPr>
        <p:spPr>
          <a:xfrm>
            <a:off x="394330" y="3823551"/>
            <a:ext cx="4952999" cy="430887"/>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PE" sz="2800" b="1" i="0" u="none" strike="noStrike" kern="1200" cap="none" spc="0" normalizeH="0" baseline="0" noProof="0" dirty="0">
                <a:ln>
                  <a:noFill/>
                </a:ln>
                <a:solidFill>
                  <a:srgbClr val="FFFFFF"/>
                </a:solidFill>
                <a:effectLst/>
                <a:uLnTx/>
                <a:uFillTx/>
                <a:latin typeface="MMC Display"/>
              </a:rPr>
              <a:t>Asia, Europa, USA y LAC </a:t>
            </a:r>
          </a:p>
        </p:txBody>
      </p:sp>
      <p:pic>
        <p:nvPicPr>
          <p:cNvPr id="9" name="Imagen 8">
            <a:extLst>
              <a:ext uri="{FF2B5EF4-FFF2-40B4-BE49-F238E27FC236}">
                <a16:creationId xmlns:a16="http://schemas.microsoft.com/office/drawing/2014/main" id="{369342CB-81D8-4E8B-8012-E7D854733067}"/>
              </a:ext>
            </a:extLst>
          </p:cNvPr>
          <p:cNvPicPr>
            <a:picLocks noChangeAspect="1"/>
          </p:cNvPicPr>
          <p:nvPr/>
        </p:nvPicPr>
        <p:blipFill>
          <a:blip r:embed="rId4"/>
          <a:stretch>
            <a:fillRect/>
          </a:stretch>
        </p:blipFill>
        <p:spPr>
          <a:xfrm>
            <a:off x="394330" y="6460047"/>
            <a:ext cx="1800225" cy="304800"/>
          </a:xfrm>
          <a:prstGeom prst="rect">
            <a:avLst/>
          </a:prstGeom>
        </p:spPr>
      </p:pic>
    </p:spTree>
    <p:extLst>
      <p:ext uri="{BB962C8B-B14F-4D97-AF65-F5344CB8AC3E}">
        <p14:creationId xmlns:p14="http://schemas.microsoft.com/office/powerpoint/2010/main" val="482103000"/>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Imagen 20">
            <a:extLst>
              <a:ext uri="{FF2B5EF4-FFF2-40B4-BE49-F238E27FC236}">
                <a16:creationId xmlns:a16="http://schemas.microsoft.com/office/drawing/2014/main" id="{723B3602-F418-4348-8CAA-32982A92B1DD}"/>
              </a:ext>
            </a:extLst>
          </p:cNvPr>
          <p:cNvPicPr>
            <a:picLocks noChangeAspect="1"/>
          </p:cNvPicPr>
          <p:nvPr/>
        </p:nvPicPr>
        <p:blipFill>
          <a:blip r:embed="rId3"/>
          <a:stretch>
            <a:fillRect/>
          </a:stretch>
        </p:blipFill>
        <p:spPr>
          <a:xfrm>
            <a:off x="0" y="0"/>
            <a:ext cx="12192000" cy="6858000"/>
          </a:xfrm>
          <a:prstGeom prst="rect">
            <a:avLst/>
          </a:prstGeom>
        </p:spPr>
      </p:pic>
      <p:pic>
        <p:nvPicPr>
          <p:cNvPr id="9" name="Imagen 8">
            <a:extLst>
              <a:ext uri="{FF2B5EF4-FFF2-40B4-BE49-F238E27FC236}">
                <a16:creationId xmlns:a16="http://schemas.microsoft.com/office/drawing/2014/main" id="{369342CB-81D8-4E8B-8012-E7D854733067}"/>
              </a:ext>
            </a:extLst>
          </p:cNvPr>
          <p:cNvPicPr>
            <a:picLocks noChangeAspect="1"/>
          </p:cNvPicPr>
          <p:nvPr/>
        </p:nvPicPr>
        <p:blipFill>
          <a:blip r:embed="rId4"/>
          <a:stretch>
            <a:fillRect/>
          </a:stretch>
        </p:blipFill>
        <p:spPr>
          <a:xfrm>
            <a:off x="394330" y="6460047"/>
            <a:ext cx="1800225" cy="304800"/>
          </a:xfrm>
          <a:prstGeom prst="rect">
            <a:avLst/>
          </a:prstGeom>
        </p:spPr>
      </p:pic>
      <p:pic>
        <p:nvPicPr>
          <p:cNvPr id="12" name="Imagen 11">
            <a:extLst>
              <a:ext uri="{FF2B5EF4-FFF2-40B4-BE49-F238E27FC236}">
                <a16:creationId xmlns:a16="http://schemas.microsoft.com/office/drawing/2014/main" id="{E0C589B6-9A35-4663-B21C-9B142B58490A}"/>
              </a:ext>
            </a:extLst>
          </p:cNvPr>
          <p:cNvPicPr>
            <a:picLocks noChangeAspect="1"/>
          </p:cNvPicPr>
          <p:nvPr/>
        </p:nvPicPr>
        <p:blipFill>
          <a:blip r:embed="rId5"/>
          <a:stretch>
            <a:fillRect/>
          </a:stretch>
        </p:blipFill>
        <p:spPr>
          <a:xfrm>
            <a:off x="394330" y="520482"/>
            <a:ext cx="6657975" cy="1509376"/>
          </a:xfrm>
          <a:prstGeom prst="rect">
            <a:avLst/>
          </a:prstGeom>
        </p:spPr>
      </p:pic>
      <p:pic>
        <p:nvPicPr>
          <p:cNvPr id="15" name="Imagen 14">
            <a:extLst>
              <a:ext uri="{FF2B5EF4-FFF2-40B4-BE49-F238E27FC236}">
                <a16:creationId xmlns:a16="http://schemas.microsoft.com/office/drawing/2014/main" id="{CBA6BF3D-FF09-4DDF-A1F2-5444FC724F15}"/>
              </a:ext>
            </a:extLst>
          </p:cNvPr>
          <p:cNvPicPr>
            <a:picLocks noChangeAspect="1"/>
          </p:cNvPicPr>
          <p:nvPr/>
        </p:nvPicPr>
        <p:blipFill>
          <a:blip r:embed="rId6"/>
          <a:stretch>
            <a:fillRect/>
          </a:stretch>
        </p:blipFill>
        <p:spPr>
          <a:xfrm>
            <a:off x="2546980" y="4254623"/>
            <a:ext cx="7345516" cy="2102742"/>
          </a:xfrm>
          <a:prstGeom prst="rect">
            <a:avLst/>
          </a:prstGeom>
        </p:spPr>
      </p:pic>
      <p:pic>
        <p:nvPicPr>
          <p:cNvPr id="25" name="Imagen 24">
            <a:extLst>
              <a:ext uri="{FF2B5EF4-FFF2-40B4-BE49-F238E27FC236}">
                <a16:creationId xmlns:a16="http://schemas.microsoft.com/office/drawing/2014/main" id="{B1A986AD-C2ED-44B0-A933-65AC2232E3FD}"/>
              </a:ext>
            </a:extLst>
          </p:cNvPr>
          <p:cNvPicPr>
            <a:picLocks noChangeAspect="1"/>
          </p:cNvPicPr>
          <p:nvPr/>
        </p:nvPicPr>
        <p:blipFill>
          <a:blip r:embed="rId7"/>
          <a:stretch>
            <a:fillRect/>
          </a:stretch>
        </p:blipFill>
        <p:spPr>
          <a:xfrm>
            <a:off x="6586539" y="1696663"/>
            <a:ext cx="5438774" cy="1147497"/>
          </a:xfrm>
          <a:prstGeom prst="rect">
            <a:avLst/>
          </a:prstGeom>
        </p:spPr>
      </p:pic>
      <p:pic>
        <p:nvPicPr>
          <p:cNvPr id="27" name="Imagen 26">
            <a:extLst>
              <a:ext uri="{FF2B5EF4-FFF2-40B4-BE49-F238E27FC236}">
                <a16:creationId xmlns:a16="http://schemas.microsoft.com/office/drawing/2014/main" id="{A4E28770-048D-44E8-8D10-A02A639EB282}"/>
              </a:ext>
            </a:extLst>
          </p:cNvPr>
          <p:cNvPicPr>
            <a:picLocks noChangeAspect="1"/>
          </p:cNvPicPr>
          <p:nvPr/>
        </p:nvPicPr>
        <p:blipFill>
          <a:blip r:embed="rId8"/>
          <a:stretch>
            <a:fillRect/>
          </a:stretch>
        </p:blipFill>
        <p:spPr>
          <a:xfrm>
            <a:off x="166687" y="2550340"/>
            <a:ext cx="4806320" cy="628519"/>
          </a:xfrm>
          <a:prstGeom prst="rect">
            <a:avLst/>
          </a:prstGeom>
        </p:spPr>
      </p:pic>
    </p:spTree>
    <p:extLst>
      <p:ext uri="{BB962C8B-B14F-4D97-AF65-F5344CB8AC3E}">
        <p14:creationId xmlns:p14="http://schemas.microsoft.com/office/powerpoint/2010/main" val="1462870964"/>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8500" y="2270340"/>
            <a:ext cx="9531350" cy="1514259"/>
          </a:xfrm>
        </p:spPr>
        <p:txBody>
          <a:bodyPr>
            <a:normAutofit/>
          </a:bodyPr>
          <a:lstStyle/>
          <a:p>
            <a:r>
              <a:rPr lang="es-CO" sz="4400" dirty="0"/>
              <a:t>¿Qué es y cómo impacta el riesgo cibernético? </a:t>
            </a:r>
          </a:p>
        </p:txBody>
      </p:sp>
    </p:spTree>
    <p:extLst>
      <p:ext uri="{BB962C8B-B14F-4D97-AF65-F5344CB8AC3E}">
        <p14:creationId xmlns:p14="http://schemas.microsoft.com/office/powerpoint/2010/main" val="33047196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123.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0"/>
  <p:tag name="MMCOA_FONTSIZE_S" val="14"/>
  <p:tag name="MMCOA_FONTSIZE_T" val="14"/>
  <p:tag name="MMCOA_POSITION_L" val="35.875;100.625;392.75;684"/>
  <p:tag name="MMCOA_POSITION_M" val="35.875;100.625;392.75;684"/>
  <p:tag name="MMCOA_POSITION_S" val="35.875;100.625;392.75;684"/>
  <p:tag name="MMCOA_POSITION_T" val="35.875;100.625;392.75;684"/>
  <p:tag name="MMCOA_HIDEONCOLOUR" val="N"/>
  <p:tag name="MMCOA_HIDEONWHITE" val="N"/>
  <p:tag name="MMCOA_HIDEONBALLROOM" val="N"/>
  <p:tag name="MMCOA_HIDEONCLASSIC" val="N"/>
  <p:tag name="MMCOA_HIDEONTEXT" val="N"/>
  <p:tag name="MMCOA_HIDEONECO" val="N"/>
</p:tagLst>
</file>

<file path=ppt/tags/tag124.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7"/>
  <p:tag name="MMCOA_FONTSIZE_M" val="7"/>
  <p:tag name="MMCOA_FONTSIZE_S" val="7"/>
  <p:tag name="MMCOA_FONTSIZE_T" val="7"/>
  <p:tag name="MMCOA_POSITION_L" val="37.625;514.5;8;228.125"/>
  <p:tag name="MMCOA_POSITION_M" val="37.625;514.5;8;228.125"/>
  <p:tag name="MMCOA_POSITION_S" val="37.625;514.5;8;228.125"/>
  <p:tag name="MMCOA_POSITION_T" val="37.625;514.5;8;228.125"/>
  <p:tag name="MMCOA_HIDEONCOLOUR" val="N"/>
  <p:tag name="MMCOA_HIDEONWHITE" val="N"/>
  <p:tag name="MMCOA_HIDEONBALLROOM" val="N"/>
  <p:tag name="MMCOA_HIDEONCLASSIC" val="Y"/>
  <p:tag name="MMCOA_HIDEONTEXT" val="Y"/>
  <p:tag name="MMCOA_HIDEONECO" val="Y"/>
</p:tagLst>
</file>

<file path=ppt/tags/tag125.xml><?xml version="1.0" encoding="utf-8"?>
<p:tagLst xmlns:a="http://schemas.openxmlformats.org/drawingml/2006/main" xmlns:r="http://schemas.openxmlformats.org/officeDocument/2006/relationships" xmlns:p="http://schemas.openxmlformats.org/presentationml/2006/main">
  <p:tag name="MMCOA_SMARTSHAPE" val="Y"/>
  <p:tag name="MMCOA_FONTSIZE_L" val="11"/>
  <p:tag name="MMCOA_FONTSIZE_M" val="11"/>
  <p:tag name="MMCOA_FONTSIZE_S" val="11"/>
  <p:tag name="MMCOA_FONTSIZE_T" val="11"/>
  <p:tag name="MMCOA_POSITION_L" val="543.125;510.5;13.25;176.5"/>
  <p:tag name="MMCOA_POSITION_M" val="543.125;510.5;13.25;176.5"/>
  <p:tag name="MMCOA_POSITION_S" val="543.125;510.5;13.25;176.5"/>
  <p:tag name="MMCOA_POSITION_T" val="543.125;510.5;13.25;176.5"/>
  <p:tag name="MMCOA_HIDEONCOLOUR" val="N"/>
  <p:tag name="MMCOA_HIDEONWHITE" val="N"/>
  <p:tag name="MMCOA_HIDEONBALLROOM" val="N"/>
  <p:tag name="MMCOA_HIDEONCLASSIC" val="N"/>
  <p:tag name="MMCOA_HIDEONTEXT" val="N"/>
  <p:tag name="MMCOA_HIDEONECO" val="N"/>
</p:tagLst>
</file>

<file path=ppt/tags/tag126.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35.625;514.5;8.375;85"/>
  <p:tag name="MMCOA_POSITION_M" val="335.625;514.5;8.375;85"/>
  <p:tag name="MMCOA_POSITION_S" val="335.625;514.5;8.375;85"/>
  <p:tag name="MMCOA_POSITION_T" val="335.625;514.5;8.375;85"/>
  <p:tag name="MMCOA_HIDEONCOLOUR" val="N"/>
  <p:tag name="MMCOA_HIDEONWHITE" val="N"/>
  <p:tag name="MMCOA_HIDEONBALLROOM" val="Y"/>
  <p:tag name="MMCOA_HIDEONCLASSIC" val="Y"/>
  <p:tag name="MMCOA_HIDEONTEXT" val="Y"/>
  <p:tag name="MMCOA_HIDEONECO" val="Y"/>
</p:tagLst>
</file>

<file path=ppt/tags/tag127.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7.625;514.5;8;227.5"/>
  <p:tag name="MMCOA_POSITION_M" val="37.625;514.5;8;227.5"/>
  <p:tag name="MMCOA_POSITION_S" val="37.625;514.5;8;227.5"/>
  <p:tag name="MMCOA_POSITION_T" val="37.625;514.5;8;227.5"/>
  <p:tag name="MMCOA_HIDEONCOLOUR" val="N"/>
  <p:tag name="MMCOA_HIDEONWHITE" val="N"/>
  <p:tag name="MMCOA_HIDEONBALLROOM" val="N"/>
  <p:tag name="MMCOA_HIDEONCLASSIC" val="N"/>
  <p:tag name="MMCOA_HIDEONTEXT" val="N"/>
  <p:tag name="MMCOA_HIDEONECO" val="N"/>
</p:tagLst>
</file>

<file path=ppt/tags/tag128.xml><?xml version="1.0" encoding="utf-8"?>
<p:tagLst xmlns:a="http://schemas.openxmlformats.org/drawingml/2006/main" xmlns:r="http://schemas.openxmlformats.org/officeDocument/2006/relationships" xmlns:p="http://schemas.openxmlformats.org/presentationml/2006/main">
  <p:tag name="MMCOA_POSITION_L" val=";;;"/>
  <p:tag name="MMCOA_POSITION_M" val=";;;"/>
  <p:tag name="MMCOA_POSITION_S" val=";;;"/>
  <p:tag name="MMCOA_POSITION_T" val=";;;"/>
  <p:tag name="MMCOA_HIDEONCOLOUR" val="N"/>
  <p:tag name="MMCOA_HIDEONWHITE" val="N"/>
  <p:tag name="MMCOA_HIDEONBALLROOM" val="N"/>
  <p:tag name="MMCOA_HIDEONCLASSIC" val="N"/>
  <p:tag name="MMCOA_HIDEONTEXT" val="N"/>
  <p:tag name="MMCOA_HIDEONECO" val="N"/>
  <p:tag name="MMCOA_SMARTSHAPE" val="N"/>
</p:tagLst>
</file>

<file path=ppt/tags/tag129.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8"/>
  <p:tag name="MMCOA_FONTSIZE_S" val="28"/>
  <p:tag name="MMCOA_FONTSIZE_T" val="28"/>
  <p:tag name="MMCOA_POSITION_L" val="70.625;97.875;28.875;648.375"/>
  <p:tag name="MMCOA_POSITION_M" val="70.625;97.875;28.875;648.375"/>
  <p:tag name="MMCOA_POSITION_S" val="70.625;97.875;28.875;648.375"/>
  <p:tag name="MMCOA_POSITION_T" val="70.625;97.875;28.875;648.375"/>
  <p:tag name="MMCOA_HIDEONCOLOUR" val="N"/>
  <p:tag name="MMCOA_HIDEONWHITE" val="N"/>
  <p:tag name="MMCOA_HIDEONBALLROOM" val="N"/>
  <p:tag name="MMCOA_HIDEONCLASSIC" val="N"/>
  <p:tag name="MMCOA_HIDEONTEXT" val="N"/>
  <p:tag name="MMCOA_HIDEONECO" val="N"/>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18"/>
  <p:tag name="MMCOA_FONTSIZE_M" val="18"/>
  <p:tag name="MMCOA_FONTSIZE_S" val="18"/>
  <p:tag name="MMCOA_FONTSIZE_T" val="18"/>
  <p:tag name="MMCOA_POSITION_L" val="71.25;157.375;18;382.125"/>
  <p:tag name="MMCOA_POSITION_M" val="71.25;157.375;18;382.125"/>
  <p:tag name="MMCOA_POSITION_S" val="71.25;157.375;18;382.125"/>
  <p:tag name="MMCOA_POSITION_T" val="71.25;157.375;18;382.125"/>
  <p:tag name="MMCOA_HIDEONCOLOUR" val="N"/>
  <p:tag name="MMCOA_HIDEONWHITE" val="N"/>
  <p:tag name="MMCOA_HIDEONBALLROOM" val="N"/>
  <p:tag name="MMCOA_HIDEONCLASSIC" val="N"/>
  <p:tag name="MMCOA_HIDEONTEXT" val="N"/>
  <p:tag name="MMCOA_HIDEONECO" val="N"/>
</p:tagLst>
</file>

<file path=ppt/tags/tag131.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8"/>
  <p:tag name="MMCOA_FONTSIZE_S" val="28"/>
  <p:tag name="MMCOA_FONTSIZE_T" val="28"/>
  <p:tag name="MMCOA_POSITION_L" val="70.625;97.875;28.875;648.375"/>
  <p:tag name="MMCOA_POSITION_M" val="70.625;97.875;28.875;648.375"/>
  <p:tag name="MMCOA_POSITION_S" val="70.625;97.875;28.875;648.375"/>
  <p:tag name="MMCOA_POSITION_T" val="70.625;97.875;28.875;648.375"/>
  <p:tag name="MMCOA_HIDEONCOLOUR" val="N"/>
  <p:tag name="MMCOA_HIDEONWHITE" val="N"/>
  <p:tag name="MMCOA_HIDEONBALLROOM" val="N"/>
  <p:tag name="MMCOA_HIDEONCLASSIC" val="N"/>
  <p:tag name="MMCOA_HIDEONTEXT" val="N"/>
  <p:tag name="MMCOA_HIDEONECO" val="N"/>
</p:tagLst>
</file>

<file path=ppt/tags/tag132.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18"/>
  <p:tag name="MMCOA_FONTSIZE_M" val="18"/>
  <p:tag name="MMCOA_FONTSIZE_S" val="18"/>
  <p:tag name="MMCOA_FONTSIZE_T" val="18"/>
  <p:tag name="MMCOA_POSITION_L" val="71.25;157.375;18;382.125"/>
  <p:tag name="MMCOA_POSITION_M" val="71.25;157.375;18;382.125"/>
  <p:tag name="MMCOA_POSITION_S" val="71.25;157.375;18;382.125"/>
  <p:tag name="MMCOA_POSITION_T" val="71.25;157.375;18;382.125"/>
  <p:tag name="MMCOA_HIDEONCOLOUR" val="N"/>
  <p:tag name="MMCOA_HIDEONWHITE" val="N"/>
  <p:tag name="MMCOA_HIDEONBALLROOM" val="N"/>
  <p:tag name="MMCOA_HIDEONCLASSIC" val="N"/>
  <p:tag name="MMCOA_HIDEONTEXT" val="N"/>
  <p:tag name="MMCOA_HIDEONECO" val="N"/>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MMCOA_DISPLAYMASTERSHAPES" val="Y"/>
  <p:tag name="MMCOA_FOLLOWMASTERBACKGROUND" val="Y"/>
  <p:tag name="MMCOA_FORCESCHEME" val="N"/>
  <p:tag name="MMCOA_CANACTASDIVIDER" val="N"/>
  <p:tag name="MMCOA_PROMPTCOLOUR" val="N"/>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a:themeElements>
    <a:clrScheme name="White">
      <a:dk1>
        <a:srgbClr val="202020"/>
      </a:dk1>
      <a:lt1>
        <a:srgbClr val="202020"/>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Arial"/>
        <a:ea typeface="Arial"/>
        <a:cs typeface="Arial"/>
      </a:majorFont>
      <a:minorFont>
        <a:latin typeface="Arial"/>
        <a:ea typeface="Arial"/>
        <a:cs typeface="Arial"/>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rgbClr val="002C77"/>
          </a:solidFill>
          <a:prstDash val="solid"/>
          <a:round/>
        </a:ln>
        <a:effectLst/>
        <a:sp3d/>
      </a:spPr>
      <a:bodyPr rot="0" spcFirstLastPara="1" vertOverflow="overflow" horzOverflow="overflow" vert="horz" wrap="square" lIns="0" tIns="0" rIns="0" bIns="0" numCol="1" spcCol="38100" rtlCol="0" anchor="ctr">
        <a:sp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202020"/>
            </a:solidFill>
            <a:effectLst/>
            <a:uFillTx/>
            <a:latin typeface="+mn-lt"/>
            <a:ea typeface="+mn-ea"/>
            <a:cs typeface="+mn-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2C77"/>
          </a:solidFill>
          <a:prstDash val="solid"/>
          <a:round/>
        </a:ln>
        <a:effectLst>
          <a:outerShdw blurRad="38100" dist="19999"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202020"/>
            </a:solidFill>
            <a:effectLst/>
            <a:uFillTx/>
            <a:latin typeface="+mn-lt"/>
            <a:ea typeface="+mn-ea"/>
            <a:cs typeface="+mn-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1_White">
  <a:themeElements>
    <a:clrScheme name="White">
      <a:dk1>
        <a:srgbClr val="202020"/>
      </a:dk1>
      <a:lt1>
        <a:srgbClr val="202020"/>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Arial"/>
        <a:ea typeface="Arial"/>
        <a:cs typeface="Arial"/>
      </a:majorFont>
      <a:minorFont>
        <a:latin typeface="Arial"/>
        <a:ea typeface="Arial"/>
        <a:cs typeface="Arial"/>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rgbClr val="002C77"/>
          </a:solidFill>
          <a:prstDash val="solid"/>
          <a:round/>
        </a:ln>
        <a:effectLst/>
        <a:sp3d/>
      </a:spPr>
      <a:bodyPr rot="0" spcFirstLastPara="1" vertOverflow="overflow" horzOverflow="overflow" vert="horz" wrap="square" lIns="0" tIns="0" rIns="0" bIns="0" numCol="1" spcCol="38100" rtlCol="0" anchor="ctr">
        <a:sp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202020"/>
            </a:solidFill>
            <a:effectLst/>
            <a:uFillTx/>
            <a:latin typeface="+mn-lt"/>
            <a:ea typeface="+mn-ea"/>
            <a:cs typeface="+mn-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2C77"/>
          </a:solidFill>
          <a:prstDash val="solid"/>
          <a:round/>
        </a:ln>
        <a:effectLst>
          <a:outerShdw blurRad="38100" dist="19999"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202020"/>
            </a:solidFill>
            <a:effectLst/>
            <a:uFillTx/>
            <a:latin typeface="+mn-lt"/>
            <a:ea typeface="+mn-ea"/>
            <a:cs typeface="+mn-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Marsh">
  <a:themeElements>
    <a:clrScheme name="Custom 17">
      <a:dk1>
        <a:srgbClr val="202020"/>
      </a:dk1>
      <a:lt1>
        <a:srgbClr val="FFFFFF"/>
      </a:lt1>
      <a:dk2>
        <a:srgbClr val="002C77"/>
      </a:dk2>
      <a:lt2>
        <a:srgbClr val="565656"/>
      </a:lt2>
      <a:accent1>
        <a:srgbClr val="002C77"/>
      </a:accent1>
      <a:accent2>
        <a:srgbClr val="009DE0"/>
      </a:accent2>
      <a:accent3>
        <a:srgbClr val="76D3FF"/>
      </a:accent3>
      <a:accent4>
        <a:srgbClr val="0077A0"/>
      </a:accent4>
      <a:accent5>
        <a:srgbClr val="00968F"/>
      </a:accent5>
      <a:accent6>
        <a:srgbClr val="00AC41"/>
      </a:accent6>
      <a:hlink>
        <a:srgbClr val="2C6EF2"/>
      </a:hlink>
      <a:folHlink>
        <a:srgbClr val="8246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lgn="ctr">
          <a:defRPr dirty="0" smtClean="0"/>
        </a:defPPr>
      </a:lst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defRPr dirty="0" err="1"/>
        </a:defPPr>
      </a:lstStyle>
    </a:txDef>
  </a:objectDefaults>
  <a:extraClrSchemeLst/>
  <a:custClrLst>
    <a:custClr name="Dark blue">
      <a:srgbClr val="002C77"/>
    </a:custClr>
    <a:custClr name="Blue">
      <a:srgbClr val="009DE0"/>
    </a:custClr>
    <a:custClr name="Light blue">
      <a:srgbClr val="76D3FF"/>
    </a:custClr>
    <a:custClr name="Dark teal">
      <a:srgbClr val="004C6C"/>
    </a:custClr>
    <a:custClr name="Teal">
      <a:srgbClr val="0077A0"/>
    </a:custClr>
    <a:custClr name="Light teal">
      <a:srgbClr val="9CD9E4"/>
    </a:custClr>
    <a:custClr name="Dark turquoise">
      <a:srgbClr val="005E5D"/>
    </a:custClr>
    <a:custClr name="Turquoise">
      <a:srgbClr val="00968F"/>
    </a:custClr>
    <a:custClr name="Light turquoise">
      <a:srgbClr val="98DBCE"/>
    </a:custClr>
    <a:custClr name="White">
      <a:srgbClr val="FFFFFF"/>
    </a:custClr>
    <a:custClr name="Dark green">
      <a:srgbClr val="275D38"/>
    </a:custClr>
    <a:custClr name="Green">
      <a:srgbClr val="00AC41"/>
    </a:custClr>
    <a:custClr name="Light green">
      <a:srgbClr val="ADDFB3"/>
    </a:custClr>
    <a:custClr name="Dark purple">
      <a:srgbClr val="463282"/>
    </a:custClr>
    <a:custClr name="Purple">
      <a:srgbClr val="8246AF"/>
    </a:custClr>
    <a:custClr name="Light purple">
      <a:srgbClr val="CCB3E0"/>
    </a:custClr>
    <a:custClr name="Dark pink">
      <a:srgbClr val="B2025B"/>
    </a:custClr>
    <a:custClr name="Pink">
      <a:srgbClr val="EE3D8B"/>
    </a:custClr>
    <a:custClr name="Light pink">
      <a:srgbClr val="F8ACBE"/>
    </a:custClr>
    <a:custClr name="White">
      <a:srgbClr val="FFFFFF"/>
    </a:custClr>
    <a:custClr name="Dark crimson">
      <a:srgbClr val="9A1C1F"/>
    </a:custClr>
    <a:custClr name="Crimson">
      <a:srgbClr val="EF4E45"/>
    </a:custClr>
    <a:custClr name="Light crimson">
      <a:srgbClr val="FFAEA6"/>
    </a:custClr>
    <a:custClr name="Dark orange">
      <a:srgbClr val="A32E00"/>
    </a:custClr>
    <a:custClr name="Orange">
      <a:srgbClr val="FF8C00"/>
    </a:custClr>
    <a:custClr name="Light orange">
      <a:srgbClr val="FFCA94"/>
    </a:custClr>
    <a:custClr name="Dark yellow">
      <a:srgbClr val="965D00"/>
    </a:custClr>
    <a:custClr name="Yellow">
      <a:srgbClr val="FFBE00"/>
    </a:custClr>
    <a:custClr name="Light yellow">
      <a:srgbClr val="FFE580"/>
    </a:custClr>
    <a:custClr name="White">
      <a:srgbClr val="FFFFFF"/>
    </a:custClr>
    <a:custClr name="Dark blue gray">
      <a:srgbClr val="4E6287"/>
    </a:custClr>
    <a:custClr name="Blue gray">
      <a:srgbClr val="8096B2"/>
    </a:custClr>
    <a:custClr name="Light blue gray">
      <a:srgbClr val="BED3E4"/>
    </a:custClr>
    <a:custClr name="Dark gray">
      <a:srgbClr val="565656"/>
    </a:custClr>
    <a:custClr name="Gray">
      <a:srgbClr val="949494"/>
    </a:custClr>
    <a:custClr name="Light gray">
      <a:srgbClr val="DADADA"/>
    </a:custClr>
    <a:custClr name="Background gray">
      <a:srgbClr val="F0F0F0"/>
    </a:custClr>
    <a:custClr name="Link blue">
      <a:srgbClr val="2C6EF2"/>
    </a:custClr>
    <a:custClr name="Warning red">
      <a:srgbClr val="C53532"/>
    </a:custClr>
    <a:custClr name="Success green">
      <a:srgbClr val="14853D"/>
    </a:custClr>
  </a:custClrLst>
  <a:extLst>
    <a:ext uri="{05A4C25C-085E-4340-85A3-A5531E510DB2}">
      <thm15:themeFamily xmlns:thm15="http://schemas.microsoft.com/office/thememl/2012/main" name="Marsh Speciality Covers.potx" id="{55BA3C65-40FD-487E-B0BD-A0848FEECD18}" vid="{81603799-D007-4DF5-9E0C-304F98A51A75}"/>
    </a:ext>
  </a:extLst>
</a:theme>
</file>

<file path=ppt/theme/theme4.xml><?xml version="1.0" encoding="utf-8"?>
<a:theme xmlns:a="http://schemas.openxmlformats.org/drawingml/2006/main" name="1_Marsh">
  <a:themeElements>
    <a:clrScheme name="Custom 17">
      <a:dk1>
        <a:srgbClr val="202020"/>
      </a:dk1>
      <a:lt1>
        <a:srgbClr val="FFFFFF"/>
      </a:lt1>
      <a:dk2>
        <a:srgbClr val="002C77"/>
      </a:dk2>
      <a:lt2>
        <a:srgbClr val="565656"/>
      </a:lt2>
      <a:accent1>
        <a:srgbClr val="002C77"/>
      </a:accent1>
      <a:accent2>
        <a:srgbClr val="009DE0"/>
      </a:accent2>
      <a:accent3>
        <a:srgbClr val="76D3FF"/>
      </a:accent3>
      <a:accent4>
        <a:srgbClr val="0077A0"/>
      </a:accent4>
      <a:accent5>
        <a:srgbClr val="00968F"/>
      </a:accent5>
      <a:accent6>
        <a:srgbClr val="00AC41"/>
      </a:accent6>
      <a:hlink>
        <a:srgbClr val="2C6EF2"/>
      </a:hlink>
      <a:folHlink>
        <a:srgbClr val="8246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lgn="ctr">
          <a:defRPr dirty="0" smtClean="0"/>
        </a:defPPr>
      </a:lst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defRPr dirty="0" err="1"/>
        </a:defPPr>
      </a:lstStyle>
    </a:txDef>
  </a:objectDefaults>
  <a:extraClrSchemeLst/>
  <a:custClrLst>
    <a:custClr name="Dark blue">
      <a:srgbClr val="002C77"/>
    </a:custClr>
    <a:custClr name="Blue">
      <a:srgbClr val="009DE0"/>
    </a:custClr>
    <a:custClr name="Light blue">
      <a:srgbClr val="76D3FF"/>
    </a:custClr>
    <a:custClr name="Dark teal">
      <a:srgbClr val="004C6C"/>
    </a:custClr>
    <a:custClr name="Teal">
      <a:srgbClr val="0077A0"/>
    </a:custClr>
    <a:custClr name="Light teal">
      <a:srgbClr val="9CD9E4"/>
    </a:custClr>
    <a:custClr name="Dark turquoise">
      <a:srgbClr val="005E5D"/>
    </a:custClr>
    <a:custClr name="Turquoise">
      <a:srgbClr val="00968F"/>
    </a:custClr>
    <a:custClr name="Light turquoise">
      <a:srgbClr val="98DBCE"/>
    </a:custClr>
    <a:custClr name="White">
      <a:srgbClr val="FFFFFF"/>
    </a:custClr>
    <a:custClr name="Dark green">
      <a:srgbClr val="275D38"/>
    </a:custClr>
    <a:custClr name="Green">
      <a:srgbClr val="00AC41"/>
    </a:custClr>
    <a:custClr name="Light green">
      <a:srgbClr val="ADDFB3"/>
    </a:custClr>
    <a:custClr name="Dark purple">
      <a:srgbClr val="463282"/>
    </a:custClr>
    <a:custClr name="Purple">
      <a:srgbClr val="8246AF"/>
    </a:custClr>
    <a:custClr name="Light purple">
      <a:srgbClr val="CCB3E0"/>
    </a:custClr>
    <a:custClr name="Dark pink">
      <a:srgbClr val="B2025B"/>
    </a:custClr>
    <a:custClr name="Pink">
      <a:srgbClr val="EE3D8B"/>
    </a:custClr>
    <a:custClr name="Light pink">
      <a:srgbClr val="F8ACBE"/>
    </a:custClr>
    <a:custClr name="White">
      <a:srgbClr val="FFFFFF"/>
    </a:custClr>
    <a:custClr name="Dark crimson">
      <a:srgbClr val="9A1C1F"/>
    </a:custClr>
    <a:custClr name="Crimson">
      <a:srgbClr val="EF4E45"/>
    </a:custClr>
    <a:custClr name="Light crimson">
      <a:srgbClr val="FFAEA6"/>
    </a:custClr>
    <a:custClr name="Dark orange">
      <a:srgbClr val="A32E00"/>
    </a:custClr>
    <a:custClr name="Orange">
      <a:srgbClr val="FF8C00"/>
    </a:custClr>
    <a:custClr name="Light orange">
      <a:srgbClr val="FFCA94"/>
    </a:custClr>
    <a:custClr name="Dark yellow">
      <a:srgbClr val="965D00"/>
    </a:custClr>
    <a:custClr name="Yellow">
      <a:srgbClr val="FFBE00"/>
    </a:custClr>
    <a:custClr name="Light yellow">
      <a:srgbClr val="FFE580"/>
    </a:custClr>
    <a:custClr name="White">
      <a:srgbClr val="FFFFFF"/>
    </a:custClr>
    <a:custClr name="Dark blue gray">
      <a:srgbClr val="4E6287"/>
    </a:custClr>
    <a:custClr name="Blue gray">
      <a:srgbClr val="8096B2"/>
    </a:custClr>
    <a:custClr name="Light blue gray">
      <a:srgbClr val="BED3E4"/>
    </a:custClr>
    <a:custClr name="Dark gray">
      <a:srgbClr val="565656"/>
    </a:custClr>
    <a:custClr name="Gray">
      <a:srgbClr val="949494"/>
    </a:custClr>
    <a:custClr name="Light gray">
      <a:srgbClr val="DADADA"/>
    </a:custClr>
    <a:custClr name="Background gray">
      <a:srgbClr val="F0F0F0"/>
    </a:custClr>
    <a:custClr name="Link blue">
      <a:srgbClr val="2C6EF2"/>
    </a:custClr>
    <a:custClr name="Warning red">
      <a:srgbClr val="C53532"/>
    </a:custClr>
    <a:custClr name="Success green">
      <a:srgbClr val="14853D"/>
    </a:custClr>
  </a:custClrLst>
  <a:extLst>
    <a:ext uri="{05A4C25C-085E-4340-85A3-A5531E510DB2}">
      <thm15:themeFamily xmlns:thm15="http://schemas.microsoft.com/office/thememl/2012/main" name="Marsh Speciality Covers.potx" id="{55BA3C65-40FD-487E-B0BD-A0848FEECD18}" vid="{81603799-D007-4DF5-9E0C-304F98A51A75}"/>
    </a:ext>
  </a:extLst>
</a:theme>
</file>

<file path=ppt/theme/theme5.xml><?xml version="1.0" encoding="utf-8"?>
<a:theme xmlns:a="http://schemas.openxmlformats.org/drawingml/2006/main" name="MAR_16-9 Template 2019_External">
  <a:themeElements>
    <a:clrScheme name="Sapphire">
      <a:dk1>
        <a:sysClr val="windowText" lastClr="000000"/>
      </a:dk1>
      <a:lt1>
        <a:srgbClr val="FFFFFF"/>
      </a:lt1>
      <a:dk2>
        <a:srgbClr val="37424A"/>
      </a:dk2>
      <a:lt2>
        <a:srgbClr val="FFFFFF"/>
      </a:lt2>
      <a:accent1>
        <a:srgbClr val="002C77"/>
      </a:accent1>
      <a:accent2>
        <a:srgbClr val="006D9E"/>
      </a:accent2>
      <a:accent3>
        <a:srgbClr val="00A8C8"/>
      </a:accent3>
      <a:accent4>
        <a:srgbClr val="A6E2EF"/>
      </a:accent4>
      <a:accent5>
        <a:srgbClr val="A5A5A5"/>
      </a:accent5>
      <a:accent6>
        <a:srgbClr val="D8D8D8"/>
      </a:accent6>
      <a:hlink>
        <a:srgbClr val="0000FF"/>
      </a:hlink>
      <a:folHlink>
        <a:srgbClr val="800080"/>
      </a:folHlink>
    </a:clrScheme>
    <a:fontScheme name="Default Design">
      <a:majorFont>
        <a:latin typeface="Arial"/>
        <a:ea typeface=""/>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91440" bIns="45720" numCol="1" anchor="ctr" anchorCtr="0" compatLnSpc="1">
        <a:prstTxWarp prst="textNoShape">
          <a:avLst/>
        </a:prstTxWarp>
      </a:bodyPr>
      <a:lstStyle>
        <a:defPPr marL="0" marR="0" indent="0" algn="ctr" defTabSz="914400" rtl="0" eaLnBrk="1" fontAlgn="base" latinLnBrk="0" hangingPunct="1">
          <a:lnSpc>
            <a:spcPct val="86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91440" bIns="45720" numCol="1" anchor="ctr" anchorCtr="0" compatLnSpc="1">
        <a:prstTxWarp prst="textNoShape">
          <a:avLst/>
        </a:prstTxWarp>
      </a:bodyPr>
      <a:lstStyle>
        <a:defPPr marL="0" marR="0" indent="0" algn="ctr" defTabSz="914400" rtl="0" eaLnBrk="1" fontAlgn="base" latinLnBrk="0" hangingPunct="1">
          <a:lnSpc>
            <a:spcPct val="86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BFBFBF"/>
        </a:dk2>
        <a:lt2>
          <a:srgbClr val="7C848A"/>
        </a:lt2>
        <a:accent1>
          <a:srgbClr val="002C77"/>
        </a:accent1>
        <a:accent2>
          <a:srgbClr val="00A8C8"/>
        </a:accent2>
        <a:accent3>
          <a:srgbClr val="FFFFFF"/>
        </a:accent3>
        <a:accent4>
          <a:srgbClr val="000000"/>
        </a:accent4>
        <a:accent5>
          <a:srgbClr val="AAACBD"/>
        </a:accent5>
        <a:accent6>
          <a:srgbClr val="0098B5"/>
        </a:accent6>
        <a:hlink>
          <a:srgbClr val="006D9E"/>
        </a:hlink>
        <a:folHlink>
          <a:srgbClr val="A6E2EF"/>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BFBFBF"/>
        </a:dk2>
        <a:lt2>
          <a:srgbClr val="7C848A"/>
        </a:lt2>
        <a:accent1>
          <a:srgbClr val="43276D"/>
        </a:accent1>
        <a:accent2>
          <a:srgbClr val="6F83C1"/>
        </a:accent2>
        <a:accent3>
          <a:srgbClr val="FFFFFF"/>
        </a:accent3>
        <a:accent4>
          <a:srgbClr val="000000"/>
        </a:accent4>
        <a:accent5>
          <a:srgbClr val="B0ACBA"/>
        </a:accent5>
        <a:accent6>
          <a:srgbClr val="6476AF"/>
        </a:accent6>
        <a:hlink>
          <a:srgbClr val="595997"/>
        </a:hlink>
        <a:folHlink>
          <a:srgbClr val="C4CAE6"/>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BFBFBF"/>
        </a:dk2>
        <a:lt2>
          <a:srgbClr val="7C848A"/>
        </a:lt2>
        <a:accent1>
          <a:srgbClr val="560054"/>
        </a:accent1>
        <a:accent2>
          <a:srgbClr val="CE3D95"/>
        </a:accent2>
        <a:accent3>
          <a:srgbClr val="FFFFFF"/>
        </a:accent3>
        <a:accent4>
          <a:srgbClr val="000000"/>
        </a:accent4>
        <a:accent5>
          <a:srgbClr val="B4AAB3"/>
        </a:accent5>
        <a:accent6>
          <a:srgbClr val="BA3687"/>
        </a:accent6>
        <a:hlink>
          <a:srgbClr val="932077"/>
        </a:hlink>
        <a:folHlink>
          <a:srgbClr val="E7B8D5"/>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BFBFBF"/>
        </a:dk2>
        <a:lt2>
          <a:srgbClr val="7C848A"/>
        </a:lt2>
        <a:accent1>
          <a:srgbClr val="690031"/>
        </a:accent1>
        <a:accent2>
          <a:srgbClr val="ED2C67"/>
        </a:accent2>
        <a:accent3>
          <a:srgbClr val="FFFFFF"/>
        </a:accent3>
        <a:accent4>
          <a:srgbClr val="000000"/>
        </a:accent4>
        <a:accent5>
          <a:srgbClr val="B9AAAD"/>
        </a:accent5>
        <a:accent6>
          <a:srgbClr val="D7275D"/>
        </a:accent6>
        <a:hlink>
          <a:srgbClr val="A9194F"/>
        </a:hlink>
        <a:folHlink>
          <a:srgbClr val="F7B6BB"/>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BFBFBF"/>
        </a:dk2>
        <a:lt2>
          <a:srgbClr val="7C848A"/>
        </a:lt2>
        <a:accent1>
          <a:srgbClr val="810009"/>
        </a:accent1>
        <a:accent2>
          <a:srgbClr val="EF4E45"/>
        </a:accent2>
        <a:accent3>
          <a:srgbClr val="FFFFFF"/>
        </a:accent3>
        <a:accent4>
          <a:srgbClr val="000000"/>
        </a:accent4>
        <a:accent5>
          <a:srgbClr val="C1AAAA"/>
        </a:accent5>
        <a:accent6>
          <a:srgbClr val="D9463E"/>
        </a:accent6>
        <a:hlink>
          <a:srgbClr val="BA2C2B"/>
        </a:hlink>
        <a:folHlink>
          <a:srgbClr val="F9BEAD"/>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BFBFBF"/>
        </a:dk2>
        <a:lt2>
          <a:srgbClr val="7C848A"/>
        </a:lt2>
        <a:accent1>
          <a:srgbClr val="8C3709"/>
        </a:accent1>
        <a:accent2>
          <a:srgbClr val="F48132"/>
        </a:accent2>
        <a:accent3>
          <a:srgbClr val="FFFFFF"/>
        </a:accent3>
        <a:accent4>
          <a:srgbClr val="000000"/>
        </a:accent4>
        <a:accent5>
          <a:srgbClr val="C5AEAA"/>
        </a:accent5>
        <a:accent6>
          <a:srgbClr val="DD742C"/>
        </a:accent6>
        <a:hlink>
          <a:srgbClr val="C45F24"/>
        </a:hlink>
        <a:folHlink>
          <a:srgbClr val="FCCFAB"/>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BFBFBF"/>
        </a:dk2>
        <a:lt2>
          <a:srgbClr val="7C848A"/>
        </a:lt2>
        <a:accent1>
          <a:srgbClr val="8E5501"/>
        </a:accent1>
        <a:accent2>
          <a:srgbClr val="FBAE17"/>
        </a:accent2>
        <a:accent3>
          <a:srgbClr val="FFFFFF"/>
        </a:accent3>
        <a:accent4>
          <a:srgbClr val="000000"/>
        </a:accent4>
        <a:accent5>
          <a:srgbClr val="C6B4AA"/>
        </a:accent5>
        <a:accent6>
          <a:srgbClr val="E39D14"/>
        </a:accent6>
        <a:hlink>
          <a:srgbClr val="C98314"/>
        </a:hlink>
        <a:folHlink>
          <a:srgbClr val="FFDDAC"/>
        </a:folHlink>
      </a:clrScheme>
      <a:clrMap bg1="lt1" tx1="dk1" bg2="lt2" tx2="dk2" accent1="accent1" accent2="accent2" accent3="accent3" accent4="accent4" accent5="accent5" accent6="accent6" hlink="hlink" folHlink="folHlink"/>
    </a:extraClrScheme>
    <a:extraClrScheme>
      <a:clrScheme name="Default Design 8">
        <a:dk1>
          <a:srgbClr val="000000"/>
        </a:dk1>
        <a:lt1>
          <a:srgbClr val="FFFFFF"/>
        </a:lt1>
        <a:dk2>
          <a:srgbClr val="BFBFBF"/>
        </a:dk2>
        <a:lt2>
          <a:srgbClr val="7C848A"/>
        </a:lt2>
        <a:accent1>
          <a:srgbClr val="505F21"/>
        </a:accent1>
        <a:accent2>
          <a:srgbClr val="B2B935"/>
        </a:accent2>
        <a:accent3>
          <a:srgbClr val="FFFFFF"/>
        </a:accent3>
        <a:accent4>
          <a:srgbClr val="000000"/>
        </a:accent4>
        <a:accent5>
          <a:srgbClr val="B3B6AB"/>
        </a:accent5>
        <a:accent6>
          <a:srgbClr val="A1A72F"/>
        </a:accent6>
        <a:hlink>
          <a:srgbClr val="828D30"/>
        </a:hlink>
        <a:folHlink>
          <a:srgbClr val="D9D99E"/>
        </a:folHlink>
      </a:clrScheme>
      <a:clrMap bg1="lt1" tx1="dk1" bg2="lt2" tx2="dk2" accent1="accent1" accent2="accent2" accent3="accent3" accent4="accent4" accent5="accent5" accent6="accent6" hlink="hlink" folHlink="folHlink"/>
    </a:extraClrScheme>
    <a:extraClrScheme>
      <a:clrScheme name="Default Design 9">
        <a:dk1>
          <a:srgbClr val="000000"/>
        </a:dk1>
        <a:lt1>
          <a:srgbClr val="FFFFFF"/>
        </a:lt1>
        <a:dk2>
          <a:srgbClr val="BFBFBF"/>
        </a:dk2>
        <a:lt2>
          <a:srgbClr val="7C848A"/>
        </a:lt2>
        <a:accent1>
          <a:srgbClr val="00582D"/>
        </a:accent1>
        <a:accent2>
          <a:srgbClr val="72BE44"/>
        </a:accent2>
        <a:accent3>
          <a:srgbClr val="FFFFFF"/>
        </a:accent3>
        <a:accent4>
          <a:srgbClr val="000000"/>
        </a:accent4>
        <a:accent5>
          <a:srgbClr val="AAB4AD"/>
        </a:accent5>
        <a:accent6>
          <a:srgbClr val="67AC3D"/>
        </a:accent6>
        <a:hlink>
          <a:srgbClr val="118B3F"/>
        </a:hlink>
        <a:folHlink>
          <a:srgbClr val="BDDDA3"/>
        </a:folHlink>
      </a:clrScheme>
      <a:clrMap bg1="lt1" tx1="dk1" bg2="lt2" tx2="dk2" accent1="accent1" accent2="accent2" accent3="accent3" accent4="accent4" accent5="accent5" accent6="accent6" hlink="hlink" folHlink="folHlink"/>
    </a:extraClrScheme>
    <a:extraClrScheme>
      <a:clrScheme name="Default Design 10">
        <a:dk1>
          <a:srgbClr val="000000"/>
        </a:dk1>
        <a:lt1>
          <a:srgbClr val="FFFFFF"/>
        </a:lt1>
        <a:dk2>
          <a:srgbClr val="BFBFBF"/>
        </a:dk2>
        <a:lt2>
          <a:srgbClr val="7C848A"/>
        </a:lt2>
        <a:accent1>
          <a:srgbClr val="004C4F"/>
        </a:accent1>
        <a:accent2>
          <a:srgbClr val="0FB694"/>
        </a:accent2>
        <a:accent3>
          <a:srgbClr val="FFFFFF"/>
        </a:accent3>
        <a:accent4>
          <a:srgbClr val="000000"/>
        </a:accent4>
        <a:accent5>
          <a:srgbClr val="AAB2B2"/>
        </a:accent5>
        <a:accent6>
          <a:srgbClr val="0CA586"/>
        </a:accent6>
        <a:hlink>
          <a:srgbClr val="008075"/>
        </a:hlink>
        <a:folHlink>
          <a:srgbClr val="A7D9C8"/>
        </a:folHlink>
      </a:clrScheme>
      <a:clrMap bg1="lt1" tx1="dk1" bg2="lt2" tx2="dk2" accent1="accent1" accent2="accent2" accent3="accent3" accent4="accent4" accent5="accent5" accent6="accent6" hlink="hlink" folHlink="folHlink"/>
    </a:extraClrScheme>
    <a:extraClrScheme>
      <a:clrScheme name="Default Design 11">
        <a:dk1>
          <a:srgbClr val="000000"/>
        </a:dk1>
        <a:lt1>
          <a:srgbClr val="FFFFFF"/>
        </a:lt1>
        <a:dk2>
          <a:srgbClr val="BFBFBF"/>
        </a:dk2>
        <a:lt2>
          <a:srgbClr val="7C848A"/>
        </a:lt2>
        <a:accent1>
          <a:srgbClr val="000000"/>
        </a:accent1>
        <a:accent2>
          <a:srgbClr val="808080"/>
        </a:accent2>
        <a:accent3>
          <a:srgbClr val="FFFFFF"/>
        </a:accent3>
        <a:accent4>
          <a:srgbClr val="000000"/>
        </a:accent4>
        <a:accent5>
          <a:srgbClr val="AAAAAA"/>
        </a:accent5>
        <a:accent6>
          <a:srgbClr val="737373"/>
        </a:accent6>
        <a:hlink>
          <a:srgbClr val="404040"/>
        </a:hlink>
        <a:folHlink>
          <a:srgbClr val="BFBFB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8FF79B8E-8177-49CD-953C-036ED3F2F883}" vid="{ED4E9168-6B51-43A0-871E-2898B5951C51}"/>
    </a:ext>
  </a:extLst>
</a:theme>
</file>

<file path=ppt/theme/theme6.xml><?xml version="1.0" encoding="utf-8"?>
<a:theme xmlns:a="http://schemas.openxmlformats.org/drawingml/2006/main" name="3_Marsh">
  <a:themeElements>
    <a:clrScheme name="Custom 17">
      <a:dk1>
        <a:srgbClr val="202020"/>
      </a:dk1>
      <a:lt1>
        <a:srgbClr val="FFFFFF"/>
      </a:lt1>
      <a:dk2>
        <a:srgbClr val="002C77"/>
      </a:dk2>
      <a:lt2>
        <a:srgbClr val="565656"/>
      </a:lt2>
      <a:accent1>
        <a:srgbClr val="002C77"/>
      </a:accent1>
      <a:accent2>
        <a:srgbClr val="009DE0"/>
      </a:accent2>
      <a:accent3>
        <a:srgbClr val="76D3FF"/>
      </a:accent3>
      <a:accent4>
        <a:srgbClr val="0077A0"/>
      </a:accent4>
      <a:accent5>
        <a:srgbClr val="00968F"/>
      </a:accent5>
      <a:accent6>
        <a:srgbClr val="00AC41"/>
      </a:accent6>
      <a:hlink>
        <a:srgbClr val="2C6EF2"/>
      </a:hlink>
      <a:folHlink>
        <a:srgbClr val="8246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lgn="ctr">
          <a:defRPr dirty="0" smtClean="0"/>
        </a:defPPr>
      </a:lst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defRPr dirty="0" err="1"/>
        </a:defPPr>
      </a:lstStyle>
    </a:txDef>
  </a:objectDefaults>
  <a:extraClrSchemeLst/>
  <a:custClrLst>
    <a:custClr name="Dark blue">
      <a:srgbClr val="002C77"/>
    </a:custClr>
    <a:custClr name="Blue">
      <a:srgbClr val="009DE0"/>
    </a:custClr>
    <a:custClr name="Light blue">
      <a:srgbClr val="76D3FF"/>
    </a:custClr>
    <a:custClr name="Dark teal">
      <a:srgbClr val="004C6C"/>
    </a:custClr>
    <a:custClr name="Teal">
      <a:srgbClr val="0077A0"/>
    </a:custClr>
    <a:custClr name="Light teal">
      <a:srgbClr val="9CD9E4"/>
    </a:custClr>
    <a:custClr name="Dark turquoise">
      <a:srgbClr val="005E5D"/>
    </a:custClr>
    <a:custClr name="Turquoise">
      <a:srgbClr val="00968F"/>
    </a:custClr>
    <a:custClr name="Light turquoise">
      <a:srgbClr val="98DBCE"/>
    </a:custClr>
    <a:custClr name="White">
      <a:srgbClr val="FFFFFF"/>
    </a:custClr>
    <a:custClr name="Dark green">
      <a:srgbClr val="275D38"/>
    </a:custClr>
    <a:custClr name="Green">
      <a:srgbClr val="00AC41"/>
    </a:custClr>
    <a:custClr name="Light green">
      <a:srgbClr val="ADDFB3"/>
    </a:custClr>
    <a:custClr name="Dark purple">
      <a:srgbClr val="463282"/>
    </a:custClr>
    <a:custClr name="Purple">
      <a:srgbClr val="8246AF"/>
    </a:custClr>
    <a:custClr name="Light purple">
      <a:srgbClr val="CCB3E0"/>
    </a:custClr>
    <a:custClr name="Dark pink">
      <a:srgbClr val="B2025B"/>
    </a:custClr>
    <a:custClr name="Pink">
      <a:srgbClr val="EE3D8B"/>
    </a:custClr>
    <a:custClr name="Light pink">
      <a:srgbClr val="F8ACBE"/>
    </a:custClr>
    <a:custClr name="White">
      <a:srgbClr val="FFFFFF"/>
    </a:custClr>
    <a:custClr name="Dark crimson">
      <a:srgbClr val="9A1C1F"/>
    </a:custClr>
    <a:custClr name="Crimson">
      <a:srgbClr val="EF4E45"/>
    </a:custClr>
    <a:custClr name="Light crimson">
      <a:srgbClr val="FFAEA6"/>
    </a:custClr>
    <a:custClr name="Dark orange">
      <a:srgbClr val="A32E00"/>
    </a:custClr>
    <a:custClr name="Orange">
      <a:srgbClr val="FF8C00"/>
    </a:custClr>
    <a:custClr name="Light orange">
      <a:srgbClr val="FFCA94"/>
    </a:custClr>
    <a:custClr name="Dark yellow">
      <a:srgbClr val="965D00"/>
    </a:custClr>
    <a:custClr name="Yellow">
      <a:srgbClr val="FFBE00"/>
    </a:custClr>
    <a:custClr name="Light yellow">
      <a:srgbClr val="FFE580"/>
    </a:custClr>
    <a:custClr name="White">
      <a:srgbClr val="FFFFFF"/>
    </a:custClr>
    <a:custClr name="Dark blue gray">
      <a:srgbClr val="4E6287"/>
    </a:custClr>
    <a:custClr name="Blue gray">
      <a:srgbClr val="8096B2"/>
    </a:custClr>
    <a:custClr name="Light blue gray">
      <a:srgbClr val="BED3E4"/>
    </a:custClr>
    <a:custClr name="Dark gray">
      <a:srgbClr val="565656"/>
    </a:custClr>
    <a:custClr name="Gray">
      <a:srgbClr val="949494"/>
    </a:custClr>
    <a:custClr name="Light gray">
      <a:srgbClr val="DADADA"/>
    </a:custClr>
    <a:custClr name="Background gray">
      <a:srgbClr val="F0F0F0"/>
    </a:custClr>
    <a:custClr name="Link blue">
      <a:srgbClr val="2C6EF2"/>
    </a:custClr>
    <a:custClr name="Warning red">
      <a:srgbClr val="C53532"/>
    </a:custClr>
    <a:custClr name="Success green">
      <a:srgbClr val="14853D"/>
    </a:custClr>
  </a:custClrLst>
  <a:extLst>
    <a:ext uri="{05A4C25C-085E-4340-85A3-A5531E510DB2}">
      <thm15:themeFamily xmlns:thm15="http://schemas.microsoft.com/office/thememl/2012/main" name="534914678 Rebrand PPT 03-2020_v3.pptx" id="{D6FEF9FC-18C9-4B1C-A4F0-BDDAEDFAB881}" vid="{BAF31E5B-B785-4D27-BE76-52A42E5EF995}"/>
    </a:ext>
  </a:extLst>
</a:theme>
</file>

<file path=ppt/theme/theme7.xml><?xml version="1.0" encoding="utf-8"?>
<a:theme xmlns:a="http://schemas.openxmlformats.org/drawingml/2006/main" name="4_Marsh">
  <a:themeElements>
    <a:clrScheme name="Custom 17">
      <a:dk1>
        <a:srgbClr val="202020"/>
      </a:dk1>
      <a:lt1>
        <a:srgbClr val="FFFFFF"/>
      </a:lt1>
      <a:dk2>
        <a:srgbClr val="002C77"/>
      </a:dk2>
      <a:lt2>
        <a:srgbClr val="565656"/>
      </a:lt2>
      <a:accent1>
        <a:srgbClr val="002C77"/>
      </a:accent1>
      <a:accent2>
        <a:srgbClr val="009DE0"/>
      </a:accent2>
      <a:accent3>
        <a:srgbClr val="76D3FF"/>
      </a:accent3>
      <a:accent4>
        <a:srgbClr val="0077A0"/>
      </a:accent4>
      <a:accent5>
        <a:srgbClr val="00968F"/>
      </a:accent5>
      <a:accent6>
        <a:srgbClr val="00AC41"/>
      </a:accent6>
      <a:hlink>
        <a:srgbClr val="2C6EF2"/>
      </a:hlink>
      <a:folHlink>
        <a:srgbClr val="8246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lgn="ctr">
          <a:defRPr dirty="0" smtClean="0"/>
        </a:defPPr>
      </a:lst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defRPr dirty="0" err="1"/>
        </a:defPPr>
      </a:lstStyle>
    </a:txDef>
  </a:objectDefaults>
  <a:extraClrSchemeLst/>
  <a:custClrLst>
    <a:custClr name="Dark blue">
      <a:srgbClr val="002C77"/>
    </a:custClr>
    <a:custClr name="Blue">
      <a:srgbClr val="009DE0"/>
    </a:custClr>
    <a:custClr name="Light blue">
      <a:srgbClr val="76D3FF"/>
    </a:custClr>
    <a:custClr name="Dark teal">
      <a:srgbClr val="004C6C"/>
    </a:custClr>
    <a:custClr name="Teal">
      <a:srgbClr val="0077A0"/>
    </a:custClr>
    <a:custClr name="Light teal">
      <a:srgbClr val="9CD9E4"/>
    </a:custClr>
    <a:custClr name="Dark turquoise">
      <a:srgbClr val="005E5D"/>
    </a:custClr>
    <a:custClr name="Turquoise">
      <a:srgbClr val="00968F"/>
    </a:custClr>
    <a:custClr name="Light turquoise">
      <a:srgbClr val="98DBCE"/>
    </a:custClr>
    <a:custClr name="White">
      <a:srgbClr val="FFFFFF"/>
    </a:custClr>
    <a:custClr name="Dark green">
      <a:srgbClr val="275D38"/>
    </a:custClr>
    <a:custClr name="Green">
      <a:srgbClr val="00AC41"/>
    </a:custClr>
    <a:custClr name="Light green">
      <a:srgbClr val="ADDFB3"/>
    </a:custClr>
    <a:custClr name="Dark purple">
      <a:srgbClr val="463282"/>
    </a:custClr>
    <a:custClr name="Purple">
      <a:srgbClr val="8246AF"/>
    </a:custClr>
    <a:custClr name="Light purple">
      <a:srgbClr val="CCB3E0"/>
    </a:custClr>
    <a:custClr name="Dark pink">
      <a:srgbClr val="B2025B"/>
    </a:custClr>
    <a:custClr name="Pink">
      <a:srgbClr val="EE3D8B"/>
    </a:custClr>
    <a:custClr name="Light pink">
      <a:srgbClr val="F8ACBE"/>
    </a:custClr>
    <a:custClr name="White">
      <a:srgbClr val="FFFFFF"/>
    </a:custClr>
    <a:custClr name="Dark crimson">
      <a:srgbClr val="9A1C1F"/>
    </a:custClr>
    <a:custClr name="Crimson">
      <a:srgbClr val="EF4E45"/>
    </a:custClr>
    <a:custClr name="Light crimson">
      <a:srgbClr val="FFAEA6"/>
    </a:custClr>
    <a:custClr name="Dark orange">
      <a:srgbClr val="A32E00"/>
    </a:custClr>
    <a:custClr name="Orange">
      <a:srgbClr val="FF8C00"/>
    </a:custClr>
    <a:custClr name="Light orange">
      <a:srgbClr val="FFCA94"/>
    </a:custClr>
    <a:custClr name="Dark yellow">
      <a:srgbClr val="965D00"/>
    </a:custClr>
    <a:custClr name="Yellow">
      <a:srgbClr val="FFBE00"/>
    </a:custClr>
    <a:custClr name="Light yellow">
      <a:srgbClr val="FFE580"/>
    </a:custClr>
    <a:custClr name="White">
      <a:srgbClr val="FFFFFF"/>
    </a:custClr>
    <a:custClr name="Dark blue gray">
      <a:srgbClr val="4E6287"/>
    </a:custClr>
    <a:custClr name="Blue gray">
      <a:srgbClr val="8096B2"/>
    </a:custClr>
    <a:custClr name="Light blue gray">
      <a:srgbClr val="BED3E4"/>
    </a:custClr>
    <a:custClr name="Dark gray">
      <a:srgbClr val="565656"/>
    </a:custClr>
    <a:custClr name="Gray">
      <a:srgbClr val="949494"/>
    </a:custClr>
    <a:custClr name="Light gray">
      <a:srgbClr val="DADADA"/>
    </a:custClr>
    <a:custClr name="Background gray">
      <a:srgbClr val="F0F0F0"/>
    </a:custClr>
    <a:custClr name="Link blue">
      <a:srgbClr val="2C6EF2"/>
    </a:custClr>
    <a:custClr name="Warning red">
      <a:srgbClr val="C53532"/>
    </a:custClr>
    <a:custClr name="Success green">
      <a:srgbClr val="14853D"/>
    </a:custClr>
  </a:custClrLst>
  <a:extLst>
    <a:ext uri="{05A4C25C-085E-4340-85A3-A5531E510DB2}">
      <thm15:themeFamily xmlns:thm15="http://schemas.microsoft.com/office/thememl/2012/main" name="534914678 Rebrand PPT 03-2020_v3.pptx" id="{D6FEF9FC-18C9-4B1C-A4F0-BDDAEDFAB881}" vid="{BAF31E5B-B785-4D27-BE76-52A42E5EF995}"/>
    </a:ext>
  </a:extLst>
</a:theme>
</file>

<file path=ppt/theme/theme8.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Arial"/>
        <a:ea typeface="Arial"/>
        <a:cs typeface="Arial"/>
      </a:majorFont>
      <a:minorFont>
        <a:latin typeface="Arial"/>
        <a:ea typeface="Arial"/>
        <a:cs typeface="Arial"/>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rgbClr val="002C77"/>
          </a:solidFill>
          <a:prstDash val="solid"/>
          <a:round/>
        </a:ln>
        <a:effectLst/>
        <a:sp3d/>
      </a:spPr>
      <a:bodyPr rot="0" spcFirstLastPara="1" vertOverflow="overflow" horzOverflow="overflow" vert="horz" wrap="square" lIns="0" tIns="0" rIns="0" bIns="0" numCol="1" spcCol="38100" rtlCol="0" anchor="ctr">
        <a:sp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202020"/>
            </a:solidFill>
            <a:effectLst/>
            <a:uFillTx/>
            <a:latin typeface="+mn-lt"/>
            <a:ea typeface="+mn-ea"/>
            <a:cs typeface="+mn-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2C77"/>
          </a:solidFill>
          <a:prstDash val="solid"/>
          <a:round/>
        </a:ln>
        <a:effectLst>
          <a:outerShdw blurRad="38100" dist="19999"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202020"/>
            </a:solidFill>
            <a:effectLst/>
            <a:uFillTx/>
            <a:latin typeface="+mn-lt"/>
            <a:ea typeface="+mn-ea"/>
            <a:cs typeface="+mn-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68DA9A152B9EE49B4827266D4EE8229" ma:contentTypeVersion="13" ma:contentTypeDescription="Create a new document." ma:contentTypeScope="" ma:versionID="a6034961f7cd1f36f6223190f6e9cb4e">
  <xsd:schema xmlns:xsd="http://www.w3.org/2001/XMLSchema" xmlns:xs="http://www.w3.org/2001/XMLSchema" xmlns:p="http://schemas.microsoft.com/office/2006/metadata/properties" xmlns:ns3="2c76c5a4-2d5e-4c3c-88dd-9a0a8fae394b" xmlns:ns4="e4369679-142a-4904-96fd-e88336713e39" targetNamespace="http://schemas.microsoft.com/office/2006/metadata/properties" ma:root="true" ma:fieldsID="92a75118ec7dd4d36473c9bc73d40d35" ns3:_="" ns4:_="">
    <xsd:import namespace="2c76c5a4-2d5e-4c3c-88dd-9a0a8fae394b"/>
    <xsd:import namespace="e4369679-142a-4904-96fd-e88336713e39"/>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AutoTags" minOccurs="0"/>
                <xsd:element ref="ns4:MediaServiceGenerationTime" minOccurs="0"/>
                <xsd:element ref="ns4:MediaServiceEventHashCode" minOccurs="0"/>
                <xsd:element ref="ns4:MediaServiceOCR" minOccurs="0"/>
                <xsd:element ref="ns4:MediaServiceDateTaken"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76c5a4-2d5e-4c3c-88dd-9a0a8fae394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4369679-142a-4904-96fd-e88336713e39"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1 6 " ? > < M M C O A _ O b j e c t T a g s   x m l n s : x s i = " h t t p : / / w w w . w 3 . o r g / 2 0 0 1 / X M L S c h e m a - i n s t a n c e "   x m l n s : x s d = " h t t p : / / w w w . w 3 . o r g / 2 0 0 1 / X M L S c h e m a " >  
     < P r e s e n t a t i o n O b j e c t T a g   T a g N a m e = " M M C 0 9 _ B R A N D F O N T S T Y L E " > M a s t e r T e x t < / P r e s e n t a t i o n O b j e c t T a g >  
 < / M M C O A _ O b j e c t T a g s > 
</file>

<file path=customXml/item5.xml>��< ? x m l   v e r s i o n = " 1 . 0 "   e n c o d i n g = " u t f - 1 6 " ? > < M M C O A _ O b j e c t T a g s   x m l n s : x s i = " h t t p : / / w w w . w 3 . o r g / 2 0 0 1 / X M L S c h e m a - i n s t a n c e "   x m l n s : x s d = " h t t p : / / w w w . w 3 . o r g / 2 0 0 1 / X M L S c h e m a " >  
     < P r e s e n t a t i o n O b j e c t T a g   T a g N a m e = " M M C 0 9 _ B R A N D F O N T S T Y L E " > M a s t e r T e x t < / P r e s e n t a t i o n O b j e c t T a g >  
 < / M M C O A _ O b j e c t T a g s > 
</file>

<file path=customXml/item6.xml>��< ? x m l   v e r s i o n = " 1 . 0 "   e n c o d i n g = " u t f - 1 6 " ? > < M M C O A _ O b j e c t T a g s   x m l n s : x s i = " h t t p : / / w w w . w 3 . o r g / 2 0 0 1 / X M L S c h e m a - i n s t a n c e "   x m l n s : x s d = " h t t p : / / w w w . w 3 . o r g / 2 0 0 1 / X M L S c h e m a " >  
     < P r e s e n t a t i o n O b j e c t T a g   T a g N a m e = " M M C 0 9 _ B R A N D F O N T S T Y L E " > M a s t e r T e x t < / P r e s e n t a t i o n O b j e c t T a g >  
 < / M M C O A _ O b j e c t T a g s > 
</file>

<file path=customXml/itemProps1.xml><?xml version="1.0" encoding="utf-8"?>
<ds:datastoreItem xmlns:ds="http://schemas.openxmlformats.org/officeDocument/2006/customXml" ds:itemID="{49031C7C-6247-47B5-A610-B4F5D2A179DB}">
  <ds:schemaRefs>
    <ds:schemaRef ds:uri="e4369679-142a-4904-96fd-e88336713e39"/>
    <ds:schemaRef ds:uri="http://purl.org/dc/terms/"/>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2c76c5a4-2d5e-4c3c-88dd-9a0a8fae394b"/>
    <ds:schemaRef ds:uri="http://www.w3.org/XML/1998/namespace"/>
    <ds:schemaRef ds:uri="http://purl.org/dc/dcmitype/"/>
  </ds:schemaRefs>
</ds:datastoreItem>
</file>

<file path=customXml/itemProps2.xml><?xml version="1.0" encoding="utf-8"?>
<ds:datastoreItem xmlns:ds="http://schemas.openxmlformats.org/officeDocument/2006/customXml" ds:itemID="{51CE9340-0BF8-420F-A9BE-5E15C4CDD40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76c5a4-2d5e-4c3c-88dd-9a0a8fae394b"/>
    <ds:schemaRef ds:uri="e4369679-142a-4904-96fd-e88336713e3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6D8EC4F-F8AD-44C2-8C45-F9614D76A2D4}">
  <ds:schemaRefs>
    <ds:schemaRef ds:uri="http://schemas.microsoft.com/sharepoint/v3/contenttype/forms"/>
  </ds:schemaRefs>
</ds:datastoreItem>
</file>

<file path=customXml/itemProps4.xml><?xml version="1.0" encoding="utf-8"?>
<ds:datastoreItem xmlns:ds="http://schemas.openxmlformats.org/officeDocument/2006/customXml" ds:itemID="{E31FF111-87CE-4B42-B583-2FB6864B4656}">
  <ds:schemaRefs>
    <ds:schemaRef ds:uri="http://www.w3.org/2001/XMLSchema"/>
  </ds:schemaRefs>
</ds:datastoreItem>
</file>

<file path=customXml/itemProps5.xml><?xml version="1.0" encoding="utf-8"?>
<ds:datastoreItem xmlns:ds="http://schemas.openxmlformats.org/officeDocument/2006/customXml" ds:itemID="{E9D141D4-C521-4B81-9F39-64D82608BF31}">
  <ds:schemaRefs>
    <ds:schemaRef ds:uri="http://www.w3.org/2001/XMLSchema"/>
  </ds:schemaRefs>
</ds:datastoreItem>
</file>

<file path=customXml/itemProps6.xml><?xml version="1.0" encoding="utf-8"?>
<ds:datastoreItem xmlns:ds="http://schemas.openxmlformats.org/officeDocument/2006/customXml" ds:itemID="{51288D6F-7366-4081-9447-CFC76EB0443D}">
  <ds:schemaRef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15793</TotalTime>
  <Words>2608</Words>
  <Application>Microsoft Office PowerPoint</Application>
  <PresentationFormat>Panorámica</PresentationFormat>
  <Paragraphs>331</Paragraphs>
  <Slides>34</Slides>
  <Notes>17</Notes>
  <HiddenSlides>0</HiddenSlides>
  <MMClips>0</MMClips>
  <ScaleCrop>false</ScaleCrop>
  <HeadingPairs>
    <vt:vector size="8" baseType="variant">
      <vt:variant>
        <vt:lpstr>Fuentes usadas</vt:lpstr>
      </vt:variant>
      <vt:variant>
        <vt:i4>9</vt:i4>
      </vt:variant>
      <vt:variant>
        <vt:lpstr>Tema</vt:lpstr>
      </vt:variant>
      <vt:variant>
        <vt:i4>7</vt:i4>
      </vt:variant>
      <vt:variant>
        <vt:lpstr>Servidores OLE incrustados</vt:lpstr>
      </vt:variant>
      <vt:variant>
        <vt:i4>1</vt:i4>
      </vt:variant>
      <vt:variant>
        <vt:lpstr>Títulos de diapositiva</vt:lpstr>
      </vt:variant>
      <vt:variant>
        <vt:i4>34</vt:i4>
      </vt:variant>
    </vt:vector>
  </HeadingPairs>
  <TitlesOfParts>
    <vt:vector size="51" baseType="lpstr">
      <vt:lpstr>Arial</vt:lpstr>
      <vt:lpstr>Calibri</vt:lpstr>
      <vt:lpstr>Calibri Light</vt:lpstr>
      <vt:lpstr>Helvetica</vt:lpstr>
      <vt:lpstr>Lucida Grande</vt:lpstr>
      <vt:lpstr>MMC Display</vt:lpstr>
      <vt:lpstr>Noto Sans</vt:lpstr>
      <vt:lpstr>System Font Regular</vt:lpstr>
      <vt:lpstr>Wingdings</vt:lpstr>
      <vt:lpstr>White</vt:lpstr>
      <vt:lpstr>1_White</vt:lpstr>
      <vt:lpstr>Marsh</vt:lpstr>
      <vt:lpstr>1_Marsh</vt:lpstr>
      <vt:lpstr>MAR_16-9 Template 2019_External</vt:lpstr>
      <vt:lpstr>3_Marsh</vt:lpstr>
      <vt:lpstr>4_Marsh</vt:lpstr>
      <vt:lpstr>think-cell Slide</vt:lpstr>
      <vt:lpstr>Presentación de PowerPoint</vt:lpstr>
      <vt:lpstr>Contexto general de Cyber</vt:lpstr>
      <vt:lpstr>Presentación de PowerPoint</vt:lpstr>
      <vt:lpstr>Presentación de PowerPoint</vt:lpstr>
      <vt:lpstr>El panorama de ciberseguridad cambia rápidamente y las organizaciones deben estar preparadas para hacerle frente</vt:lpstr>
      <vt:lpstr>Objetivos de ciberseguridad a nivel organizacional deben ser establecidos para construir ciber-resiliencia, ahora que un ciberataque es inminente</vt:lpstr>
      <vt:lpstr>Blackcat Ransomware</vt:lpstr>
      <vt:lpstr>Presentación de PowerPoint</vt:lpstr>
      <vt:lpstr>¿Qué es y cómo impacta el riesgo cibernético? </vt:lpstr>
      <vt:lpstr>Presentación de PowerPoint</vt:lpstr>
      <vt:lpstr>¿Cómo puede impactar el riesgo cibernético?</vt:lpstr>
      <vt:lpstr>Características de ataques cibernéticos  Ejemplos </vt:lpstr>
      <vt:lpstr>Estructura de un ataque </vt:lpstr>
      <vt:lpstr>Estructura de un ataque </vt:lpstr>
      <vt:lpstr>Riesgo Cibernético – El riesgo se puede gestionar y mitigar, pero no eliminar…   </vt:lpstr>
      <vt:lpstr>13 Controles críticos</vt:lpstr>
      <vt:lpstr>Presentación de PowerPoint</vt:lpstr>
      <vt:lpstr>Oferta de Valor Carpenter Marsh Fac </vt:lpstr>
      <vt:lpstr>Formulario CMF Self Assessment Formulario Online Resultados de la evaluación</vt:lpstr>
      <vt:lpstr>Autoevaluación y Formulario a la vez </vt:lpstr>
      <vt:lpstr>Formulario en línea Self Assessment online</vt:lpstr>
      <vt:lpstr>Devolución simple y en esquema de semáforo </vt:lpstr>
      <vt:lpstr>Herramientas de escaneo de vulnerabilidades </vt:lpstr>
      <vt:lpstr>Presentación de PowerPoint</vt:lpstr>
      <vt:lpstr>Cuantificación y Analítica  </vt:lpstr>
      <vt:lpstr>Presentación de PowerPoint</vt:lpstr>
      <vt:lpstr>¿Preguntas?</vt:lpstr>
      <vt:lpstr>Presentación de PowerPoint</vt:lpstr>
      <vt:lpstr>Anexo I : 12 Controles Críticos </vt:lpstr>
      <vt:lpstr>¿Cuáles son los principales controles que las compañías (re)aseguradoras están revisando?</vt:lpstr>
      <vt:lpstr>¿Cuáles son los principales controles que las compañías (re)aseguradoras están revisando?</vt:lpstr>
      <vt:lpstr>¿Cuáles son los principales controles que las compañías (re)aseguradoras están revisando?</vt:lpstr>
      <vt:lpstr>Anexo II :Estado del Mercado de Cyber 2Q </vt:lpstr>
      <vt:lpstr> Cyber Risks   Market Update 2Q 2023.</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Rivera, Ana</dc:creator>
  <cp:lastModifiedBy>Catalano, Andrea Alejandra</cp:lastModifiedBy>
  <cp:revision>226</cp:revision>
  <dcterms:modified xsi:type="dcterms:W3CDTF">2023-09-13T03:18: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8f1469a-2c2a-4aee-b92b-090d4c5468ff_Enabled">
    <vt:lpwstr>true</vt:lpwstr>
  </property>
  <property fmtid="{D5CDD505-2E9C-101B-9397-08002B2CF9AE}" pid="3" name="MSIP_Label_38f1469a-2c2a-4aee-b92b-090d4c5468ff_SetDate">
    <vt:lpwstr>2022-01-31T19:56:14Z</vt:lpwstr>
  </property>
  <property fmtid="{D5CDD505-2E9C-101B-9397-08002B2CF9AE}" pid="4" name="MSIP_Label_38f1469a-2c2a-4aee-b92b-090d4c5468ff_Method">
    <vt:lpwstr>Standard</vt:lpwstr>
  </property>
  <property fmtid="{D5CDD505-2E9C-101B-9397-08002B2CF9AE}" pid="5" name="MSIP_Label_38f1469a-2c2a-4aee-b92b-090d4c5468ff_Name">
    <vt:lpwstr>Confidential - Unmarked</vt:lpwstr>
  </property>
  <property fmtid="{D5CDD505-2E9C-101B-9397-08002B2CF9AE}" pid="6" name="MSIP_Label_38f1469a-2c2a-4aee-b92b-090d4c5468ff_SiteId">
    <vt:lpwstr>2a6e6092-73e4-4752-b1a5-477a17f5056d</vt:lpwstr>
  </property>
  <property fmtid="{D5CDD505-2E9C-101B-9397-08002B2CF9AE}" pid="7" name="MSIP_Label_38f1469a-2c2a-4aee-b92b-090d4c5468ff_ActionId">
    <vt:lpwstr>c8676fc4-abf6-404d-a753-cbb167492de4</vt:lpwstr>
  </property>
  <property fmtid="{D5CDD505-2E9C-101B-9397-08002B2CF9AE}" pid="8" name="MSIP_Label_38f1469a-2c2a-4aee-b92b-090d4c5468ff_ContentBits">
    <vt:lpwstr>0</vt:lpwstr>
  </property>
  <property fmtid="{D5CDD505-2E9C-101B-9397-08002B2CF9AE}" pid="9" name="ContentTypeId">
    <vt:lpwstr>0x010100968DA9A152B9EE49B4827266D4EE8229</vt:lpwstr>
  </property>
</Properties>
</file>